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52"/>
  </p:notesMasterIdLst>
  <p:sldIdLst>
    <p:sldId id="279" r:id="rId3"/>
    <p:sldId id="281" r:id="rId4"/>
    <p:sldId id="268" r:id="rId5"/>
    <p:sldId id="283" r:id="rId6"/>
    <p:sldId id="269" r:id="rId7"/>
    <p:sldId id="270" r:id="rId8"/>
    <p:sldId id="304" r:id="rId9"/>
    <p:sldId id="272" r:id="rId10"/>
    <p:sldId id="284" r:id="rId11"/>
    <p:sldId id="285" r:id="rId12"/>
    <p:sldId id="308" r:id="rId13"/>
    <p:sldId id="309" r:id="rId14"/>
    <p:sldId id="307" r:id="rId15"/>
    <p:sldId id="310" r:id="rId16"/>
    <p:sldId id="286" r:id="rId17"/>
    <p:sldId id="298" r:id="rId18"/>
    <p:sldId id="287" r:id="rId19"/>
    <p:sldId id="299" r:id="rId20"/>
    <p:sldId id="301" r:id="rId21"/>
    <p:sldId id="302" r:id="rId22"/>
    <p:sldId id="290" r:id="rId23"/>
    <p:sldId id="291" r:id="rId24"/>
    <p:sldId id="292" r:id="rId25"/>
    <p:sldId id="305" r:id="rId26"/>
    <p:sldId id="322" r:id="rId27"/>
    <p:sldId id="306" r:id="rId28"/>
    <p:sldId id="293" r:id="rId29"/>
    <p:sldId id="321" r:id="rId30"/>
    <p:sldId id="294" r:id="rId31"/>
    <p:sldId id="316" r:id="rId32"/>
    <p:sldId id="313" r:id="rId33"/>
    <p:sldId id="314" r:id="rId34"/>
    <p:sldId id="317" r:id="rId35"/>
    <p:sldId id="315" r:id="rId36"/>
    <p:sldId id="318" r:id="rId37"/>
    <p:sldId id="311" r:id="rId38"/>
    <p:sldId id="319" r:id="rId39"/>
    <p:sldId id="312" r:id="rId40"/>
    <p:sldId id="289" r:id="rId41"/>
    <p:sldId id="295" r:id="rId42"/>
    <p:sldId id="296" r:id="rId43"/>
    <p:sldId id="256" r:id="rId44"/>
    <p:sldId id="320" r:id="rId45"/>
    <p:sldId id="323" r:id="rId46"/>
    <p:sldId id="325" r:id="rId47"/>
    <p:sldId id="326" r:id="rId48"/>
    <p:sldId id="324" r:id="rId49"/>
    <p:sldId id="297" r:id="rId50"/>
    <p:sldId id="257" r:id="rId5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/>
    <p:restoredTop sz="94660"/>
  </p:normalViewPr>
  <p:slideViewPr>
    <p:cSldViewPr>
      <p:cViewPr varScale="1">
        <p:scale>
          <a:sx n="64" d="100"/>
          <a:sy n="64" d="100"/>
        </p:scale>
        <p:origin x="-1482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303A71-5C05-42C5-AE07-653D82BC1DFD}" type="datetimeFigureOut">
              <a:rPr lang="en-IN" smtClean="0"/>
              <a:pPr/>
              <a:t>10-12-2020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37CEF9-F42B-4E3E-A249-C83D3848ED79}" type="slidenum">
              <a:rPr lang="en-IN" smtClean="0"/>
              <a:pPr/>
              <a:t>‹#›</a:t>
            </a:fld>
            <a:endParaRPr lang="en-I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Microsoft Azure platform </a:t>
            </a:r>
            <a:r>
              <a:rPr lang="en-US" baseline="0" dirty="0" smtClean="0"/>
              <a:t> is a collection of services.</a:t>
            </a:r>
          </a:p>
          <a:p>
            <a:r>
              <a:rPr lang="en-US" baseline="0" dirty="0" smtClean="0"/>
              <a:t>Azure Websites is a </a:t>
            </a:r>
            <a:r>
              <a:rPr lang="en-US" baseline="0" dirty="0" err="1" smtClean="0"/>
              <a:t>PaaS</a:t>
            </a:r>
            <a:r>
              <a:rPr lang="en-US" baseline="0" dirty="0" smtClean="0"/>
              <a:t> offering that allows you quickly and easily deploy and scale up a web application.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7CEF9-F42B-4E3E-A249-C83D3848ED79}" type="slidenum">
              <a:rPr lang="en-IN" smtClean="0"/>
              <a:pPr/>
              <a:t>7</a:t>
            </a:fld>
            <a:endParaRPr lang="en-IN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7CEF9-F42B-4E3E-A249-C83D3848ED79}" type="slidenum">
              <a:rPr lang="en-IN" smtClean="0"/>
              <a:pPr/>
              <a:t>26</a:t>
            </a:fld>
            <a:endParaRPr lang="en-IN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7CEF9-F42B-4E3E-A249-C83D3848ED79}" type="slidenum">
              <a:rPr lang="en-IN" smtClean="0"/>
              <a:pPr/>
              <a:t>31</a:t>
            </a:fld>
            <a:endParaRPr lang="en-IN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7CEF9-F42B-4E3E-A249-C83D3848ED79}" type="slidenum">
              <a:rPr lang="en-IN" smtClean="0"/>
              <a:pPr/>
              <a:t>32</a:t>
            </a:fld>
            <a:endParaRPr lang="en-IN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7CEF9-F42B-4E3E-A249-C83D3848ED79}" type="slidenum">
              <a:rPr lang="en-IN" smtClean="0"/>
              <a:pPr/>
              <a:t>34</a:t>
            </a:fld>
            <a:endParaRPr lang="en-IN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7CEF9-F42B-4E3E-A249-C83D3848ED79}" type="slidenum">
              <a:rPr lang="en-IN" smtClean="0"/>
              <a:pPr/>
              <a:t>37</a:t>
            </a:fld>
            <a:endParaRPr lang="en-IN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7CEF9-F42B-4E3E-A249-C83D3848ED79}" type="slidenum">
              <a:rPr lang="en-IN" smtClean="0"/>
              <a:pPr/>
              <a:t>41</a:t>
            </a:fld>
            <a:endParaRPr lang="en-IN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7CEF9-F42B-4E3E-A249-C83D3848ED79}" type="slidenum">
              <a:rPr lang="en-IN" smtClean="0"/>
              <a:pPr/>
              <a:t>8</a:t>
            </a:fld>
            <a:endParaRPr lang="en-I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7CEF9-F42B-4E3E-A249-C83D3848ED79}" type="slidenum">
              <a:rPr lang="en-IN" smtClean="0"/>
              <a:pPr/>
              <a:t>11</a:t>
            </a:fld>
            <a:endParaRPr lang="en-IN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7CEF9-F42B-4E3E-A249-C83D3848ED79}" type="slidenum">
              <a:rPr lang="en-IN" smtClean="0"/>
              <a:pPr/>
              <a:t>12</a:t>
            </a:fld>
            <a:endParaRPr lang="en-IN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200" dirty="0" smtClean="0"/>
              <a:t>A region is a set of </a:t>
            </a:r>
            <a:r>
              <a:rPr lang="en-IN" sz="1200" dirty="0" err="1" smtClean="0"/>
              <a:t>datacenters</a:t>
            </a:r>
            <a:r>
              <a:rPr lang="en-IN" sz="1200" dirty="0" smtClean="0"/>
              <a:t> deployed within a latency-defined perimeter and connected through a dedicated regional low-latency network.</a:t>
            </a:r>
          </a:p>
          <a:p>
            <a:endParaRPr lang="en-IN" sz="1200" b="0" i="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7CEF9-F42B-4E3E-A249-C83D3848ED79}" type="slidenum">
              <a:rPr lang="en-IN" smtClean="0"/>
              <a:pPr/>
              <a:t>13</a:t>
            </a:fld>
            <a:endParaRPr lang="en-IN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7CEF9-F42B-4E3E-A249-C83D3848ED79}" type="slidenum">
              <a:rPr lang="en-IN" smtClean="0"/>
              <a:pPr/>
              <a:t>14</a:t>
            </a:fld>
            <a:endParaRPr lang="en-IN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683890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buFont typeface="Arial" pitchFamily="34" charset="0"/>
              <a:buChar char="•"/>
            </a:pPr>
            <a:endParaRPr lang="en-NZ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7CEF9-F42B-4E3E-A249-C83D3848ED79}" type="slidenum">
              <a:rPr lang="en-IN" smtClean="0"/>
              <a:pPr/>
              <a:t>24</a:t>
            </a:fld>
            <a:endParaRPr lang="en-IN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n-NZ" dirty="0" smtClean="0"/>
              <a:t>The Blob service provides storage for entities, such as binary files and text files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NZ" dirty="0" smtClean="0"/>
              <a:t>The REST API for the Blob service exposes two resources: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NZ" dirty="0" smtClean="0"/>
              <a:t>Containers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NZ" dirty="0" smtClean="0"/>
              <a:t>Blobs.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NZ" dirty="0" smtClean="0"/>
              <a:t>A container is a set of blobs; every blob must belong to a container. 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NZ" dirty="0" smtClean="0"/>
              <a:t>The Blob service defines two types of blobs: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NZ" dirty="0" smtClean="0"/>
              <a:t>Block blobs, which are optimized for streaming. </a:t>
            </a:r>
          </a:p>
          <a:p>
            <a:pPr marL="384431" lvl="1" indent="-171450">
              <a:buFont typeface="Arial" pitchFamily="34" charset="0"/>
              <a:buChar char="•"/>
            </a:pPr>
            <a:r>
              <a:rPr lang="en-NZ" dirty="0" smtClean="0"/>
              <a:t>Page blobs, which are optimized for random read/write operations and which provide the ability to write to a range of bytes in a blob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7CEF9-F42B-4E3E-A249-C83D3848ED79}" type="slidenum">
              <a:rPr lang="en-IN" smtClean="0"/>
              <a:pPr/>
              <a:t>25</a:t>
            </a:fld>
            <a:endParaRPr lang="en-IN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EF8A56-DE2B-49D1-ACE6-BA177E4FD844}" type="datetime1">
              <a:rPr lang="en-IN" smtClean="0"/>
              <a:pPr/>
              <a:t>10-12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EB8A0-1248-4810-B7DE-6F342C9A0A2A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2F1AF-0F6C-44F9-9771-73538420F6E2}" type="datetime1">
              <a:rPr lang="en-IN" smtClean="0"/>
              <a:pPr/>
              <a:t>10-12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EB8A0-1248-4810-B7DE-6F342C9A0A2A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ADE44-8E93-41C6-B2B2-FCD5E701E873}" type="datetime1">
              <a:rPr lang="en-IN" smtClean="0"/>
              <a:pPr/>
              <a:t>10-12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EB8A0-1248-4810-B7DE-6F342C9A0A2A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623314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24462" y="0"/>
            <a:ext cx="9168462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96346" y="6269981"/>
            <a:ext cx="1275254" cy="3770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45975" y="5456067"/>
            <a:ext cx="2791439" cy="942201"/>
            <a:chOff x="309308" y="5349875"/>
            <a:chExt cx="4520319" cy="1144316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309308" y="5349875"/>
              <a:ext cx="3309941" cy="677866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910448" y="6204953"/>
              <a:ext cx="3919179" cy="289238"/>
            </a:xfrm>
            <a:prstGeom prst="rect">
              <a:avLst/>
            </a:prstGeom>
          </p:spPr>
        </p:pic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117795" y="1"/>
            <a:ext cx="3026205" cy="298049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74059" y="1980986"/>
            <a:ext cx="7240135" cy="2387600"/>
          </a:xfrm>
        </p:spPr>
        <p:txBody>
          <a:bodyPr anchor="ctr"/>
          <a:lstStyle>
            <a:lvl1pPr algn="ctr" rtl="0">
              <a:defRPr sz="6000">
                <a:solidFill>
                  <a:srgbClr val="353839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5611040" y="4802749"/>
            <a:ext cx="2498852" cy="165576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07081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22"/>
          <p:cNvSpPr>
            <a:spLocks/>
          </p:cNvSpPr>
          <p:nvPr/>
        </p:nvSpPr>
        <p:spPr bwMode="auto">
          <a:xfrm>
            <a:off x="8069919" y="2280298"/>
            <a:ext cx="1074082" cy="3821700"/>
          </a:xfrm>
          <a:custGeom>
            <a:avLst/>
            <a:gdLst>
              <a:gd name="connsiteX0" fmla="*/ 91192 w 1432109"/>
              <a:gd name="connsiteY0" fmla="*/ 0 h 3821700"/>
              <a:gd name="connsiteX1" fmla="*/ 156580 w 1432109"/>
              <a:gd name="connsiteY1" fmla="*/ 20498 h 3821700"/>
              <a:gd name="connsiteX2" fmla="*/ 1432109 w 1432109"/>
              <a:gd name="connsiteY2" fmla="*/ 864125 h 3821700"/>
              <a:gd name="connsiteX3" fmla="*/ 1432109 w 1432109"/>
              <a:gd name="connsiteY3" fmla="*/ 3821700 h 3821700"/>
              <a:gd name="connsiteX4" fmla="*/ 1386494 w 1432109"/>
              <a:gd name="connsiteY4" fmla="*/ 3747812 h 3821700"/>
              <a:gd name="connsiteX5" fmla="*/ 7863 w 1432109"/>
              <a:gd name="connsiteY5" fmla="*/ 127102 h 3821700"/>
              <a:gd name="connsiteX6" fmla="*/ 91192 w 1432109"/>
              <a:gd name="connsiteY6" fmla="*/ 0 h 382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32109" h="3821700">
                <a:moveTo>
                  <a:pt x="91192" y="0"/>
                </a:moveTo>
                <a:cubicBezTo>
                  <a:pt x="112098" y="-66"/>
                  <a:pt x="134642" y="6214"/>
                  <a:pt x="156580" y="20498"/>
                </a:cubicBezTo>
                <a:lnTo>
                  <a:pt x="1432109" y="864125"/>
                </a:lnTo>
                <a:lnTo>
                  <a:pt x="1432109" y="3821700"/>
                </a:lnTo>
                <a:lnTo>
                  <a:pt x="1386494" y="3747812"/>
                </a:lnTo>
                <a:lnTo>
                  <a:pt x="7863" y="127102"/>
                </a:lnTo>
                <a:cubicBezTo>
                  <a:pt x="-19501" y="57503"/>
                  <a:pt x="28474" y="198"/>
                  <a:pt x="91192" y="0"/>
                </a:cubicBezTo>
                <a:close/>
              </a:path>
            </a:pathLst>
          </a:custGeom>
          <a:solidFill>
            <a:srgbClr val="509EC3">
              <a:alpha val="11000"/>
            </a:srgbClr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66747C"/>
              </a:solidFill>
            </a:endParaRPr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6099029" y="3629238"/>
            <a:ext cx="2168600" cy="3228763"/>
          </a:xfrm>
          <a:custGeom>
            <a:avLst/>
            <a:gdLst>
              <a:gd name="connsiteX0" fmla="*/ 2841511 w 2891466"/>
              <a:gd name="connsiteY0" fmla="*/ 602 h 3228763"/>
              <a:gd name="connsiteX1" fmla="*/ 2890616 w 2891466"/>
              <a:gd name="connsiteY1" fmla="*/ 96699 h 3228763"/>
              <a:gd name="connsiteX2" fmla="*/ 2529266 w 2891466"/>
              <a:gd name="connsiteY2" fmla="*/ 2454519 h 3228763"/>
              <a:gd name="connsiteX3" fmla="*/ 2677843 w 2891466"/>
              <a:gd name="connsiteY3" fmla="*/ 3044433 h 3228763"/>
              <a:gd name="connsiteX4" fmla="*/ 2851124 w 2891466"/>
              <a:gd name="connsiteY4" fmla="*/ 3228763 h 3228763"/>
              <a:gd name="connsiteX5" fmla="*/ 568912 w 2891466"/>
              <a:gd name="connsiteY5" fmla="*/ 3228763 h 3228763"/>
              <a:gd name="connsiteX6" fmla="*/ 107620 w 2891466"/>
              <a:gd name="connsiteY6" fmla="*/ 3044433 h 3228763"/>
              <a:gd name="connsiteX7" fmla="*/ 65227 w 2891466"/>
              <a:gd name="connsiteY7" fmla="*/ 2722578 h 3228763"/>
              <a:gd name="connsiteX8" fmla="*/ 2742442 w 2891466"/>
              <a:gd name="connsiteY8" fmla="*/ 42443 h 3228763"/>
              <a:gd name="connsiteX9" fmla="*/ 2841511 w 2891466"/>
              <a:gd name="connsiteY9" fmla="*/ 602 h 3228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466" h="3228763">
                <a:moveTo>
                  <a:pt x="2841511" y="602"/>
                </a:moveTo>
                <a:cubicBezTo>
                  <a:pt x="2873053" y="4855"/>
                  <a:pt x="2896268" y="32098"/>
                  <a:pt x="2890616" y="96699"/>
                </a:cubicBezTo>
                <a:lnTo>
                  <a:pt x="2529266" y="2454519"/>
                </a:lnTo>
                <a:cubicBezTo>
                  <a:pt x="2489699" y="2730394"/>
                  <a:pt x="2511098" y="2860516"/>
                  <a:pt x="2677843" y="3044433"/>
                </a:cubicBezTo>
                <a:lnTo>
                  <a:pt x="2851124" y="3228763"/>
                </a:lnTo>
                <a:lnTo>
                  <a:pt x="568912" y="3228763"/>
                </a:lnTo>
                <a:lnTo>
                  <a:pt x="107620" y="3044433"/>
                </a:lnTo>
                <a:cubicBezTo>
                  <a:pt x="-14715" y="2987879"/>
                  <a:pt x="-38132" y="2826031"/>
                  <a:pt x="65227" y="2722578"/>
                </a:cubicBezTo>
                <a:lnTo>
                  <a:pt x="2742442" y="42443"/>
                </a:lnTo>
                <a:cubicBezTo>
                  <a:pt x="2770098" y="15085"/>
                  <a:pt x="2809968" y="-3651"/>
                  <a:pt x="2841511" y="602"/>
                </a:cubicBezTo>
                <a:close/>
              </a:path>
            </a:pathLst>
          </a:custGeom>
          <a:solidFill>
            <a:srgbClr val="66747C">
              <a:alpha val="11000"/>
            </a:srgbClr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66747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"/>
            <a:ext cx="7772400" cy="723899"/>
          </a:xfrm>
        </p:spPr>
        <p:txBody>
          <a:bodyPr/>
          <a:lstStyle>
            <a:lvl1pPr algn="l" rtl="0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966942"/>
            <a:ext cx="7772400" cy="5186363"/>
          </a:xfrm>
        </p:spPr>
        <p:txBody>
          <a:bodyPr/>
          <a:lstStyle>
            <a:lvl1pPr algn="l" rtl="0">
              <a:defRPr/>
            </a:lvl1pPr>
            <a:lvl2pPr algn="l" rtl="0">
              <a:defRPr/>
            </a:lvl2pPr>
            <a:lvl3pPr algn="l" rtl="0">
              <a:defRPr/>
            </a:lvl3pPr>
            <a:lvl4pPr algn="l" rtl="0">
              <a:defRPr/>
            </a:lvl4pPr>
            <a:lvl5pPr algn="l" rtl="0"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 algn="l"/>
            <a:fld id="{085FC55E-D7AA-4507-97DA-CFE96CCDFE05}" type="slidenum">
              <a:rPr lang="en-US" smtClean="0">
                <a:solidFill>
                  <a:srgbClr val="66747C">
                    <a:tint val="75000"/>
                  </a:srgbClr>
                </a:solidFill>
              </a:rPr>
              <a:pPr algn="l"/>
              <a:t>‹#›</a:t>
            </a:fld>
            <a:endParaRPr lang="en-US" dirty="0">
              <a:solidFill>
                <a:srgbClr val="66747C">
                  <a:tint val="75000"/>
                </a:srgbClr>
              </a:solidFill>
            </a:endParaRPr>
          </a:p>
        </p:txBody>
      </p:sp>
      <p:grpSp>
        <p:nvGrpSpPr>
          <p:cNvPr id="4" name="Group 13"/>
          <p:cNvGrpSpPr/>
          <p:nvPr/>
        </p:nvGrpSpPr>
        <p:grpSpPr>
          <a:xfrm>
            <a:off x="69874" y="141109"/>
            <a:ext cx="417911" cy="456050"/>
            <a:chOff x="10802938" y="304006"/>
            <a:chExt cx="550862" cy="450850"/>
          </a:xfrm>
        </p:grpSpPr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11002963" y="304006"/>
              <a:ext cx="350837" cy="290513"/>
            </a:xfrm>
            <a:custGeom>
              <a:avLst/>
              <a:gdLst>
                <a:gd name="T0" fmla="*/ 7 w 221"/>
                <a:gd name="T1" fmla="*/ 2 h 146"/>
                <a:gd name="T2" fmla="*/ 7 w 221"/>
                <a:gd name="T3" fmla="*/ 2 h 146"/>
                <a:gd name="T4" fmla="*/ 2 w 221"/>
                <a:gd name="T5" fmla="*/ 0 h 146"/>
                <a:gd name="T6" fmla="*/ 0 w 221"/>
                <a:gd name="T7" fmla="*/ 2 h 146"/>
                <a:gd name="T8" fmla="*/ 0 w 221"/>
                <a:gd name="T9" fmla="*/ 6 h 146"/>
                <a:gd name="T10" fmla="*/ 64 w 221"/>
                <a:gd name="T11" fmla="*/ 140 h 146"/>
                <a:gd name="T12" fmla="*/ 64 w 221"/>
                <a:gd name="T13" fmla="*/ 140 h 146"/>
                <a:gd name="T14" fmla="*/ 69 w 221"/>
                <a:gd name="T15" fmla="*/ 146 h 146"/>
                <a:gd name="T16" fmla="*/ 74 w 221"/>
                <a:gd name="T17" fmla="*/ 146 h 146"/>
                <a:gd name="T18" fmla="*/ 76 w 221"/>
                <a:gd name="T19" fmla="*/ 146 h 146"/>
                <a:gd name="T20" fmla="*/ 81 w 221"/>
                <a:gd name="T21" fmla="*/ 144 h 146"/>
                <a:gd name="T22" fmla="*/ 216 w 221"/>
                <a:gd name="T23" fmla="*/ 30 h 146"/>
                <a:gd name="T24" fmla="*/ 216 w 221"/>
                <a:gd name="T25" fmla="*/ 30 h 146"/>
                <a:gd name="T26" fmla="*/ 221 w 221"/>
                <a:gd name="T27" fmla="*/ 26 h 146"/>
                <a:gd name="T28" fmla="*/ 219 w 221"/>
                <a:gd name="T29" fmla="*/ 24 h 146"/>
                <a:gd name="T30" fmla="*/ 214 w 221"/>
                <a:gd name="T31" fmla="*/ 26 h 146"/>
                <a:gd name="T32" fmla="*/ 125 w 221"/>
                <a:gd name="T33" fmla="*/ 52 h 146"/>
                <a:gd name="T34" fmla="*/ 125 w 221"/>
                <a:gd name="T35" fmla="*/ 52 h 146"/>
                <a:gd name="T36" fmla="*/ 118 w 221"/>
                <a:gd name="T37" fmla="*/ 54 h 146"/>
                <a:gd name="T38" fmla="*/ 108 w 221"/>
                <a:gd name="T39" fmla="*/ 52 h 146"/>
                <a:gd name="T40" fmla="*/ 98 w 221"/>
                <a:gd name="T41" fmla="*/ 50 h 146"/>
                <a:gd name="T42" fmla="*/ 7 w 221"/>
                <a:gd name="T43" fmla="*/ 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1" h="146">
                  <a:moveTo>
                    <a:pt x="7" y="2"/>
                  </a:moveTo>
                  <a:lnTo>
                    <a:pt x="7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64" y="140"/>
                  </a:lnTo>
                  <a:lnTo>
                    <a:pt x="64" y="140"/>
                  </a:lnTo>
                  <a:lnTo>
                    <a:pt x="69" y="146"/>
                  </a:lnTo>
                  <a:lnTo>
                    <a:pt x="74" y="146"/>
                  </a:lnTo>
                  <a:lnTo>
                    <a:pt x="76" y="146"/>
                  </a:lnTo>
                  <a:lnTo>
                    <a:pt x="81" y="144"/>
                  </a:lnTo>
                  <a:lnTo>
                    <a:pt x="216" y="30"/>
                  </a:lnTo>
                  <a:lnTo>
                    <a:pt x="216" y="30"/>
                  </a:lnTo>
                  <a:lnTo>
                    <a:pt x="221" y="26"/>
                  </a:lnTo>
                  <a:lnTo>
                    <a:pt x="219" y="24"/>
                  </a:lnTo>
                  <a:lnTo>
                    <a:pt x="214" y="26"/>
                  </a:lnTo>
                  <a:lnTo>
                    <a:pt x="125" y="52"/>
                  </a:lnTo>
                  <a:lnTo>
                    <a:pt x="125" y="52"/>
                  </a:lnTo>
                  <a:lnTo>
                    <a:pt x="118" y="54"/>
                  </a:lnTo>
                  <a:lnTo>
                    <a:pt x="108" y="52"/>
                  </a:lnTo>
                  <a:lnTo>
                    <a:pt x="98" y="50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509E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747C"/>
                </a:solidFill>
              </a:endParaRPr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auto">
            <a:xfrm>
              <a:off x="10802938" y="402431"/>
              <a:ext cx="312737" cy="352425"/>
            </a:xfrm>
            <a:custGeom>
              <a:avLst/>
              <a:gdLst>
                <a:gd name="T0" fmla="*/ 138 w 197"/>
                <a:gd name="T1" fmla="*/ 6 h 176"/>
                <a:gd name="T2" fmla="*/ 138 w 197"/>
                <a:gd name="T3" fmla="*/ 6 h 176"/>
                <a:gd name="T4" fmla="*/ 138 w 197"/>
                <a:gd name="T5" fmla="*/ 2 h 176"/>
                <a:gd name="T6" fmla="*/ 136 w 197"/>
                <a:gd name="T7" fmla="*/ 0 h 176"/>
                <a:gd name="T8" fmla="*/ 131 w 197"/>
                <a:gd name="T9" fmla="*/ 4 h 176"/>
                <a:gd name="T10" fmla="*/ 5 w 197"/>
                <a:gd name="T11" fmla="*/ 104 h 176"/>
                <a:gd name="T12" fmla="*/ 5 w 197"/>
                <a:gd name="T13" fmla="*/ 104 h 176"/>
                <a:gd name="T14" fmla="*/ 0 w 197"/>
                <a:gd name="T15" fmla="*/ 108 h 176"/>
                <a:gd name="T16" fmla="*/ 0 w 197"/>
                <a:gd name="T17" fmla="*/ 112 h 176"/>
                <a:gd name="T18" fmla="*/ 2 w 197"/>
                <a:gd name="T19" fmla="*/ 114 h 176"/>
                <a:gd name="T20" fmla="*/ 7 w 197"/>
                <a:gd name="T21" fmla="*/ 116 h 176"/>
                <a:gd name="T22" fmla="*/ 190 w 197"/>
                <a:gd name="T23" fmla="*/ 174 h 176"/>
                <a:gd name="T24" fmla="*/ 190 w 197"/>
                <a:gd name="T25" fmla="*/ 174 h 176"/>
                <a:gd name="T26" fmla="*/ 195 w 197"/>
                <a:gd name="T27" fmla="*/ 176 h 176"/>
                <a:gd name="T28" fmla="*/ 197 w 197"/>
                <a:gd name="T29" fmla="*/ 174 h 176"/>
                <a:gd name="T30" fmla="*/ 192 w 197"/>
                <a:gd name="T31" fmla="*/ 170 h 176"/>
                <a:gd name="T32" fmla="*/ 128 w 197"/>
                <a:gd name="T33" fmla="*/ 116 h 176"/>
                <a:gd name="T34" fmla="*/ 128 w 197"/>
                <a:gd name="T35" fmla="*/ 116 h 176"/>
                <a:gd name="T36" fmla="*/ 123 w 197"/>
                <a:gd name="T37" fmla="*/ 110 h 176"/>
                <a:gd name="T38" fmla="*/ 121 w 197"/>
                <a:gd name="T39" fmla="*/ 102 h 176"/>
                <a:gd name="T40" fmla="*/ 121 w 197"/>
                <a:gd name="T41" fmla="*/ 94 h 176"/>
                <a:gd name="T42" fmla="*/ 138 w 197"/>
                <a:gd name="T43" fmla="*/ 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7" h="176">
                  <a:moveTo>
                    <a:pt x="138" y="6"/>
                  </a:moveTo>
                  <a:lnTo>
                    <a:pt x="138" y="6"/>
                  </a:lnTo>
                  <a:lnTo>
                    <a:pt x="138" y="2"/>
                  </a:lnTo>
                  <a:lnTo>
                    <a:pt x="136" y="0"/>
                  </a:lnTo>
                  <a:lnTo>
                    <a:pt x="131" y="4"/>
                  </a:lnTo>
                  <a:lnTo>
                    <a:pt x="5" y="104"/>
                  </a:lnTo>
                  <a:lnTo>
                    <a:pt x="5" y="104"/>
                  </a:lnTo>
                  <a:lnTo>
                    <a:pt x="0" y="108"/>
                  </a:lnTo>
                  <a:lnTo>
                    <a:pt x="0" y="112"/>
                  </a:lnTo>
                  <a:lnTo>
                    <a:pt x="2" y="114"/>
                  </a:lnTo>
                  <a:lnTo>
                    <a:pt x="7" y="116"/>
                  </a:lnTo>
                  <a:lnTo>
                    <a:pt x="190" y="174"/>
                  </a:lnTo>
                  <a:lnTo>
                    <a:pt x="190" y="174"/>
                  </a:lnTo>
                  <a:lnTo>
                    <a:pt x="195" y="176"/>
                  </a:lnTo>
                  <a:lnTo>
                    <a:pt x="197" y="174"/>
                  </a:lnTo>
                  <a:lnTo>
                    <a:pt x="192" y="170"/>
                  </a:lnTo>
                  <a:lnTo>
                    <a:pt x="128" y="116"/>
                  </a:lnTo>
                  <a:lnTo>
                    <a:pt x="128" y="116"/>
                  </a:lnTo>
                  <a:lnTo>
                    <a:pt x="123" y="110"/>
                  </a:lnTo>
                  <a:lnTo>
                    <a:pt x="121" y="102"/>
                  </a:lnTo>
                  <a:lnTo>
                    <a:pt x="121" y="94"/>
                  </a:lnTo>
                  <a:lnTo>
                    <a:pt x="138" y="6"/>
                  </a:lnTo>
                  <a:close/>
                </a:path>
              </a:pathLst>
            </a:custGeom>
            <a:solidFill>
              <a:srgbClr val="6674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747C"/>
                </a:solidFill>
              </a:endParaRPr>
            </a:p>
          </p:txBody>
        </p:sp>
      </p:grp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2819" y="6166984"/>
            <a:ext cx="428625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800450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 26"/>
          <p:cNvSpPr>
            <a:spLocks/>
          </p:cNvSpPr>
          <p:nvPr/>
        </p:nvSpPr>
        <p:spPr bwMode="auto">
          <a:xfrm>
            <a:off x="8069919" y="2280298"/>
            <a:ext cx="1074082" cy="3821700"/>
          </a:xfrm>
          <a:custGeom>
            <a:avLst/>
            <a:gdLst>
              <a:gd name="connsiteX0" fmla="*/ 91192 w 1432109"/>
              <a:gd name="connsiteY0" fmla="*/ 0 h 3821700"/>
              <a:gd name="connsiteX1" fmla="*/ 156580 w 1432109"/>
              <a:gd name="connsiteY1" fmla="*/ 20498 h 3821700"/>
              <a:gd name="connsiteX2" fmla="*/ 1432109 w 1432109"/>
              <a:gd name="connsiteY2" fmla="*/ 864125 h 3821700"/>
              <a:gd name="connsiteX3" fmla="*/ 1432109 w 1432109"/>
              <a:gd name="connsiteY3" fmla="*/ 3821700 h 3821700"/>
              <a:gd name="connsiteX4" fmla="*/ 1386494 w 1432109"/>
              <a:gd name="connsiteY4" fmla="*/ 3747812 h 3821700"/>
              <a:gd name="connsiteX5" fmla="*/ 7863 w 1432109"/>
              <a:gd name="connsiteY5" fmla="*/ 127102 h 3821700"/>
              <a:gd name="connsiteX6" fmla="*/ 91192 w 1432109"/>
              <a:gd name="connsiteY6" fmla="*/ 0 h 382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32109" h="3821700">
                <a:moveTo>
                  <a:pt x="91192" y="0"/>
                </a:moveTo>
                <a:cubicBezTo>
                  <a:pt x="112098" y="-66"/>
                  <a:pt x="134642" y="6214"/>
                  <a:pt x="156580" y="20498"/>
                </a:cubicBezTo>
                <a:lnTo>
                  <a:pt x="1432109" y="864125"/>
                </a:lnTo>
                <a:lnTo>
                  <a:pt x="1432109" y="3821700"/>
                </a:lnTo>
                <a:lnTo>
                  <a:pt x="1386494" y="3747812"/>
                </a:lnTo>
                <a:lnTo>
                  <a:pt x="7863" y="127102"/>
                </a:lnTo>
                <a:cubicBezTo>
                  <a:pt x="-19501" y="57503"/>
                  <a:pt x="28474" y="198"/>
                  <a:pt x="91192" y="0"/>
                </a:cubicBezTo>
                <a:close/>
              </a:path>
            </a:pathLst>
          </a:custGeom>
          <a:solidFill>
            <a:srgbClr val="509EC3">
              <a:alpha val="11000"/>
            </a:srgbClr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66747C"/>
              </a:solidFill>
            </a:endParaRPr>
          </a:p>
        </p:txBody>
      </p:sp>
      <p:sp>
        <p:nvSpPr>
          <p:cNvPr id="28" name="Freeform 27"/>
          <p:cNvSpPr>
            <a:spLocks/>
          </p:cNvSpPr>
          <p:nvPr/>
        </p:nvSpPr>
        <p:spPr bwMode="auto">
          <a:xfrm>
            <a:off x="6099029" y="3629238"/>
            <a:ext cx="2168600" cy="3228763"/>
          </a:xfrm>
          <a:custGeom>
            <a:avLst/>
            <a:gdLst>
              <a:gd name="connsiteX0" fmla="*/ 2841511 w 2891466"/>
              <a:gd name="connsiteY0" fmla="*/ 602 h 3228763"/>
              <a:gd name="connsiteX1" fmla="*/ 2890616 w 2891466"/>
              <a:gd name="connsiteY1" fmla="*/ 96699 h 3228763"/>
              <a:gd name="connsiteX2" fmla="*/ 2529266 w 2891466"/>
              <a:gd name="connsiteY2" fmla="*/ 2454519 h 3228763"/>
              <a:gd name="connsiteX3" fmla="*/ 2677843 w 2891466"/>
              <a:gd name="connsiteY3" fmla="*/ 3044433 h 3228763"/>
              <a:gd name="connsiteX4" fmla="*/ 2851124 w 2891466"/>
              <a:gd name="connsiteY4" fmla="*/ 3228763 h 3228763"/>
              <a:gd name="connsiteX5" fmla="*/ 568912 w 2891466"/>
              <a:gd name="connsiteY5" fmla="*/ 3228763 h 3228763"/>
              <a:gd name="connsiteX6" fmla="*/ 107620 w 2891466"/>
              <a:gd name="connsiteY6" fmla="*/ 3044433 h 3228763"/>
              <a:gd name="connsiteX7" fmla="*/ 65227 w 2891466"/>
              <a:gd name="connsiteY7" fmla="*/ 2722578 h 3228763"/>
              <a:gd name="connsiteX8" fmla="*/ 2742442 w 2891466"/>
              <a:gd name="connsiteY8" fmla="*/ 42443 h 3228763"/>
              <a:gd name="connsiteX9" fmla="*/ 2841511 w 2891466"/>
              <a:gd name="connsiteY9" fmla="*/ 602 h 3228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466" h="3228763">
                <a:moveTo>
                  <a:pt x="2841511" y="602"/>
                </a:moveTo>
                <a:cubicBezTo>
                  <a:pt x="2873053" y="4855"/>
                  <a:pt x="2896268" y="32098"/>
                  <a:pt x="2890616" y="96699"/>
                </a:cubicBezTo>
                <a:lnTo>
                  <a:pt x="2529266" y="2454519"/>
                </a:lnTo>
                <a:cubicBezTo>
                  <a:pt x="2489699" y="2730394"/>
                  <a:pt x="2511098" y="2860516"/>
                  <a:pt x="2677843" y="3044433"/>
                </a:cubicBezTo>
                <a:lnTo>
                  <a:pt x="2851124" y="3228763"/>
                </a:lnTo>
                <a:lnTo>
                  <a:pt x="568912" y="3228763"/>
                </a:lnTo>
                <a:lnTo>
                  <a:pt x="107620" y="3044433"/>
                </a:lnTo>
                <a:cubicBezTo>
                  <a:pt x="-14715" y="2987879"/>
                  <a:pt x="-38132" y="2826031"/>
                  <a:pt x="65227" y="2722578"/>
                </a:cubicBezTo>
                <a:lnTo>
                  <a:pt x="2742442" y="42443"/>
                </a:lnTo>
                <a:cubicBezTo>
                  <a:pt x="2770098" y="15085"/>
                  <a:pt x="2809968" y="-3651"/>
                  <a:pt x="2841511" y="602"/>
                </a:cubicBezTo>
                <a:close/>
              </a:path>
            </a:pathLst>
          </a:custGeom>
          <a:solidFill>
            <a:srgbClr val="66747C">
              <a:alpha val="11000"/>
            </a:srgbClr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66747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"/>
            <a:ext cx="7258050" cy="719667"/>
          </a:xfrm>
        </p:spPr>
        <p:txBody>
          <a:bodyPr/>
          <a:lstStyle>
            <a:lvl1pPr algn="l" rtl="0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952501"/>
            <a:ext cx="3257550" cy="5050295"/>
          </a:xfrm>
        </p:spPr>
        <p:txBody>
          <a:bodyPr/>
          <a:lstStyle>
            <a:lvl1pPr algn="l" rtl="0">
              <a:defRPr/>
            </a:lvl1pPr>
            <a:lvl2pPr algn="l" rtl="0">
              <a:defRPr/>
            </a:lvl2pPr>
            <a:lvl3pPr algn="l" rtl="0">
              <a:defRPr/>
            </a:lvl3pPr>
            <a:lvl4pPr algn="l" rtl="0">
              <a:defRPr/>
            </a:lvl4pPr>
            <a:lvl5pPr algn="l" rtl="0"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952501"/>
            <a:ext cx="3943350" cy="5050295"/>
          </a:xfrm>
        </p:spPr>
        <p:txBody>
          <a:bodyPr/>
          <a:lstStyle>
            <a:lvl1pPr algn="l" rtl="0">
              <a:defRPr/>
            </a:lvl1pPr>
            <a:lvl2pPr algn="l" rtl="0">
              <a:defRPr/>
            </a:lvl2pPr>
            <a:lvl3pPr algn="l" rtl="0">
              <a:defRPr/>
            </a:lvl3pPr>
            <a:lvl4pPr algn="l" rtl="0">
              <a:defRPr/>
            </a:lvl4pPr>
            <a:lvl5pPr algn="l" rtl="0"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FC55E-D7AA-4507-97DA-CFE96CCDFE05}" type="slidenum">
              <a:rPr lang="en-US" smtClean="0">
                <a:solidFill>
                  <a:srgbClr val="66747C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6747C">
                  <a:tint val="75000"/>
                </a:srgbClr>
              </a:solidFill>
            </a:endParaRPr>
          </a:p>
        </p:txBody>
      </p:sp>
      <p:grpSp>
        <p:nvGrpSpPr>
          <p:cNvPr id="5" name="Group 10"/>
          <p:cNvGrpSpPr/>
          <p:nvPr/>
        </p:nvGrpSpPr>
        <p:grpSpPr>
          <a:xfrm>
            <a:off x="69874" y="141109"/>
            <a:ext cx="417911" cy="456050"/>
            <a:chOff x="10802938" y="304006"/>
            <a:chExt cx="550862" cy="450850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1002963" y="304006"/>
              <a:ext cx="350837" cy="290513"/>
            </a:xfrm>
            <a:custGeom>
              <a:avLst/>
              <a:gdLst>
                <a:gd name="T0" fmla="*/ 7 w 221"/>
                <a:gd name="T1" fmla="*/ 2 h 146"/>
                <a:gd name="T2" fmla="*/ 7 w 221"/>
                <a:gd name="T3" fmla="*/ 2 h 146"/>
                <a:gd name="T4" fmla="*/ 2 w 221"/>
                <a:gd name="T5" fmla="*/ 0 h 146"/>
                <a:gd name="T6" fmla="*/ 0 w 221"/>
                <a:gd name="T7" fmla="*/ 2 h 146"/>
                <a:gd name="T8" fmla="*/ 0 w 221"/>
                <a:gd name="T9" fmla="*/ 6 h 146"/>
                <a:gd name="T10" fmla="*/ 64 w 221"/>
                <a:gd name="T11" fmla="*/ 140 h 146"/>
                <a:gd name="T12" fmla="*/ 64 w 221"/>
                <a:gd name="T13" fmla="*/ 140 h 146"/>
                <a:gd name="T14" fmla="*/ 69 w 221"/>
                <a:gd name="T15" fmla="*/ 146 h 146"/>
                <a:gd name="T16" fmla="*/ 74 w 221"/>
                <a:gd name="T17" fmla="*/ 146 h 146"/>
                <a:gd name="T18" fmla="*/ 76 w 221"/>
                <a:gd name="T19" fmla="*/ 146 h 146"/>
                <a:gd name="T20" fmla="*/ 81 w 221"/>
                <a:gd name="T21" fmla="*/ 144 h 146"/>
                <a:gd name="T22" fmla="*/ 216 w 221"/>
                <a:gd name="T23" fmla="*/ 30 h 146"/>
                <a:gd name="T24" fmla="*/ 216 w 221"/>
                <a:gd name="T25" fmla="*/ 30 h 146"/>
                <a:gd name="T26" fmla="*/ 221 w 221"/>
                <a:gd name="T27" fmla="*/ 26 h 146"/>
                <a:gd name="T28" fmla="*/ 219 w 221"/>
                <a:gd name="T29" fmla="*/ 24 h 146"/>
                <a:gd name="T30" fmla="*/ 214 w 221"/>
                <a:gd name="T31" fmla="*/ 26 h 146"/>
                <a:gd name="T32" fmla="*/ 125 w 221"/>
                <a:gd name="T33" fmla="*/ 52 h 146"/>
                <a:gd name="T34" fmla="*/ 125 w 221"/>
                <a:gd name="T35" fmla="*/ 52 h 146"/>
                <a:gd name="T36" fmla="*/ 118 w 221"/>
                <a:gd name="T37" fmla="*/ 54 h 146"/>
                <a:gd name="T38" fmla="*/ 108 w 221"/>
                <a:gd name="T39" fmla="*/ 52 h 146"/>
                <a:gd name="T40" fmla="*/ 98 w 221"/>
                <a:gd name="T41" fmla="*/ 50 h 146"/>
                <a:gd name="T42" fmla="*/ 7 w 221"/>
                <a:gd name="T43" fmla="*/ 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1" h="146">
                  <a:moveTo>
                    <a:pt x="7" y="2"/>
                  </a:moveTo>
                  <a:lnTo>
                    <a:pt x="7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64" y="140"/>
                  </a:lnTo>
                  <a:lnTo>
                    <a:pt x="64" y="140"/>
                  </a:lnTo>
                  <a:lnTo>
                    <a:pt x="69" y="146"/>
                  </a:lnTo>
                  <a:lnTo>
                    <a:pt x="74" y="146"/>
                  </a:lnTo>
                  <a:lnTo>
                    <a:pt x="76" y="146"/>
                  </a:lnTo>
                  <a:lnTo>
                    <a:pt x="81" y="144"/>
                  </a:lnTo>
                  <a:lnTo>
                    <a:pt x="216" y="30"/>
                  </a:lnTo>
                  <a:lnTo>
                    <a:pt x="216" y="30"/>
                  </a:lnTo>
                  <a:lnTo>
                    <a:pt x="221" y="26"/>
                  </a:lnTo>
                  <a:lnTo>
                    <a:pt x="219" y="24"/>
                  </a:lnTo>
                  <a:lnTo>
                    <a:pt x="214" y="26"/>
                  </a:lnTo>
                  <a:lnTo>
                    <a:pt x="125" y="52"/>
                  </a:lnTo>
                  <a:lnTo>
                    <a:pt x="125" y="52"/>
                  </a:lnTo>
                  <a:lnTo>
                    <a:pt x="118" y="54"/>
                  </a:lnTo>
                  <a:lnTo>
                    <a:pt x="108" y="52"/>
                  </a:lnTo>
                  <a:lnTo>
                    <a:pt x="98" y="50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509E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747C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10802938" y="402431"/>
              <a:ext cx="312737" cy="352425"/>
            </a:xfrm>
            <a:custGeom>
              <a:avLst/>
              <a:gdLst>
                <a:gd name="T0" fmla="*/ 138 w 197"/>
                <a:gd name="T1" fmla="*/ 6 h 176"/>
                <a:gd name="T2" fmla="*/ 138 w 197"/>
                <a:gd name="T3" fmla="*/ 6 h 176"/>
                <a:gd name="T4" fmla="*/ 138 w 197"/>
                <a:gd name="T5" fmla="*/ 2 h 176"/>
                <a:gd name="T6" fmla="*/ 136 w 197"/>
                <a:gd name="T7" fmla="*/ 0 h 176"/>
                <a:gd name="T8" fmla="*/ 131 w 197"/>
                <a:gd name="T9" fmla="*/ 4 h 176"/>
                <a:gd name="T10" fmla="*/ 5 w 197"/>
                <a:gd name="T11" fmla="*/ 104 h 176"/>
                <a:gd name="T12" fmla="*/ 5 w 197"/>
                <a:gd name="T13" fmla="*/ 104 h 176"/>
                <a:gd name="T14" fmla="*/ 0 w 197"/>
                <a:gd name="T15" fmla="*/ 108 h 176"/>
                <a:gd name="T16" fmla="*/ 0 w 197"/>
                <a:gd name="T17" fmla="*/ 112 h 176"/>
                <a:gd name="T18" fmla="*/ 2 w 197"/>
                <a:gd name="T19" fmla="*/ 114 h 176"/>
                <a:gd name="T20" fmla="*/ 7 w 197"/>
                <a:gd name="T21" fmla="*/ 116 h 176"/>
                <a:gd name="T22" fmla="*/ 190 w 197"/>
                <a:gd name="T23" fmla="*/ 174 h 176"/>
                <a:gd name="T24" fmla="*/ 190 w 197"/>
                <a:gd name="T25" fmla="*/ 174 h 176"/>
                <a:gd name="T26" fmla="*/ 195 w 197"/>
                <a:gd name="T27" fmla="*/ 176 h 176"/>
                <a:gd name="T28" fmla="*/ 197 w 197"/>
                <a:gd name="T29" fmla="*/ 174 h 176"/>
                <a:gd name="T30" fmla="*/ 192 w 197"/>
                <a:gd name="T31" fmla="*/ 170 h 176"/>
                <a:gd name="T32" fmla="*/ 128 w 197"/>
                <a:gd name="T33" fmla="*/ 116 h 176"/>
                <a:gd name="T34" fmla="*/ 128 w 197"/>
                <a:gd name="T35" fmla="*/ 116 h 176"/>
                <a:gd name="T36" fmla="*/ 123 w 197"/>
                <a:gd name="T37" fmla="*/ 110 h 176"/>
                <a:gd name="T38" fmla="*/ 121 w 197"/>
                <a:gd name="T39" fmla="*/ 102 h 176"/>
                <a:gd name="T40" fmla="*/ 121 w 197"/>
                <a:gd name="T41" fmla="*/ 94 h 176"/>
                <a:gd name="T42" fmla="*/ 138 w 197"/>
                <a:gd name="T43" fmla="*/ 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7" h="176">
                  <a:moveTo>
                    <a:pt x="138" y="6"/>
                  </a:moveTo>
                  <a:lnTo>
                    <a:pt x="138" y="6"/>
                  </a:lnTo>
                  <a:lnTo>
                    <a:pt x="138" y="2"/>
                  </a:lnTo>
                  <a:lnTo>
                    <a:pt x="136" y="0"/>
                  </a:lnTo>
                  <a:lnTo>
                    <a:pt x="131" y="4"/>
                  </a:lnTo>
                  <a:lnTo>
                    <a:pt x="5" y="104"/>
                  </a:lnTo>
                  <a:lnTo>
                    <a:pt x="5" y="104"/>
                  </a:lnTo>
                  <a:lnTo>
                    <a:pt x="0" y="108"/>
                  </a:lnTo>
                  <a:lnTo>
                    <a:pt x="0" y="112"/>
                  </a:lnTo>
                  <a:lnTo>
                    <a:pt x="2" y="114"/>
                  </a:lnTo>
                  <a:lnTo>
                    <a:pt x="7" y="116"/>
                  </a:lnTo>
                  <a:lnTo>
                    <a:pt x="190" y="174"/>
                  </a:lnTo>
                  <a:lnTo>
                    <a:pt x="190" y="174"/>
                  </a:lnTo>
                  <a:lnTo>
                    <a:pt x="195" y="176"/>
                  </a:lnTo>
                  <a:lnTo>
                    <a:pt x="197" y="174"/>
                  </a:lnTo>
                  <a:lnTo>
                    <a:pt x="192" y="170"/>
                  </a:lnTo>
                  <a:lnTo>
                    <a:pt x="128" y="116"/>
                  </a:lnTo>
                  <a:lnTo>
                    <a:pt x="128" y="116"/>
                  </a:lnTo>
                  <a:lnTo>
                    <a:pt x="123" y="110"/>
                  </a:lnTo>
                  <a:lnTo>
                    <a:pt x="121" y="102"/>
                  </a:lnTo>
                  <a:lnTo>
                    <a:pt x="121" y="94"/>
                  </a:lnTo>
                  <a:lnTo>
                    <a:pt x="138" y="6"/>
                  </a:lnTo>
                  <a:close/>
                </a:path>
              </a:pathLst>
            </a:custGeom>
            <a:solidFill>
              <a:srgbClr val="6674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747C"/>
                </a:solidFill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2819" y="6166984"/>
            <a:ext cx="428625" cy="571500"/>
          </a:xfrm>
          <a:prstGeom prst="rect">
            <a:avLst/>
          </a:prstGeom>
        </p:spPr>
      </p:pic>
      <p:grpSp>
        <p:nvGrpSpPr>
          <p:cNvPr id="6" name="Group 14"/>
          <p:cNvGrpSpPr/>
          <p:nvPr/>
        </p:nvGrpSpPr>
        <p:grpSpPr>
          <a:xfrm>
            <a:off x="69874" y="141109"/>
            <a:ext cx="417911" cy="456050"/>
            <a:chOff x="10802938" y="304006"/>
            <a:chExt cx="550862" cy="450850"/>
          </a:xfrm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11002963" y="304006"/>
              <a:ext cx="350837" cy="290513"/>
            </a:xfrm>
            <a:custGeom>
              <a:avLst/>
              <a:gdLst>
                <a:gd name="T0" fmla="*/ 7 w 221"/>
                <a:gd name="T1" fmla="*/ 2 h 146"/>
                <a:gd name="T2" fmla="*/ 7 w 221"/>
                <a:gd name="T3" fmla="*/ 2 h 146"/>
                <a:gd name="T4" fmla="*/ 2 w 221"/>
                <a:gd name="T5" fmla="*/ 0 h 146"/>
                <a:gd name="T6" fmla="*/ 0 w 221"/>
                <a:gd name="T7" fmla="*/ 2 h 146"/>
                <a:gd name="T8" fmla="*/ 0 w 221"/>
                <a:gd name="T9" fmla="*/ 6 h 146"/>
                <a:gd name="T10" fmla="*/ 64 w 221"/>
                <a:gd name="T11" fmla="*/ 140 h 146"/>
                <a:gd name="T12" fmla="*/ 64 w 221"/>
                <a:gd name="T13" fmla="*/ 140 h 146"/>
                <a:gd name="T14" fmla="*/ 69 w 221"/>
                <a:gd name="T15" fmla="*/ 146 h 146"/>
                <a:gd name="T16" fmla="*/ 74 w 221"/>
                <a:gd name="T17" fmla="*/ 146 h 146"/>
                <a:gd name="T18" fmla="*/ 76 w 221"/>
                <a:gd name="T19" fmla="*/ 146 h 146"/>
                <a:gd name="T20" fmla="*/ 81 w 221"/>
                <a:gd name="T21" fmla="*/ 144 h 146"/>
                <a:gd name="T22" fmla="*/ 216 w 221"/>
                <a:gd name="T23" fmla="*/ 30 h 146"/>
                <a:gd name="T24" fmla="*/ 216 w 221"/>
                <a:gd name="T25" fmla="*/ 30 h 146"/>
                <a:gd name="T26" fmla="*/ 221 w 221"/>
                <a:gd name="T27" fmla="*/ 26 h 146"/>
                <a:gd name="T28" fmla="*/ 219 w 221"/>
                <a:gd name="T29" fmla="*/ 24 h 146"/>
                <a:gd name="T30" fmla="*/ 214 w 221"/>
                <a:gd name="T31" fmla="*/ 26 h 146"/>
                <a:gd name="T32" fmla="*/ 125 w 221"/>
                <a:gd name="T33" fmla="*/ 52 h 146"/>
                <a:gd name="T34" fmla="*/ 125 w 221"/>
                <a:gd name="T35" fmla="*/ 52 h 146"/>
                <a:gd name="T36" fmla="*/ 118 w 221"/>
                <a:gd name="T37" fmla="*/ 54 h 146"/>
                <a:gd name="T38" fmla="*/ 108 w 221"/>
                <a:gd name="T39" fmla="*/ 52 h 146"/>
                <a:gd name="T40" fmla="*/ 98 w 221"/>
                <a:gd name="T41" fmla="*/ 50 h 146"/>
                <a:gd name="T42" fmla="*/ 7 w 221"/>
                <a:gd name="T43" fmla="*/ 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1" h="146">
                  <a:moveTo>
                    <a:pt x="7" y="2"/>
                  </a:moveTo>
                  <a:lnTo>
                    <a:pt x="7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64" y="140"/>
                  </a:lnTo>
                  <a:lnTo>
                    <a:pt x="64" y="140"/>
                  </a:lnTo>
                  <a:lnTo>
                    <a:pt x="69" y="146"/>
                  </a:lnTo>
                  <a:lnTo>
                    <a:pt x="74" y="146"/>
                  </a:lnTo>
                  <a:lnTo>
                    <a:pt x="76" y="146"/>
                  </a:lnTo>
                  <a:lnTo>
                    <a:pt x="81" y="144"/>
                  </a:lnTo>
                  <a:lnTo>
                    <a:pt x="216" y="30"/>
                  </a:lnTo>
                  <a:lnTo>
                    <a:pt x="216" y="30"/>
                  </a:lnTo>
                  <a:lnTo>
                    <a:pt x="221" y="26"/>
                  </a:lnTo>
                  <a:lnTo>
                    <a:pt x="219" y="24"/>
                  </a:lnTo>
                  <a:lnTo>
                    <a:pt x="214" y="26"/>
                  </a:lnTo>
                  <a:lnTo>
                    <a:pt x="125" y="52"/>
                  </a:lnTo>
                  <a:lnTo>
                    <a:pt x="125" y="52"/>
                  </a:lnTo>
                  <a:lnTo>
                    <a:pt x="118" y="54"/>
                  </a:lnTo>
                  <a:lnTo>
                    <a:pt x="108" y="52"/>
                  </a:lnTo>
                  <a:lnTo>
                    <a:pt x="98" y="50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509E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747C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10802938" y="402431"/>
              <a:ext cx="312737" cy="352425"/>
            </a:xfrm>
            <a:custGeom>
              <a:avLst/>
              <a:gdLst>
                <a:gd name="T0" fmla="*/ 138 w 197"/>
                <a:gd name="T1" fmla="*/ 6 h 176"/>
                <a:gd name="T2" fmla="*/ 138 w 197"/>
                <a:gd name="T3" fmla="*/ 6 h 176"/>
                <a:gd name="T4" fmla="*/ 138 w 197"/>
                <a:gd name="T5" fmla="*/ 2 h 176"/>
                <a:gd name="T6" fmla="*/ 136 w 197"/>
                <a:gd name="T7" fmla="*/ 0 h 176"/>
                <a:gd name="T8" fmla="*/ 131 w 197"/>
                <a:gd name="T9" fmla="*/ 4 h 176"/>
                <a:gd name="T10" fmla="*/ 5 w 197"/>
                <a:gd name="T11" fmla="*/ 104 h 176"/>
                <a:gd name="T12" fmla="*/ 5 w 197"/>
                <a:gd name="T13" fmla="*/ 104 h 176"/>
                <a:gd name="T14" fmla="*/ 0 w 197"/>
                <a:gd name="T15" fmla="*/ 108 h 176"/>
                <a:gd name="T16" fmla="*/ 0 w 197"/>
                <a:gd name="T17" fmla="*/ 112 h 176"/>
                <a:gd name="T18" fmla="*/ 2 w 197"/>
                <a:gd name="T19" fmla="*/ 114 h 176"/>
                <a:gd name="T20" fmla="*/ 7 w 197"/>
                <a:gd name="T21" fmla="*/ 116 h 176"/>
                <a:gd name="T22" fmla="*/ 190 w 197"/>
                <a:gd name="T23" fmla="*/ 174 h 176"/>
                <a:gd name="T24" fmla="*/ 190 w 197"/>
                <a:gd name="T25" fmla="*/ 174 h 176"/>
                <a:gd name="T26" fmla="*/ 195 w 197"/>
                <a:gd name="T27" fmla="*/ 176 h 176"/>
                <a:gd name="T28" fmla="*/ 197 w 197"/>
                <a:gd name="T29" fmla="*/ 174 h 176"/>
                <a:gd name="T30" fmla="*/ 192 w 197"/>
                <a:gd name="T31" fmla="*/ 170 h 176"/>
                <a:gd name="T32" fmla="*/ 128 w 197"/>
                <a:gd name="T33" fmla="*/ 116 h 176"/>
                <a:gd name="T34" fmla="*/ 128 w 197"/>
                <a:gd name="T35" fmla="*/ 116 h 176"/>
                <a:gd name="T36" fmla="*/ 123 w 197"/>
                <a:gd name="T37" fmla="*/ 110 h 176"/>
                <a:gd name="T38" fmla="*/ 121 w 197"/>
                <a:gd name="T39" fmla="*/ 102 h 176"/>
                <a:gd name="T40" fmla="*/ 121 w 197"/>
                <a:gd name="T41" fmla="*/ 94 h 176"/>
                <a:gd name="T42" fmla="*/ 138 w 197"/>
                <a:gd name="T43" fmla="*/ 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7" h="176">
                  <a:moveTo>
                    <a:pt x="138" y="6"/>
                  </a:moveTo>
                  <a:lnTo>
                    <a:pt x="138" y="6"/>
                  </a:lnTo>
                  <a:lnTo>
                    <a:pt x="138" y="2"/>
                  </a:lnTo>
                  <a:lnTo>
                    <a:pt x="136" y="0"/>
                  </a:lnTo>
                  <a:lnTo>
                    <a:pt x="131" y="4"/>
                  </a:lnTo>
                  <a:lnTo>
                    <a:pt x="5" y="104"/>
                  </a:lnTo>
                  <a:lnTo>
                    <a:pt x="5" y="104"/>
                  </a:lnTo>
                  <a:lnTo>
                    <a:pt x="0" y="108"/>
                  </a:lnTo>
                  <a:lnTo>
                    <a:pt x="0" y="112"/>
                  </a:lnTo>
                  <a:lnTo>
                    <a:pt x="2" y="114"/>
                  </a:lnTo>
                  <a:lnTo>
                    <a:pt x="7" y="116"/>
                  </a:lnTo>
                  <a:lnTo>
                    <a:pt x="190" y="174"/>
                  </a:lnTo>
                  <a:lnTo>
                    <a:pt x="190" y="174"/>
                  </a:lnTo>
                  <a:lnTo>
                    <a:pt x="195" y="176"/>
                  </a:lnTo>
                  <a:lnTo>
                    <a:pt x="197" y="174"/>
                  </a:lnTo>
                  <a:lnTo>
                    <a:pt x="192" y="170"/>
                  </a:lnTo>
                  <a:lnTo>
                    <a:pt x="128" y="116"/>
                  </a:lnTo>
                  <a:lnTo>
                    <a:pt x="128" y="116"/>
                  </a:lnTo>
                  <a:lnTo>
                    <a:pt x="123" y="110"/>
                  </a:lnTo>
                  <a:lnTo>
                    <a:pt x="121" y="102"/>
                  </a:lnTo>
                  <a:lnTo>
                    <a:pt x="121" y="94"/>
                  </a:lnTo>
                  <a:lnTo>
                    <a:pt x="138" y="6"/>
                  </a:lnTo>
                  <a:close/>
                </a:path>
              </a:pathLst>
            </a:custGeom>
            <a:solidFill>
              <a:srgbClr val="6674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747C"/>
                </a:solidFill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2819" y="6166984"/>
            <a:ext cx="428625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15834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19"/>
          <p:cNvSpPr>
            <a:spLocks/>
          </p:cNvSpPr>
          <p:nvPr/>
        </p:nvSpPr>
        <p:spPr bwMode="auto">
          <a:xfrm>
            <a:off x="8069919" y="2280298"/>
            <a:ext cx="1074082" cy="3821700"/>
          </a:xfrm>
          <a:custGeom>
            <a:avLst/>
            <a:gdLst>
              <a:gd name="connsiteX0" fmla="*/ 91192 w 1432109"/>
              <a:gd name="connsiteY0" fmla="*/ 0 h 3821700"/>
              <a:gd name="connsiteX1" fmla="*/ 156580 w 1432109"/>
              <a:gd name="connsiteY1" fmla="*/ 20498 h 3821700"/>
              <a:gd name="connsiteX2" fmla="*/ 1432109 w 1432109"/>
              <a:gd name="connsiteY2" fmla="*/ 864125 h 3821700"/>
              <a:gd name="connsiteX3" fmla="*/ 1432109 w 1432109"/>
              <a:gd name="connsiteY3" fmla="*/ 3821700 h 3821700"/>
              <a:gd name="connsiteX4" fmla="*/ 1386494 w 1432109"/>
              <a:gd name="connsiteY4" fmla="*/ 3747812 h 3821700"/>
              <a:gd name="connsiteX5" fmla="*/ 7863 w 1432109"/>
              <a:gd name="connsiteY5" fmla="*/ 127102 h 3821700"/>
              <a:gd name="connsiteX6" fmla="*/ 91192 w 1432109"/>
              <a:gd name="connsiteY6" fmla="*/ 0 h 382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32109" h="3821700">
                <a:moveTo>
                  <a:pt x="91192" y="0"/>
                </a:moveTo>
                <a:cubicBezTo>
                  <a:pt x="112098" y="-66"/>
                  <a:pt x="134642" y="6214"/>
                  <a:pt x="156580" y="20498"/>
                </a:cubicBezTo>
                <a:lnTo>
                  <a:pt x="1432109" y="864125"/>
                </a:lnTo>
                <a:lnTo>
                  <a:pt x="1432109" y="3821700"/>
                </a:lnTo>
                <a:lnTo>
                  <a:pt x="1386494" y="3747812"/>
                </a:lnTo>
                <a:lnTo>
                  <a:pt x="7863" y="127102"/>
                </a:lnTo>
                <a:cubicBezTo>
                  <a:pt x="-19501" y="57503"/>
                  <a:pt x="28474" y="198"/>
                  <a:pt x="91192" y="0"/>
                </a:cubicBezTo>
                <a:close/>
              </a:path>
            </a:pathLst>
          </a:custGeom>
          <a:solidFill>
            <a:srgbClr val="509EC3">
              <a:alpha val="11000"/>
            </a:srgbClr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66747C"/>
              </a:solidFill>
            </a:endParaRPr>
          </a:p>
        </p:txBody>
      </p:sp>
      <p:sp>
        <p:nvSpPr>
          <p:cNvPr id="21" name="Freeform 20"/>
          <p:cNvSpPr>
            <a:spLocks/>
          </p:cNvSpPr>
          <p:nvPr/>
        </p:nvSpPr>
        <p:spPr bwMode="auto">
          <a:xfrm>
            <a:off x="6099029" y="3629238"/>
            <a:ext cx="2168600" cy="3228763"/>
          </a:xfrm>
          <a:custGeom>
            <a:avLst/>
            <a:gdLst>
              <a:gd name="connsiteX0" fmla="*/ 2841511 w 2891466"/>
              <a:gd name="connsiteY0" fmla="*/ 602 h 3228763"/>
              <a:gd name="connsiteX1" fmla="*/ 2890616 w 2891466"/>
              <a:gd name="connsiteY1" fmla="*/ 96699 h 3228763"/>
              <a:gd name="connsiteX2" fmla="*/ 2529266 w 2891466"/>
              <a:gd name="connsiteY2" fmla="*/ 2454519 h 3228763"/>
              <a:gd name="connsiteX3" fmla="*/ 2677843 w 2891466"/>
              <a:gd name="connsiteY3" fmla="*/ 3044433 h 3228763"/>
              <a:gd name="connsiteX4" fmla="*/ 2851124 w 2891466"/>
              <a:gd name="connsiteY4" fmla="*/ 3228763 h 3228763"/>
              <a:gd name="connsiteX5" fmla="*/ 568912 w 2891466"/>
              <a:gd name="connsiteY5" fmla="*/ 3228763 h 3228763"/>
              <a:gd name="connsiteX6" fmla="*/ 107620 w 2891466"/>
              <a:gd name="connsiteY6" fmla="*/ 3044433 h 3228763"/>
              <a:gd name="connsiteX7" fmla="*/ 65227 w 2891466"/>
              <a:gd name="connsiteY7" fmla="*/ 2722578 h 3228763"/>
              <a:gd name="connsiteX8" fmla="*/ 2742442 w 2891466"/>
              <a:gd name="connsiteY8" fmla="*/ 42443 h 3228763"/>
              <a:gd name="connsiteX9" fmla="*/ 2841511 w 2891466"/>
              <a:gd name="connsiteY9" fmla="*/ 602 h 3228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466" h="3228763">
                <a:moveTo>
                  <a:pt x="2841511" y="602"/>
                </a:moveTo>
                <a:cubicBezTo>
                  <a:pt x="2873053" y="4855"/>
                  <a:pt x="2896268" y="32098"/>
                  <a:pt x="2890616" y="96699"/>
                </a:cubicBezTo>
                <a:lnTo>
                  <a:pt x="2529266" y="2454519"/>
                </a:lnTo>
                <a:cubicBezTo>
                  <a:pt x="2489699" y="2730394"/>
                  <a:pt x="2511098" y="2860516"/>
                  <a:pt x="2677843" y="3044433"/>
                </a:cubicBezTo>
                <a:lnTo>
                  <a:pt x="2851124" y="3228763"/>
                </a:lnTo>
                <a:lnTo>
                  <a:pt x="568912" y="3228763"/>
                </a:lnTo>
                <a:lnTo>
                  <a:pt x="107620" y="3044433"/>
                </a:lnTo>
                <a:cubicBezTo>
                  <a:pt x="-14715" y="2987879"/>
                  <a:pt x="-38132" y="2826031"/>
                  <a:pt x="65227" y="2722578"/>
                </a:cubicBezTo>
                <a:lnTo>
                  <a:pt x="2742442" y="42443"/>
                </a:lnTo>
                <a:cubicBezTo>
                  <a:pt x="2770098" y="15085"/>
                  <a:pt x="2809968" y="-3651"/>
                  <a:pt x="2841511" y="602"/>
                </a:cubicBezTo>
                <a:close/>
              </a:path>
            </a:pathLst>
          </a:custGeom>
          <a:solidFill>
            <a:srgbClr val="66747C">
              <a:alpha val="11000"/>
            </a:srgbClr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66747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952500"/>
            <a:ext cx="2949178" cy="1104900"/>
          </a:xfrm>
        </p:spPr>
        <p:txBody>
          <a:bodyPr anchor="b"/>
          <a:lstStyle>
            <a:lvl1pPr algn="l" rtl="0"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52501"/>
            <a:ext cx="4629150" cy="4908550"/>
          </a:xfrm>
        </p:spPr>
        <p:txBody>
          <a:bodyPr/>
          <a:lstStyle>
            <a:lvl1pPr algn="l" rtl="0">
              <a:defRPr sz="3200"/>
            </a:lvl1pPr>
            <a:lvl2pPr algn="l" rtl="0">
              <a:defRPr sz="2800"/>
            </a:lvl2pPr>
            <a:lvl3pPr algn="l" rtl="0">
              <a:defRPr sz="2400"/>
            </a:lvl3pPr>
            <a:lvl4pPr algn="l" rtl="0">
              <a:defRPr sz="2000"/>
            </a:lvl4pPr>
            <a:lvl5pPr algn="l"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 algn="l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085FC55E-D7AA-4507-97DA-CFE96CCDFE05}" type="slidenum">
              <a:rPr lang="en-US" smtClean="0">
                <a:solidFill>
                  <a:srgbClr val="66747C">
                    <a:tint val="75000"/>
                  </a:srgbClr>
                </a:solidFill>
              </a:rPr>
              <a:pPr algn="l"/>
              <a:t>‹#›</a:t>
            </a:fld>
            <a:endParaRPr lang="en-US" dirty="0">
              <a:solidFill>
                <a:srgbClr val="66747C">
                  <a:tint val="75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2819" y="6166984"/>
            <a:ext cx="428625" cy="5715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2819" y="6166984"/>
            <a:ext cx="428625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06297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19"/>
          <p:cNvSpPr>
            <a:spLocks/>
          </p:cNvSpPr>
          <p:nvPr/>
        </p:nvSpPr>
        <p:spPr bwMode="auto">
          <a:xfrm>
            <a:off x="8069919" y="2280298"/>
            <a:ext cx="1074082" cy="3821700"/>
          </a:xfrm>
          <a:custGeom>
            <a:avLst/>
            <a:gdLst>
              <a:gd name="connsiteX0" fmla="*/ 91192 w 1432109"/>
              <a:gd name="connsiteY0" fmla="*/ 0 h 3821700"/>
              <a:gd name="connsiteX1" fmla="*/ 156580 w 1432109"/>
              <a:gd name="connsiteY1" fmla="*/ 20498 h 3821700"/>
              <a:gd name="connsiteX2" fmla="*/ 1432109 w 1432109"/>
              <a:gd name="connsiteY2" fmla="*/ 864125 h 3821700"/>
              <a:gd name="connsiteX3" fmla="*/ 1432109 w 1432109"/>
              <a:gd name="connsiteY3" fmla="*/ 3821700 h 3821700"/>
              <a:gd name="connsiteX4" fmla="*/ 1386494 w 1432109"/>
              <a:gd name="connsiteY4" fmla="*/ 3747812 h 3821700"/>
              <a:gd name="connsiteX5" fmla="*/ 7863 w 1432109"/>
              <a:gd name="connsiteY5" fmla="*/ 127102 h 3821700"/>
              <a:gd name="connsiteX6" fmla="*/ 91192 w 1432109"/>
              <a:gd name="connsiteY6" fmla="*/ 0 h 382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32109" h="3821700">
                <a:moveTo>
                  <a:pt x="91192" y="0"/>
                </a:moveTo>
                <a:cubicBezTo>
                  <a:pt x="112098" y="-66"/>
                  <a:pt x="134642" y="6214"/>
                  <a:pt x="156580" y="20498"/>
                </a:cubicBezTo>
                <a:lnTo>
                  <a:pt x="1432109" y="864125"/>
                </a:lnTo>
                <a:lnTo>
                  <a:pt x="1432109" y="3821700"/>
                </a:lnTo>
                <a:lnTo>
                  <a:pt x="1386494" y="3747812"/>
                </a:lnTo>
                <a:lnTo>
                  <a:pt x="7863" y="127102"/>
                </a:lnTo>
                <a:cubicBezTo>
                  <a:pt x="-19501" y="57503"/>
                  <a:pt x="28474" y="198"/>
                  <a:pt x="91192" y="0"/>
                </a:cubicBezTo>
                <a:close/>
              </a:path>
            </a:pathLst>
          </a:custGeom>
          <a:solidFill>
            <a:srgbClr val="509EC3">
              <a:alpha val="11000"/>
            </a:srgbClr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66747C"/>
              </a:solidFill>
            </a:endParaRPr>
          </a:p>
        </p:txBody>
      </p:sp>
      <p:sp>
        <p:nvSpPr>
          <p:cNvPr id="21" name="Freeform 20"/>
          <p:cNvSpPr>
            <a:spLocks/>
          </p:cNvSpPr>
          <p:nvPr/>
        </p:nvSpPr>
        <p:spPr bwMode="auto">
          <a:xfrm>
            <a:off x="6099029" y="3629238"/>
            <a:ext cx="2168600" cy="3228763"/>
          </a:xfrm>
          <a:custGeom>
            <a:avLst/>
            <a:gdLst>
              <a:gd name="connsiteX0" fmla="*/ 2841511 w 2891466"/>
              <a:gd name="connsiteY0" fmla="*/ 602 h 3228763"/>
              <a:gd name="connsiteX1" fmla="*/ 2890616 w 2891466"/>
              <a:gd name="connsiteY1" fmla="*/ 96699 h 3228763"/>
              <a:gd name="connsiteX2" fmla="*/ 2529266 w 2891466"/>
              <a:gd name="connsiteY2" fmla="*/ 2454519 h 3228763"/>
              <a:gd name="connsiteX3" fmla="*/ 2677843 w 2891466"/>
              <a:gd name="connsiteY3" fmla="*/ 3044433 h 3228763"/>
              <a:gd name="connsiteX4" fmla="*/ 2851124 w 2891466"/>
              <a:gd name="connsiteY4" fmla="*/ 3228763 h 3228763"/>
              <a:gd name="connsiteX5" fmla="*/ 568912 w 2891466"/>
              <a:gd name="connsiteY5" fmla="*/ 3228763 h 3228763"/>
              <a:gd name="connsiteX6" fmla="*/ 107620 w 2891466"/>
              <a:gd name="connsiteY6" fmla="*/ 3044433 h 3228763"/>
              <a:gd name="connsiteX7" fmla="*/ 65227 w 2891466"/>
              <a:gd name="connsiteY7" fmla="*/ 2722578 h 3228763"/>
              <a:gd name="connsiteX8" fmla="*/ 2742442 w 2891466"/>
              <a:gd name="connsiteY8" fmla="*/ 42443 h 3228763"/>
              <a:gd name="connsiteX9" fmla="*/ 2841511 w 2891466"/>
              <a:gd name="connsiteY9" fmla="*/ 602 h 3228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466" h="3228763">
                <a:moveTo>
                  <a:pt x="2841511" y="602"/>
                </a:moveTo>
                <a:cubicBezTo>
                  <a:pt x="2873053" y="4855"/>
                  <a:pt x="2896268" y="32098"/>
                  <a:pt x="2890616" y="96699"/>
                </a:cubicBezTo>
                <a:lnTo>
                  <a:pt x="2529266" y="2454519"/>
                </a:lnTo>
                <a:cubicBezTo>
                  <a:pt x="2489699" y="2730394"/>
                  <a:pt x="2511098" y="2860516"/>
                  <a:pt x="2677843" y="3044433"/>
                </a:cubicBezTo>
                <a:lnTo>
                  <a:pt x="2851124" y="3228763"/>
                </a:lnTo>
                <a:lnTo>
                  <a:pt x="568912" y="3228763"/>
                </a:lnTo>
                <a:lnTo>
                  <a:pt x="107620" y="3044433"/>
                </a:lnTo>
                <a:cubicBezTo>
                  <a:pt x="-14715" y="2987879"/>
                  <a:pt x="-38132" y="2826031"/>
                  <a:pt x="65227" y="2722578"/>
                </a:cubicBezTo>
                <a:lnTo>
                  <a:pt x="2742442" y="42443"/>
                </a:lnTo>
                <a:cubicBezTo>
                  <a:pt x="2770098" y="15085"/>
                  <a:pt x="2809968" y="-3651"/>
                  <a:pt x="2841511" y="602"/>
                </a:cubicBezTo>
                <a:close/>
              </a:path>
            </a:pathLst>
          </a:custGeom>
          <a:solidFill>
            <a:srgbClr val="66747C">
              <a:alpha val="11000"/>
            </a:srgbClr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66747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952500"/>
            <a:ext cx="2949178" cy="1104900"/>
          </a:xfrm>
        </p:spPr>
        <p:txBody>
          <a:bodyPr anchor="b"/>
          <a:lstStyle>
            <a:lvl1pPr algn="l" rtl="0"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52501"/>
            <a:ext cx="4629150" cy="4908550"/>
          </a:xfrm>
        </p:spPr>
        <p:txBody>
          <a:bodyPr/>
          <a:lstStyle>
            <a:lvl1pPr marL="0" indent="0" algn="l" rtl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 algn="l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FC55E-D7AA-4507-97DA-CFE96CCDFE05}" type="slidenum">
              <a:rPr lang="en-US" smtClean="0">
                <a:solidFill>
                  <a:srgbClr val="66747C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6747C">
                  <a:tint val="75000"/>
                </a:srgb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2819" y="6166984"/>
            <a:ext cx="428625" cy="5715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2819" y="6166984"/>
            <a:ext cx="428625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89485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2300"/>
            <a:ext cx="9138503" cy="6855701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58200" y="6356351"/>
            <a:ext cx="481693" cy="365125"/>
          </a:xfrm>
        </p:spPr>
        <p:txBody>
          <a:bodyPr/>
          <a:lstStyle/>
          <a:p>
            <a:fld id="{085FC55E-D7AA-4507-97DA-CFE96CCDFE05}" type="slidenum">
              <a:rPr lang="en-US" smtClean="0">
                <a:solidFill>
                  <a:srgbClr val="66747C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6747C">
                  <a:tint val="75000"/>
                </a:srgbClr>
              </a:solidFill>
            </a:endParaRPr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>
          <a:xfrm>
            <a:off x="623888" y="2210540"/>
            <a:ext cx="7886700" cy="1242874"/>
          </a:xfrm>
        </p:spPr>
        <p:txBody>
          <a:bodyPr anchor="ctr"/>
          <a:lstStyle>
            <a:lvl1pPr algn="ctr" rtl="0">
              <a:defRPr sz="6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623888" y="3729761"/>
            <a:ext cx="7886700" cy="1655762"/>
          </a:xfrm>
        </p:spPr>
        <p:txBody>
          <a:bodyPr>
            <a:normAutofit/>
          </a:bodyPr>
          <a:lstStyle>
            <a:lvl1pPr marL="0" indent="0" algn="l" rtl="0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117795" y="1"/>
            <a:ext cx="3026205" cy="2980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33793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515555"/>
            <a:ext cx="6858000" cy="2387600"/>
          </a:xfrm>
        </p:spPr>
        <p:txBody>
          <a:bodyPr anchor="b"/>
          <a:lstStyle>
            <a:lvl1pPr algn="ctr" rtl="0">
              <a:defRPr sz="6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995230"/>
            <a:ext cx="6858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58200" y="6356351"/>
            <a:ext cx="481693" cy="365125"/>
          </a:xfrm>
        </p:spPr>
        <p:txBody>
          <a:bodyPr/>
          <a:lstStyle/>
          <a:p>
            <a:fld id="{085FC55E-D7AA-4507-97DA-CFE96CCDFE05}" type="slidenum">
              <a:rPr lang="en-US" smtClean="0">
                <a:solidFill>
                  <a:srgbClr val="66747C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6747C">
                  <a:tint val="75000"/>
                </a:srgbClr>
              </a:solidFill>
            </a:endParaRPr>
          </a:p>
        </p:txBody>
      </p:sp>
      <p:grpSp>
        <p:nvGrpSpPr>
          <p:cNvPr id="4" name="Group 7"/>
          <p:cNvGrpSpPr/>
          <p:nvPr/>
        </p:nvGrpSpPr>
        <p:grpSpPr>
          <a:xfrm>
            <a:off x="345975" y="5456067"/>
            <a:ext cx="2791439" cy="942201"/>
            <a:chOff x="309308" y="5349875"/>
            <a:chExt cx="4520319" cy="1144316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309308" y="5349875"/>
              <a:ext cx="3309941" cy="677866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910448" y="6204953"/>
              <a:ext cx="3919179" cy="2892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3365289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46C91-9312-4386-BC2D-37CE1855A6E0}" type="datetime1">
              <a:rPr lang="en-IN" smtClean="0"/>
              <a:pPr/>
              <a:t>10-12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EB8A0-1248-4810-B7DE-6F342C9A0A2A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 rot="5400000">
            <a:off x="6839988" y="2488164"/>
            <a:ext cx="4068274" cy="539750"/>
          </a:xfrm>
        </p:spPr>
        <p:txBody>
          <a:bodyPr/>
          <a:lstStyle>
            <a:lvl1pPr algn="l" rtl="0">
              <a:defRPr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algn="l" rtl="0">
              <a:defRPr/>
            </a:lvl1pPr>
            <a:lvl2pPr algn="l" rtl="0">
              <a:defRPr/>
            </a:lvl2pPr>
            <a:lvl3pPr algn="l" rtl="0">
              <a:defRPr/>
            </a:lvl3pPr>
            <a:lvl4pPr algn="l" rtl="0">
              <a:defRPr/>
            </a:lvl4pPr>
            <a:lvl5pPr algn="l" rtl="0"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FC55E-D7AA-4507-97DA-CFE96CCDFE05}" type="slidenum">
              <a:rPr lang="en-US" smtClean="0">
                <a:solidFill>
                  <a:srgbClr val="66747C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6747C">
                  <a:tint val="75000"/>
                </a:srgb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2819" y="6166984"/>
            <a:ext cx="428625" cy="571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2819" y="6166984"/>
            <a:ext cx="428625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841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952499"/>
            <a:ext cx="1971675" cy="5224464"/>
          </a:xfrm>
        </p:spPr>
        <p:txBody>
          <a:bodyPr vert="eaVert"/>
          <a:lstStyle>
            <a:lvl1pPr algn="l" rtl="0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952500"/>
            <a:ext cx="5800725" cy="5224463"/>
          </a:xfrm>
        </p:spPr>
        <p:txBody>
          <a:bodyPr vert="eaVert"/>
          <a:lstStyle>
            <a:lvl1pPr algn="l" rtl="0">
              <a:defRPr/>
            </a:lvl1pPr>
            <a:lvl2pPr algn="l" rtl="0">
              <a:defRPr/>
            </a:lvl2pPr>
            <a:lvl3pPr algn="l" rtl="0">
              <a:defRPr/>
            </a:lvl3pPr>
            <a:lvl4pPr algn="l" rtl="0">
              <a:defRPr/>
            </a:lvl4pPr>
            <a:lvl5pPr algn="l" rtl="0"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FC55E-D7AA-4507-97DA-CFE96CCDFE05}" type="slidenum">
              <a:rPr lang="en-US" smtClean="0">
                <a:solidFill>
                  <a:srgbClr val="66747C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6747C">
                  <a:tint val="75000"/>
                </a:srgb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2819" y="6166984"/>
            <a:ext cx="428625" cy="571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2819" y="6166984"/>
            <a:ext cx="428625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73687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FC55E-D7AA-4507-97DA-CFE96CCDFE05}" type="slidenum">
              <a:rPr lang="en-US" smtClean="0">
                <a:solidFill>
                  <a:srgbClr val="66747C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6747C">
                  <a:tint val="75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2819" y="6166984"/>
            <a:ext cx="428625" cy="5715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2819" y="6166984"/>
            <a:ext cx="428625" cy="571500"/>
          </a:xfrm>
          <a:prstGeom prst="rect">
            <a:avLst/>
          </a:prstGeom>
        </p:spPr>
      </p:pic>
      <p:sp>
        <p:nvSpPr>
          <p:cNvPr id="18" name="Freeform 17"/>
          <p:cNvSpPr>
            <a:spLocks/>
          </p:cNvSpPr>
          <p:nvPr/>
        </p:nvSpPr>
        <p:spPr bwMode="auto">
          <a:xfrm>
            <a:off x="8069919" y="2280298"/>
            <a:ext cx="1074082" cy="3821700"/>
          </a:xfrm>
          <a:custGeom>
            <a:avLst/>
            <a:gdLst>
              <a:gd name="connsiteX0" fmla="*/ 91192 w 1432109"/>
              <a:gd name="connsiteY0" fmla="*/ 0 h 3821700"/>
              <a:gd name="connsiteX1" fmla="*/ 156580 w 1432109"/>
              <a:gd name="connsiteY1" fmla="*/ 20498 h 3821700"/>
              <a:gd name="connsiteX2" fmla="*/ 1432109 w 1432109"/>
              <a:gd name="connsiteY2" fmla="*/ 864125 h 3821700"/>
              <a:gd name="connsiteX3" fmla="*/ 1432109 w 1432109"/>
              <a:gd name="connsiteY3" fmla="*/ 3821700 h 3821700"/>
              <a:gd name="connsiteX4" fmla="*/ 1386494 w 1432109"/>
              <a:gd name="connsiteY4" fmla="*/ 3747812 h 3821700"/>
              <a:gd name="connsiteX5" fmla="*/ 7863 w 1432109"/>
              <a:gd name="connsiteY5" fmla="*/ 127102 h 3821700"/>
              <a:gd name="connsiteX6" fmla="*/ 91192 w 1432109"/>
              <a:gd name="connsiteY6" fmla="*/ 0 h 382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32109" h="3821700">
                <a:moveTo>
                  <a:pt x="91192" y="0"/>
                </a:moveTo>
                <a:cubicBezTo>
                  <a:pt x="112098" y="-66"/>
                  <a:pt x="134642" y="6214"/>
                  <a:pt x="156580" y="20498"/>
                </a:cubicBezTo>
                <a:lnTo>
                  <a:pt x="1432109" y="864125"/>
                </a:lnTo>
                <a:lnTo>
                  <a:pt x="1432109" y="3821700"/>
                </a:lnTo>
                <a:lnTo>
                  <a:pt x="1386494" y="3747812"/>
                </a:lnTo>
                <a:lnTo>
                  <a:pt x="7863" y="127102"/>
                </a:lnTo>
                <a:cubicBezTo>
                  <a:pt x="-19501" y="57503"/>
                  <a:pt x="28474" y="198"/>
                  <a:pt x="91192" y="0"/>
                </a:cubicBezTo>
                <a:close/>
              </a:path>
            </a:pathLst>
          </a:custGeom>
          <a:solidFill>
            <a:srgbClr val="509EC3">
              <a:alpha val="11000"/>
            </a:srgbClr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66747C"/>
              </a:solidFill>
            </a:endParaRPr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6099029" y="3629238"/>
            <a:ext cx="2168600" cy="3228763"/>
          </a:xfrm>
          <a:custGeom>
            <a:avLst/>
            <a:gdLst>
              <a:gd name="connsiteX0" fmla="*/ 2841511 w 2891466"/>
              <a:gd name="connsiteY0" fmla="*/ 602 h 3228763"/>
              <a:gd name="connsiteX1" fmla="*/ 2890616 w 2891466"/>
              <a:gd name="connsiteY1" fmla="*/ 96699 h 3228763"/>
              <a:gd name="connsiteX2" fmla="*/ 2529266 w 2891466"/>
              <a:gd name="connsiteY2" fmla="*/ 2454519 h 3228763"/>
              <a:gd name="connsiteX3" fmla="*/ 2677843 w 2891466"/>
              <a:gd name="connsiteY3" fmla="*/ 3044433 h 3228763"/>
              <a:gd name="connsiteX4" fmla="*/ 2851124 w 2891466"/>
              <a:gd name="connsiteY4" fmla="*/ 3228763 h 3228763"/>
              <a:gd name="connsiteX5" fmla="*/ 568912 w 2891466"/>
              <a:gd name="connsiteY5" fmla="*/ 3228763 h 3228763"/>
              <a:gd name="connsiteX6" fmla="*/ 107620 w 2891466"/>
              <a:gd name="connsiteY6" fmla="*/ 3044433 h 3228763"/>
              <a:gd name="connsiteX7" fmla="*/ 65227 w 2891466"/>
              <a:gd name="connsiteY7" fmla="*/ 2722578 h 3228763"/>
              <a:gd name="connsiteX8" fmla="*/ 2742442 w 2891466"/>
              <a:gd name="connsiteY8" fmla="*/ 42443 h 3228763"/>
              <a:gd name="connsiteX9" fmla="*/ 2841511 w 2891466"/>
              <a:gd name="connsiteY9" fmla="*/ 602 h 3228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466" h="3228763">
                <a:moveTo>
                  <a:pt x="2841511" y="602"/>
                </a:moveTo>
                <a:cubicBezTo>
                  <a:pt x="2873053" y="4855"/>
                  <a:pt x="2896268" y="32098"/>
                  <a:pt x="2890616" y="96699"/>
                </a:cubicBezTo>
                <a:lnTo>
                  <a:pt x="2529266" y="2454519"/>
                </a:lnTo>
                <a:cubicBezTo>
                  <a:pt x="2489699" y="2730394"/>
                  <a:pt x="2511098" y="2860516"/>
                  <a:pt x="2677843" y="3044433"/>
                </a:cubicBezTo>
                <a:lnTo>
                  <a:pt x="2851124" y="3228763"/>
                </a:lnTo>
                <a:lnTo>
                  <a:pt x="568912" y="3228763"/>
                </a:lnTo>
                <a:lnTo>
                  <a:pt x="107620" y="3044433"/>
                </a:lnTo>
                <a:cubicBezTo>
                  <a:pt x="-14715" y="2987879"/>
                  <a:pt x="-38132" y="2826031"/>
                  <a:pt x="65227" y="2722578"/>
                </a:cubicBezTo>
                <a:lnTo>
                  <a:pt x="2742442" y="42443"/>
                </a:lnTo>
                <a:cubicBezTo>
                  <a:pt x="2770098" y="15085"/>
                  <a:pt x="2809968" y="-3651"/>
                  <a:pt x="2841511" y="602"/>
                </a:cubicBezTo>
                <a:close/>
              </a:path>
            </a:pathLst>
          </a:custGeom>
          <a:solidFill>
            <a:srgbClr val="66747C">
              <a:alpha val="11000"/>
            </a:srgbClr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6674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43115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0730" y="6452735"/>
            <a:ext cx="722601" cy="365125"/>
          </a:xfrm>
          <a:prstGeom prst="rect">
            <a:avLst/>
          </a:prstGeom>
        </p:spPr>
        <p:txBody>
          <a:bodyPr/>
          <a:lstStyle/>
          <a:p>
            <a:fld id="{C50D021D-37FF-40E6-B241-77B2708C8162}" type="datetime1">
              <a:rPr lang="en-IN" smtClean="0">
                <a:solidFill>
                  <a:srgbClr val="66747C"/>
                </a:solidFill>
              </a:rPr>
              <a:pPr/>
              <a:t>10-12-2020</a:t>
            </a:fld>
            <a:endParaRPr lang="en-US">
              <a:solidFill>
                <a:srgbClr val="66747C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FC55E-D7AA-4507-97DA-CFE96CCDFE05}" type="slidenum">
              <a:rPr lang="en-US" smtClean="0">
                <a:solidFill>
                  <a:srgbClr val="66747C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6747C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55691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FC55E-D7AA-4507-97DA-CFE96CCDFE05}" type="slidenum">
              <a:rPr lang="en-US" smtClean="0">
                <a:solidFill>
                  <a:srgbClr val="66747C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6747C">
                  <a:tint val="75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286841" y="2620524"/>
            <a:ext cx="4571159" cy="39189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286841" y="2620524"/>
            <a:ext cx="4571159" cy="3918960"/>
          </a:xfrm>
          <a:prstGeom prst="rect">
            <a:avLst/>
          </a:prstGeom>
        </p:spPr>
      </p:pic>
      <p:sp>
        <p:nvSpPr>
          <p:cNvPr id="15" name="Freeform 14"/>
          <p:cNvSpPr>
            <a:spLocks/>
          </p:cNvSpPr>
          <p:nvPr/>
        </p:nvSpPr>
        <p:spPr bwMode="auto">
          <a:xfrm>
            <a:off x="8069919" y="2280298"/>
            <a:ext cx="1074082" cy="3821700"/>
          </a:xfrm>
          <a:custGeom>
            <a:avLst/>
            <a:gdLst>
              <a:gd name="connsiteX0" fmla="*/ 91192 w 1432109"/>
              <a:gd name="connsiteY0" fmla="*/ 0 h 3821700"/>
              <a:gd name="connsiteX1" fmla="*/ 156580 w 1432109"/>
              <a:gd name="connsiteY1" fmla="*/ 20498 h 3821700"/>
              <a:gd name="connsiteX2" fmla="*/ 1432109 w 1432109"/>
              <a:gd name="connsiteY2" fmla="*/ 864125 h 3821700"/>
              <a:gd name="connsiteX3" fmla="*/ 1432109 w 1432109"/>
              <a:gd name="connsiteY3" fmla="*/ 3821700 h 3821700"/>
              <a:gd name="connsiteX4" fmla="*/ 1386494 w 1432109"/>
              <a:gd name="connsiteY4" fmla="*/ 3747812 h 3821700"/>
              <a:gd name="connsiteX5" fmla="*/ 7863 w 1432109"/>
              <a:gd name="connsiteY5" fmla="*/ 127102 h 3821700"/>
              <a:gd name="connsiteX6" fmla="*/ 91192 w 1432109"/>
              <a:gd name="connsiteY6" fmla="*/ 0 h 382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32109" h="3821700">
                <a:moveTo>
                  <a:pt x="91192" y="0"/>
                </a:moveTo>
                <a:cubicBezTo>
                  <a:pt x="112098" y="-66"/>
                  <a:pt x="134642" y="6214"/>
                  <a:pt x="156580" y="20498"/>
                </a:cubicBezTo>
                <a:lnTo>
                  <a:pt x="1432109" y="864125"/>
                </a:lnTo>
                <a:lnTo>
                  <a:pt x="1432109" y="3821700"/>
                </a:lnTo>
                <a:lnTo>
                  <a:pt x="1386494" y="3747812"/>
                </a:lnTo>
                <a:lnTo>
                  <a:pt x="7863" y="127102"/>
                </a:lnTo>
                <a:cubicBezTo>
                  <a:pt x="-19501" y="57503"/>
                  <a:pt x="28474" y="198"/>
                  <a:pt x="91192" y="0"/>
                </a:cubicBezTo>
                <a:close/>
              </a:path>
            </a:pathLst>
          </a:custGeom>
          <a:solidFill>
            <a:srgbClr val="509EC3">
              <a:alpha val="11000"/>
            </a:srgbClr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66747C"/>
              </a:solidFill>
            </a:endParaRPr>
          </a:p>
        </p:txBody>
      </p:sp>
      <p:sp>
        <p:nvSpPr>
          <p:cNvPr id="16" name="Freeform 15"/>
          <p:cNvSpPr>
            <a:spLocks/>
          </p:cNvSpPr>
          <p:nvPr/>
        </p:nvSpPr>
        <p:spPr bwMode="auto">
          <a:xfrm>
            <a:off x="6099029" y="3629238"/>
            <a:ext cx="2168600" cy="3228763"/>
          </a:xfrm>
          <a:custGeom>
            <a:avLst/>
            <a:gdLst>
              <a:gd name="connsiteX0" fmla="*/ 2841511 w 2891466"/>
              <a:gd name="connsiteY0" fmla="*/ 602 h 3228763"/>
              <a:gd name="connsiteX1" fmla="*/ 2890616 w 2891466"/>
              <a:gd name="connsiteY1" fmla="*/ 96699 h 3228763"/>
              <a:gd name="connsiteX2" fmla="*/ 2529266 w 2891466"/>
              <a:gd name="connsiteY2" fmla="*/ 2454519 h 3228763"/>
              <a:gd name="connsiteX3" fmla="*/ 2677843 w 2891466"/>
              <a:gd name="connsiteY3" fmla="*/ 3044433 h 3228763"/>
              <a:gd name="connsiteX4" fmla="*/ 2851124 w 2891466"/>
              <a:gd name="connsiteY4" fmla="*/ 3228763 h 3228763"/>
              <a:gd name="connsiteX5" fmla="*/ 568912 w 2891466"/>
              <a:gd name="connsiteY5" fmla="*/ 3228763 h 3228763"/>
              <a:gd name="connsiteX6" fmla="*/ 107620 w 2891466"/>
              <a:gd name="connsiteY6" fmla="*/ 3044433 h 3228763"/>
              <a:gd name="connsiteX7" fmla="*/ 65227 w 2891466"/>
              <a:gd name="connsiteY7" fmla="*/ 2722578 h 3228763"/>
              <a:gd name="connsiteX8" fmla="*/ 2742442 w 2891466"/>
              <a:gd name="connsiteY8" fmla="*/ 42443 h 3228763"/>
              <a:gd name="connsiteX9" fmla="*/ 2841511 w 2891466"/>
              <a:gd name="connsiteY9" fmla="*/ 602 h 3228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466" h="3228763">
                <a:moveTo>
                  <a:pt x="2841511" y="602"/>
                </a:moveTo>
                <a:cubicBezTo>
                  <a:pt x="2873053" y="4855"/>
                  <a:pt x="2896268" y="32098"/>
                  <a:pt x="2890616" y="96699"/>
                </a:cubicBezTo>
                <a:lnTo>
                  <a:pt x="2529266" y="2454519"/>
                </a:lnTo>
                <a:cubicBezTo>
                  <a:pt x="2489699" y="2730394"/>
                  <a:pt x="2511098" y="2860516"/>
                  <a:pt x="2677843" y="3044433"/>
                </a:cubicBezTo>
                <a:lnTo>
                  <a:pt x="2851124" y="3228763"/>
                </a:lnTo>
                <a:lnTo>
                  <a:pt x="568912" y="3228763"/>
                </a:lnTo>
                <a:lnTo>
                  <a:pt x="107620" y="3044433"/>
                </a:lnTo>
                <a:cubicBezTo>
                  <a:pt x="-14715" y="2987879"/>
                  <a:pt x="-38132" y="2826031"/>
                  <a:pt x="65227" y="2722578"/>
                </a:cubicBezTo>
                <a:lnTo>
                  <a:pt x="2742442" y="42443"/>
                </a:lnTo>
                <a:cubicBezTo>
                  <a:pt x="2770098" y="15085"/>
                  <a:pt x="2809968" y="-3651"/>
                  <a:pt x="2841511" y="602"/>
                </a:cubicBezTo>
                <a:close/>
              </a:path>
            </a:pathLst>
          </a:custGeom>
          <a:solidFill>
            <a:srgbClr val="66747C">
              <a:alpha val="11000"/>
            </a:srgbClr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6674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7421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FC55E-D7AA-4507-97DA-CFE96CCDFE05}" type="slidenum">
              <a:rPr lang="en-US" smtClean="0">
                <a:solidFill>
                  <a:srgbClr val="66747C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6747C">
                  <a:tint val="75000"/>
                </a:srgb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671404" y="1649097"/>
            <a:ext cx="3801193" cy="324888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671404" y="1649097"/>
            <a:ext cx="3801193" cy="3248883"/>
          </a:xfrm>
          <a:prstGeom prst="rect">
            <a:avLst/>
          </a:prstGeom>
        </p:spPr>
      </p:pic>
      <p:sp>
        <p:nvSpPr>
          <p:cNvPr id="11" name="Freeform 10"/>
          <p:cNvSpPr>
            <a:spLocks/>
          </p:cNvSpPr>
          <p:nvPr/>
        </p:nvSpPr>
        <p:spPr bwMode="auto">
          <a:xfrm>
            <a:off x="8069919" y="2280298"/>
            <a:ext cx="1074082" cy="3821700"/>
          </a:xfrm>
          <a:custGeom>
            <a:avLst/>
            <a:gdLst>
              <a:gd name="connsiteX0" fmla="*/ 91192 w 1432109"/>
              <a:gd name="connsiteY0" fmla="*/ 0 h 3821700"/>
              <a:gd name="connsiteX1" fmla="*/ 156580 w 1432109"/>
              <a:gd name="connsiteY1" fmla="*/ 20498 h 3821700"/>
              <a:gd name="connsiteX2" fmla="*/ 1432109 w 1432109"/>
              <a:gd name="connsiteY2" fmla="*/ 864125 h 3821700"/>
              <a:gd name="connsiteX3" fmla="*/ 1432109 w 1432109"/>
              <a:gd name="connsiteY3" fmla="*/ 3821700 h 3821700"/>
              <a:gd name="connsiteX4" fmla="*/ 1386494 w 1432109"/>
              <a:gd name="connsiteY4" fmla="*/ 3747812 h 3821700"/>
              <a:gd name="connsiteX5" fmla="*/ 7863 w 1432109"/>
              <a:gd name="connsiteY5" fmla="*/ 127102 h 3821700"/>
              <a:gd name="connsiteX6" fmla="*/ 91192 w 1432109"/>
              <a:gd name="connsiteY6" fmla="*/ 0 h 382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32109" h="3821700">
                <a:moveTo>
                  <a:pt x="91192" y="0"/>
                </a:moveTo>
                <a:cubicBezTo>
                  <a:pt x="112098" y="-66"/>
                  <a:pt x="134642" y="6214"/>
                  <a:pt x="156580" y="20498"/>
                </a:cubicBezTo>
                <a:lnTo>
                  <a:pt x="1432109" y="864125"/>
                </a:lnTo>
                <a:lnTo>
                  <a:pt x="1432109" y="3821700"/>
                </a:lnTo>
                <a:lnTo>
                  <a:pt x="1386494" y="3747812"/>
                </a:lnTo>
                <a:lnTo>
                  <a:pt x="7863" y="127102"/>
                </a:lnTo>
                <a:cubicBezTo>
                  <a:pt x="-19501" y="57503"/>
                  <a:pt x="28474" y="198"/>
                  <a:pt x="91192" y="0"/>
                </a:cubicBezTo>
                <a:close/>
              </a:path>
            </a:pathLst>
          </a:custGeom>
          <a:solidFill>
            <a:srgbClr val="509EC3">
              <a:alpha val="11000"/>
            </a:srgbClr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66747C"/>
              </a:solidFill>
            </a:endParaRPr>
          </a:p>
        </p:txBody>
      </p:sp>
      <p:sp>
        <p:nvSpPr>
          <p:cNvPr id="15" name="Freeform 14"/>
          <p:cNvSpPr>
            <a:spLocks/>
          </p:cNvSpPr>
          <p:nvPr/>
        </p:nvSpPr>
        <p:spPr bwMode="auto">
          <a:xfrm>
            <a:off x="6099029" y="3629238"/>
            <a:ext cx="2168600" cy="3228763"/>
          </a:xfrm>
          <a:custGeom>
            <a:avLst/>
            <a:gdLst>
              <a:gd name="connsiteX0" fmla="*/ 2841511 w 2891466"/>
              <a:gd name="connsiteY0" fmla="*/ 602 h 3228763"/>
              <a:gd name="connsiteX1" fmla="*/ 2890616 w 2891466"/>
              <a:gd name="connsiteY1" fmla="*/ 96699 h 3228763"/>
              <a:gd name="connsiteX2" fmla="*/ 2529266 w 2891466"/>
              <a:gd name="connsiteY2" fmla="*/ 2454519 h 3228763"/>
              <a:gd name="connsiteX3" fmla="*/ 2677843 w 2891466"/>
              <a:gd name="connsiteY3" fmla="*/ 3044433 h 3228763"/>
              <a:gd name="connsiteX4" fmla="*/ 2851124 w 2891466"/>
              <a:gd name="connsiteY4" fmla="*/ 3228763 h 3228763"/>
              <a:gd name="connsiteX5" fmla="*/ 568912 w 2891466"/>
              <a:gd name="connsiteY5" fmla="*/ 3228763 h 3228763"/>
              <a:gd name="connsiteX6" fmla="*/ 107620 w 2891466"/>
              <a:gd name="connsiteY6" fmla="*/ 3044433 h 3228763"/>
              <a:gd name="connsiteX7" fmla="*/ 65227 w 2891466"/>
              <a:gd name="connsiteY7" fmla="*/ 2722578 h 3228763"/>
              <a:gd name="connsiteX8" fmla="*/ 2742442 w 2891466"/>
              <a:gd name="connsiteY8" fmla="*/ 42443 h 3228763"/>
              <a:gd name="connsiteX9" fmla="*/ 2841511 w 2891466"/>
              <a:gd name="connsiteY9" fmla="*/ 602 h 3228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891466" h="3228763">
                <a:moveTo>
                  <a:pt x="2841511" y="602"/>
                </a:moveTo>
                <a:cubicBezTo>
                  <a:pt x="2873053" y="4855"/>
                  <a:pt x="2896268" y="32098"/>
                  <a:pt x="2890616" y="96699"/>
                </a:cubicBezTo>
                <a:lnTo>
                  <a:pt x="2529266" y="2454519"/>
                </a:lnTo>
                <a:cubicBezTo>
                  <a:pt x="2489699" y="2730394"/>
                  <a:pt x="2511098" y="2860516"/>
                  <a:pt x="2677843" y="3044433"/>
                </a:cubicBezTo>
                <a:lnTo>
                  <a:pt x="2851124" y="3228763"/>
                </a:lnTo>
                <a:lnTo>
                  <a:pt x="568912" y="3228763"/>
                </a:lnTo>
                <a:lnTo>
                  <a:pt x="107620" y="3044433"/>
                </a:lnTo>
                <a:cubicBezTo>
                  <a:pt x="-14715" y="2987879"/>
                  <a:pt x="-38132" y="2826031"/>
                  <a:pt x="65227" y="2722578"/>
                </a:cubicBezTo>
                <a:lnTo>
                  <a:pt x="2742442" y="42443"/>
                </a:lnTo>
                <a:cubicBezTo>
                  <a:pt x="2770098" y="15085"/>
                  <a:pt x="2809968" y="-3651"/>
                  <a:pt x="2841511" y="602"/>
                </a:cubicBezTo>
                <a:close/>
              </a:path>
            </a:pathLst>
          </a:custGeom>
          <a:solidFill>
            <a:srgbClr val="66747C">
              <a:alpha val="11000"/>
            </a:srgbClr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6674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4619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812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FC55E-D7AA-4507-97DA-CFE96CCDFE05}" type="slidenum">
              <a:rPr lang="en-US" smtClean="0">
                <a:solidFill>
                  <a:srgbClr val="66747C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6747C">
                  <a:tint val="75000"/>
                </a:srgb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20964" y="952500"/>
            <a:ext cx="198191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dirty="0" smtClean="0">
                <a:solidFill>
                  <a:srgbClr val="353839"/>
                </a:solidFill>
              </a:rPr>
              <a:t>Demo</a:t>
            </a:r>
            <a:endParaRPr lang="en-US" sz="6600" b="1" dirty="0">
              <a:solidFill>
                <a:srgbClr val="35383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44108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01930" y="1189178"/>
            <a:ext cx="8741880" cy="2018835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2920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  <a:lvl2pPr marL="28009" indent="0">
              <a:buNone/>
              <a:defRPr sz="1961"/>
            </a:lvl2pPr>
            <a:lvl3pPr marL="219403" indent="0">
              <a:buNone/>
              <a:defRPr sz="1961"/>
            </a:lvl3pPr>
            <a:lvl4pPr marL="466815" indent="0">
              <a:buNone/>
              <a:defRPr sz="1765"/>
            </a:lvl4pPr>
            <a:lvl5pPr marL="725117" indent="0">
              <a:buNone/>
              <a:defRPr sz="1765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3915443" y="6567023"/>
            <a:ext cx="1313116" cy="15818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8" spc="147" dirty="0" smtClean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Semibold" pitchFamily="34" charset="0"/>
              </a:rPr>
              <a:t>NDA Confidential</a:t>
            </a:r>
          </a:p>
        </p:txBody>
      </p:sp>
    </p:spTree>
    <p:extLst>
      <p:ext uri="{BB962C8B-B14F-4D97-AF65-F5344CB8AC3E}">
        <p14:creationId xmlns:p14="http://schemas.microsoft.com/office/powerpoint/2010/main" xmlns="" val="7878149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554041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57" y="2238872"/>
            <a:ext cx="8330015" cy="995838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882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327044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702A0-E702-4284-8C5C-34A9DC7F46C0}" type="datetime1">
              <a:rPr lang="en-IN" smtClean="0"/>
              <a:pPr/>
              <a:t>10-12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EB8A0-1248-4810-B7DE-6F342C9A0A2A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7D59F-89B0-4DDB-ABCE-BA2F525C421F}" type="datetime1">
              <a:rPr lang="en-IN" smtClean="0"/>
              <a:pPr/>
              <a:t>10-12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EB8A0-1248-4810-B7DE-6F342C9A0A2A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309DFA-97D8-4A81-B8D2-5A3ADC520F41}" type="datetime1">
              <a:rPr lang="en-IN" smtClean="0"/>
              <a:pPr/>
              <a:t>10-12-2020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EB8A0-1248-4810-B7DE-6F342C9A0A2A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D0257-888C-4504-9484-B4EB2DA0F744}" type="datetime1">
              <a:rPr lang="en-IN" smtClean="0"/>
              <a:pPr/>
              <a:t>10-12-20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EB8A0-1248-4810-B7DE-6F342C9A0A2A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70256-72D5-43A5-B467-0345B32B82D4}" type="datetime1">
              <a:rPr lang="en-IN" smtClean="0"/>
              <a:pPr/>
              <a:t>10-12-2020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EB8A0-1248-4810-B7DE-6F342C9A0A2A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87426-C85B-4018-81EB-56C94F92890A}" type="datetime1">
              <a:rPr lang="en-IN" smtClean="0"/>
              <a:pPr/>
              <a:t>10-12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EB8A0-1248-4810-B7DE-6F342C9A0A2A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BF6A5-34D9-4E50-88C3-7F8C7C91C984}" type="datetime1">
              <a:rPr lang="en-IN" smtClean="0"/>
              <a:pPr/>
              <a:t>10-12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BEB8A0-1248-4810-B7DE-6F342C9A0A2A}" type="slidenum">
              <a:rPr lang="en-IN" smtClean="0"/>
              <a:pPr/>
              <a:t>‹#›</a:t>
            </a:fld>
            <a:endParaRPr lang="en-I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68FBA2-08AA-49DD-8BBC-32DD5E34C83E}" type="datetime1">
              <a:rPr lang="en-IN" smtClean="0"/>
              <a:pPr/>
              <a:t>10-12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IN" smtClean="0"/>
              <a:t>@akmet</a:t>
            </a: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BEB8A0-1248-4810-B7DE-6F342C9A0A2A}" type="slidenum">
              <a:rPr lang="en-IN" smtClean="0"/>
              <a:pPr/>
              <a:t>‹#›</a:t>
            </a:fld>
            <a:endParaRPr lang="en-I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"/>
            <a:ext cx="7886700" cy="7196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964790"/>
            <a:ext cx="7258050" cy="52032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 Click to edit Master text styles</a:t>
            </a:r>
          </a:p>
          <a:p>
            <a:pPr lvl="1"/>
            <a:r>
              <a:rPr lang="en-US" dirty="0" smtClean="0"/>
              <a:t> Second level</a:t>
            </a:r>
          </a:p>
          <a:p>
            <a:pPr lvl="2"/>
            <a:r>
              <a:rPr lang="en-US" dirty="0" smtClean="0"/>
              <a:t> Third level</a:t>
            </a:r>
          </a:p>
          <a:p>
            <a:pPr lvl="3"/>
            <a:r>
              <a:rPr lang="en-US" dirty="0" smtClean="0"/>
              <a:t> Fourth level</a:t>
            </a:r>
          </a:p>
          <a:p>
            <a:pPr lvl="4"/>
            <a:r>
              <a:rPr lang="en-US" dirty="0" smtClean="0"/>
              <a:t> 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4281" y="6452735"/>
            <a:ext cx="4136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5FC55E-D7AA-4507-97DA-CFE96CCDFE05}" type="slidenum">
              <a:rPr lang="en-US" smtClean="0">
                <a:solidFill>
                  <a:srgbClr val="66747C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6747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60947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1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509EC3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Tx/>
        <a:buBlip>
          <a:blip r:embed="rId19"/>
        </a:buBlip>
        <a:defRPr sz="2800" kern="1200">
          <a:solidFill>
            <a:srgbClr val="353839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9"/>
        </a:buBlip>
        <a:defRPr sz="2400" kern="1200">
          <a:solidFill>
            <a:srgbClr val="353839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9"/>
        </a:buBlip>
        <a:defRPr sz="2000" kern="1200">
          <a:solidFill>
            <a:srgbClr val="353839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9"/>
        </a:buBlip>
        <a:defRPr sz="1800" kern="1200">
          <a:solidFill>
            <a:srgbClr val="353839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9"/>
        </a:buBlip>
        <a:defRPr sz="1800" kern="1200">
          <a:solidFill>
            <a:srgbClr val="353839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40">
          <p15:clr>
            <a:srgbClr val="F26B43"/>
          </p15:clr>
        </p15:guide>
        <p15:guide id="2" orient="horz" pos="456">
          <p15:clr>
            <a:srgbClr val="F26B43"/>
          </p15:clr>
        </p15:guide>
        <p15:guide id="3" orient="horz" pos="6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86.png"/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12" Type="http://schemas.openxmlformats.org/officeDocument/2006/relationships/image" Target="../media/image85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9.png"/><Relationship Id="rId11" Type="http://schemas.openxmlformats.org/officeDocument/2006/relationships/image" Target="../media/image84.png"/><Relationship Id="rId5" Type="http://schemas.openxmlformats.org/officeDocument/2006/relationships/image" Target="../media/image78.png"/><Relationship Id="rId15" Type="http://schemas.openxmlformats.org/officeDocument/2006/relationships/image" Target="../media/image88.png"/><Relationship Id="rId10" Type="http://schemas.openxmlformats.org/officeDocument/2006/relationships/image" Target="../media/image83.png"/><Relationship Id="rId4" Type="http://schemas.openxmlformats.org/officeDocument/2006/relationships/image" Target="../media/image77.png"/><Relationship Id="rId9" Type="http://schemas.openxmlformats.org/officeDocument/2006/relationships/image" Target="../media/image82.png"/><Relationship Id="rId14" Type="http://schemas.openxmlformats.org/officeDocument/2006/relationships/image" Target="../media/image8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portal.azure.com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13" Type="http://schemas.openxmlformats.org/officeDocument/2006/relationships/image" Target="../media/image106.png"/><Relationship Id="rId3" Type="http://schemas.openxmlformats.org/officeDocument/2006/relationships/image" Target="../media/image96.png"/><Relationship Id="rId7" Type="http://schemas.openxmlformats.org/officeDocument/2006/relationships/image" Target="../media/image100.png"/><Relationship Id="rId12" Type="http://schemas.openxmlformats.org/officeDocument/2006/relationships/image" Target="../media/image105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9.png"/><Relationship Id="rId11" Type="http://schemas.openxmlformats.org/officeDocument/2006/relationships/image" Target="../media/image104.png"/><Relationship Id="rId5" Type="http://schemas.openxmlformats.org/officeDocument/2006/relationships/image" Target="../media/image98.png"/><Relationship Id="rId10" Type="http://schemas.openxmlformats.org/officeDocument/2006/relationships/image" Target="../media/image103.png"/><Relationship Id="rId4" Type="http://schemas.openxmlformats.org/officeDocument/2006/relationships/image" Target="../media/image97.png"/><Relationship Id="rId9" Type="http://schemas.openxmlformats.org/officeDocument/2006/relationships/image" Target="../media/image102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13" Type="http://schemas.openxmlformats.org/officeDocument/2006/relationships/image" Target="../media/image118.png"/><Relationship Id="rId3" Type="http://schemas.openxmlformats.org/officeDocument/2006/relationships/image" Target="../media/image108.png"/><Relationship Id="rId7" Type="http://schemas.openxmlformats.org/officeDocument/2006/relationships/image" Target="../media/image112.png"/><Relationship Id="rId12" Type="http://schemas.openxmlformats.org/officeDocument/2006/relationships/image" Target="../media/image117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1.png"/><Relationship Id="rId11" Type="http://schemas.openxmlformats.org/officeDocument/2006/relationships/image" Target="../media/image116.png"/><Relationship Id="rId5" Type="http://schemas.openxmlformats.org/officeDocument/2006/relationships/image" Target="../media/image110.png"/><Relationship Id="rId10" Type="http://schemas.openxmlformats.org/officeDocument/2006/relationships/image" Target="../media/image115.png"/><Relationship Id="rId4" Type="http://schemas.openxmlformats.org/officeDocument/2006/relationships/image" Target="../media/image109.png"/><Relationship Id="rId9" Type="http://schemas.openxmlformats.org/officeDocument/2006/relationships/image" Target="../media/image114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portal.azure.com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portal.azure.com/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portal.azure.com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13" Type="http://schemas.openxmlformats.org/officeDocument/2006/relationships/image" Target="../media/image134.png"/><Relationship Id="rId18" Type="http://schemas.openxmlformats.org/officeDocument/2006/relationships/image" Target="../media/image139.png"/><Relationship Id="rId3" Type="http://schemas.openxmlformats.org/officeDocument/2006/relationships/image" Target="../media/image124.png"/><Relationship Id="rId7" Type="http://schemas.openxmlformats.org/officeDocument/2006/relationships/image" Target="../media/image128.png"/><Relationship Id="rId12" Type="http://schemas.openxmlformats.org/officeDocument/2006/relationships/image" Target="../media/image133.png"/><Relationship Id="rId17" Type="http://schemas.openxmlformats.org/officeDocument/2006/relationships/image" Target="../media/image138.png"/><Relationship Id="rId2" Type="http://schemas.openxmlformats.org/officeDocument/2006/relationships/image" Target="../media/image123.png"/><Relationship Id="rId16" Type="http://schemas.openxmlformats.org/officeDocument/2006/relationships/image" Target="../media/image1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7.png"/><Relationship Id="rId11" Type="http://schemas.openxmlformats.org/officeDocument/2006/relationships/image" Target="../media/image132.png"/><Relationship Id="rId5" Type="http://schemas.openxmlformats.org/officeDocument/2006/relationships/image" Target="../media/image126.png"/><Relationship Id="rId15" Type="http://schemas.openxmlformats.org/officeDocument/2006/relationships/image" Target="../media/image136.png"/><Relationship Id="rId10" Type="http://schemas.openxmlformats.org/officeDocument/2006/relationships/image" Target="../media/image131.png"/><Relationship Id="rId4" Type="http://schemas.openxmlformats.org/officeDocument/2006/relationships/image" Target="../media/image125.png"/><Relationship Id="rId9" Type="http://schemas.openxmlformats.org/officeDocument/2006/relationships/image" Target="../media/image130.png"/><Relationship Id="rId14" Type="http://schemas.openxmlformats.org/officeDocument/2006/relationships/image" Target="../media/image135.png"/></Relationships>
</file>

<file path=ppt/slides/_rels/slide4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50.png"/><Relationship Id="rId18" Type="http://schemas.openxmlformats.org/officeDocument/2006/relationships/image" Target="../media/image155.png"/><Relationship Id="rId26" Type="http://schemas.openxmlformats.org/officeDocument/2006/relationships/image" Target="../media/image163.png"/><Relationship Id="rId39" Type="http://schemas.openxmlformats.org/officeDocument/2006/relationships/image" Target="../media/image176.png"/><Relationship Id="rId3" Type="http://schemas.openxmlformats.org/officeDocument/2006/relationships/image" Target="../media/image140.png"/><Relationship Id="rId21" Type="http://schemas.openxmlformats.org/officeDocument/2006/relationships/image" Target="../media/image158.png"/><Relationship Id="rId34" Type="http://schemas.openxmlformats.org/officeDocument/2006/relationships/image" Target="../media/image171.png"/><Relationship Id="rId42" Type="http://schemas.openxmlformats.org/officeDocument/2006/relationships/image" Target="../media/image179.png"/><Relationship Id="rId47" Type="http://schemas.openxmlformats.org/officeDocument/2006/relationships/image" Target="../media/image184.png"/><Relationship Id="rId7" Type="http://schemas.openxmlformats.org/officeDocument/2006/relationships/image" Target="../media/image144.png"/><Relationship Id="rId12" Type="http://schemas.openxmlformats.org/officeDocument/2006/relationships/image" Target="../media/image149.png"/><Relationship Id="rId17" Type="http://schemas.openxmlformats.org/officeDocument/2006/relationships/image" Target="../media/image154.png"/><Relationship Id="rId25" Type="http://schemas.openxmlformats.org/officeDocument/2006/relationships/image" Target="../media/image162.png"/><Relationship Id="rId33" Type="http://schemas.openxmlformats.org/officeDocument/2006/relationships/image" Target="../media/image170.png"/><Relationship Id="rId38" Type="http://schemas.openxmlformats.org/officeDocument/2006/relationships/image" Target="../media/image175.png"/><Relationship Id="rId46" Type="http://schemas.openxmlformats.org/officeDocument/2006/relationships/image" Target="../media/image183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153.png"/><Relationship Id="rId20" Type="http://schemas.openxmlformats.org/officeDocument/2006/relationships/image" Target="../media/image157.png"/><Relationship Id="rId29" Type="http://schemas.openxmlformats.org/officeDocument/2006/relationships/image" Target="../media/image166.png"/><Relationship Id="rId41" Type="http://schemas.openxmlformats.org/officeDocument/2006/relationships/image" Target="../media/image17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3.png"/><Relationship Id="rId11" Type="http://schemas.openxmlformats.org/officeDocument/2006/relationships/image" Target="../media/image148.png"/><Relationship Id="rId24" Type="http://schemas.openxmlformats.org/officeDocument/2006/relationships/image" Target="../media/image161.png"/><Relationship Id="rId32" Type="http://schemas.openxmlformats.org/officeDocument/2006/relationships/image" Target="../media/image169.png"/><Relationship Id="rId37" Type="http://schemas.openxmlformats.org/officeDocument/2006/relationships/image" Target="../media/image174.png"/><Relationship Id="rId40" Type="http://schemas.openxmlformats.org/officeDocument/2006/relationships/image" Target="../media/image177.png"/><Relationship Id="rId45" Type="http://schemas.openxmlformats.org/officeDocument/2006/relationships/image" Target="../media/image182.png"/><Relationship Id="rId5" Type="http://schemas.openxmlformats.org/officeDocument/2006/relationships/image" Target="../media/image142.png"/><Relationship Id="rId15" Type="http://schemas.openxmlformats.org/officeDocument/2006/relationships/image" Target="../media/image152.png"/><Relationship Id="rId23" Type="http://schemas.openxmlformats.org/officeDocument/2006/relationships/image" Target="../media/image160.png"/><Relationship Id="rId28" Type="http://schemas.openxmlformats.org/officeDocument/2006/relationships/image" Target="../media/image165.png"/><Relationship Id="rId36" Type="http://schemas.openxmlformats.org/officeDocument/2006/relationships/image" Target="../media/image173.png"/><Relationship Id="rId49" Type="http://schemas.openxmlformats.org/officeDocument/2006/relationships/image" Target="../media/image186.png"/><Relationship Id="rId10" Type="http://schemas.openxmlformats.org/officeDocument/2006/relationships/image" Target="../media/image147.png"/><Relationship Id="rId19" Type="http://schemas.openxmlformats.org/officeDocument/2006/relationships/image" Target="../media/image156.png"/><Relationship Id="rId31" Type="http://schemas.openxmlformats.org/officeDocument/2006/relationships/image" Target="../media/image168.png"/><Relationship Id="rId44" Type="http://schemas.openxmlformats.org/officeDocument/2006/relationships/image" Target="../media/image181.png"/><Relationship Id="rId4" Type="http://schemas.openxmlformats.org/officeDocument/2006/relationships/image" Target="../media/image141.png"/><Relationship Id="rId9" Type="http://schemas.openxmlformats.org/officeDocument/2006/relationships/image" Target="../media/image146.png"/><Relationship Id="rId14" Type="http://schemas.openxmlformats.org/officeDocument/2006/relationships/image" Target="../media/image151.png"/><Relationship Id="rId22" Type="http://schemas.openxmlformats.org/officeDocument/2006/relationships/image" Target="../media/image159.png"/><Relationship Id="rId27" Type="http://schemas.openxmlformats.org/officeDocument/2006/relationships/image" Target="../media/image164.png"/><Relationship Id="rId30" Type="http://schemas.openxmlformats.org/officeDocument/2006/relationships/image" Target="../media/image167.png"/><Relationship Id="rId35" Type="http://schemas.openxmlformats.org/officeDocument/2006/relationships/image" Target="../media/image172.png"/><Relationship Id="rId43" Type="http://schemas.openxmlformats.org/officeDocument/2006/relationships/image" Target="../media/image180.png"/><Relationship Id="rId48" Type="http://schemas.openxmlformats.org/officeDocument/2006/relationships/image" Target="../media/image185.png"/><Relationship Id="rId8" Type="http://schemas.openxmlformats.org/officeDocument/2006/relationships/image" Target="../media/image145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hyperlink" Target="https://portal.azure.com/" TargetMode="External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hyperlink" Target="https://portal.azure.com/" TargetMode="External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microsoft.com/" TargetMode="Externa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emf"/><Relationship Id="rId18" Type="http://schemas.openxmlformats.org/officeDocument/2006/relationships/image" Target="../media/image36.png"/><Relationship Id="rId26" Type="http://schemas.openxmlformats.org/officeDocument/2006/relationships/image" Target="../media/image44.png"/><Relationship Id="rId39" Type="http://schemas.openxmlformats.org/officeDocument/2006/relationships/image" Target="../media/image57.png"/><Relationship Id="rId3" Type="http://schemas.openxmlformats.org/officeDocument/2006/relationships/image" Target="../media/image21.png"/><Relationship Id="rId21" Type="http://schemas.openxmlformats.org/officeDocument/2006/relationships/image" Target="../media/image39.emf"/><Relationship Id="rId34" Type="http://schemas.openxmlformats.org/officeDocument/2006/relationships/image" Target="../media/image52.emf"/><Relationship Id="rId42" Type="http://schemas.openxmlformats.org/officeDocument/2006/relationships/image" Target="../media/image60.png"/><Relationship Id="rId47" Type="http://schemas.openxmlformats.org/officeDocument/2006/relationships/image" Target="../media/image65.png"/><Relationship Id="rId7" Type="http://schemas.openxmlformats.org/officeDocument/2006/relationships/image" Target="../media/image25.png"/><Relationship Id="rId12" Type="http://schemas.openxmlformats.org/officeDocument/2006/relationships/image" Target="../media/image30.emf"/><Relationship Id="rId17" Type="http://schemas.openxmlformats.org/officeDocument/2006/relationships/image" Target="../media/image35.emf"/><Relationship Id="rId25" Type="http://schemas.openxmlformats.org/officeDocument/2006/relationships/image" Target="../media/image43.emf"/><Relationship Id="rId33" Type="http://schemas.openxmlformats.org/officeDocument/2006/relationships/image" Target="../media/image51.emf"/><Relationship Id="rId38" Type="http://schemas.openxmlformats.org/officeDocument/2006/relationships/image" Target="../media/image56.png"/><Relationship Id="rId46" Type="http://schemas.openxmlformats.org/officeDocument/2006/relationships/image" Target="../media/image64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4.png"/><Relationship Id="rId20" Type="http://schemas.openxmlformats.org/officeDocument/2006/relationships/image" Target="../media/image38.emf"/><Relationship Id="rId29" Type="http://schemas.openxmlformats.org/officeDocument/2006/relationships/image" Target="../media/image47.png"/><Relationship Id="rId41" Type="http://schemas.openxmlformats.org/officeDocument/2006/relationships/image" Target="../media/image5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24" Type="http://schemas.openxmlformats.org/officeDocument/2006/relationships/image" Target="../media/image42.png"/><Relationship Id="rId32" Type="http://schemas.openxmlformats.org/officeDocument/2006/relationships/image" Target="../media/image50.png"/><Relationship Id="rId37" Type="http://schemas.openxmlformats.org/officeDocument/2006/relationships/image" Target="../media/image55.png"/><Relationship Id="rId40" Type="http://schemas.openxmlformats.org/officeDocument/2006/relationships/image" Target="../media/image58.png"/><Relationship Id="rId45" Type="http://schemas.openxmlformats.org/officeDocument/2006/relationships/image" Target="../media/image63.png"/><Relationship Id="rId5" Type="http://schemas.openxmlformats.org/officeDocument/2006/relationships/image" Target="../media/image23.emf"/><Relationship Id="rId15" Type="http://schemas.openxmlformats.org/officeDocument/2006/relationships/image" Target="../media/image33.emf"/><Relationship Id="rId23" Type="http://schemas.openxmlformats.org/officeDocument/2006/relationships/image" Target="../media/image41.png"/><Relationship Id="rId28" Type="http://schemas.openxmlformats.org/officeDocument/2006/relationships/image" Target="../media/image46.png"/><Relationship Id="rId36" Type="http://schemas.openxmlformats.org/officeDocument/2006/relationships/image" Target="../media/image54.png"/><Relationship Id="rId10" Type="http://schemas.openxmlformats.org/officeDocument/2006/relationships/image" Target="../media/image28.emf"/><Relationship Id="rId19" Type="http://schemas.openxmlformats.org/officeDocument/2006/relationships/image" Target="../media/image37.emf"/><Relationship Id="rId31" Type="http://schemas.openxmlformats.org/officeDocument/2006/relationships/image" Target="../media/image49.png"/><Relationship Id="rId44" Type="http://schemas.openxmlformats.org/officeDocument/2006/relationships/image" Target="../media/image62.png"/><Relationship Id="rId4" Type="http://schemas.openxmlformats.org/officeDocument/2006/relationships/image" Target="../media/image22.emf"/><Relationship Id="rId9" Type="http://schemas.openxmlformats.org/officeDocument/2006/relationships/image" Target="../media/image27.emf"/><Relationship Id="rId14" Type="http://schemas.openxmlformats.org/officeDocument/2006/relationships/image" Target="../media/image32.emf"/><Relationship Id="rId22" Type="http://schemas.openxmlformats.org/officeDocument/2006/relationships/image" Target="../media/image40.emf"/><Relationship Id="rId27" Type="http://schemas.openxmlformats.org/officeDocument/2006/relationships/image" Target="../media/image45.png"/><Relationship Id="rId30" Type="http://schemas.openxmlformats.org/officeDocument/2006/relationships/image" Target="../media/image48.png"/><Relationship Id="rId35" Type="http://schemas.openxmlformats.org/officeDocument/2006/relationships/image" Target="../media/image53.emf"/><Relationship Id="rId43" Type="http://schemas.openxmlformats.org/officeDocument/2006/relationships/image" Target="../media/image61.png"/><Relationship Id="rId48" Type="http://schemas.openxmlformats.org/officeDocument/2006/relationships/image" Target="../media/image6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Relationship Id="rId9" Type="http://schemas.openxmlformats.org/officeDocument/2006/relationships/image" Target="../media/image7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0" y="2924944"/>
            <a:ext cx="9144000" cy="648072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TextBox 7"/>
          <p:cNvSpPr txBox="1"/>
          <p:nvPr/>
        </p:nvSpPr>
        <p:spPr>
          <a:xfrm>
            <a:off x="0" y="298824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Microsoft Azure Foundation Training</a:t>
            </a:r>
          </a:p>
        </p:txBody>
      </p:sp>
      <p:sp>
        <p:nvSpPr>
          <p:cNvPr id="5" name="object 4"/>
          <p:cNvSpPr/>
          <p:nvPr/>
        </p:nvSpPr>
        <p:spPr>
          <a:xfrm>
            <a:off x="-32" y="4714884"/>
            <a:ext cx="9144000" cy="648072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TextBox 5"/>
          <p:cNvSpPr txBox="1"/>
          <p:nvPr/>
        </p:nvSpPr>
        <p:spPr>
          <a:xfrm>
            <a:off x="-32" y="4786322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Venkateswarlu A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613545" y="1219503"/>
            <a:ext cx="1235803" cy="22627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98517" y="5391806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89" h="429895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D73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987346" y="5496854"/>
            <a:ext cx="585627" cy="225281"/>
          </a:xfrm>
          <a:custGeom>
            <a:avLst/>
            <a:gdLst/>
            <a:ahLst/>
            <a:cxnLst/>
            <a:rect l="l" t="t" r="r" b="b"/>
            <a:pathLst>
              <a:path w="796289" h="229870">
                <a:moveTo>
                  <a:pt x="0" y="142214"/>
                </a:moveTo>
                <a:lnTo>
                  <a:pt x="0" y="165646"/>
                </a:lnTo>
                <a:lnTo>
                  <a:pt x="2159" y="167144"/>
                </a:lnTo>
                <a:lnTo>
                  <a:pt x="39751" y="175348"/>
                </a:lnTo>
                <a:lnTo>
                  <a:pt x="50546" y="175348"/>
                </a:lnTo>
                <a:lnTo>
                  <a:pt x="90170" y="161429"/>
                </a:lnTo>
                <a:lnTo>
                  <a:pt x="93886" y="157479"/>
                </a:lnTo>
                <a:lnTo>
                  <a:pt x="42037" y="157479"/>
                </a:lnTo>
                <a:lnTo>
                  <a:pt x="38100" y="157124"/>
                </a:lnTo>
                <a:lnTo>
                  <a:pt x="9652" y="148602"/>
                </a:lnTo>
                <a:lnTo>
                  <a:pt x="5842" y="146710"/>
                </a:lnTo>
                <a:lnTo>
                  <a:pt x="2667" y="144589"/>
                </a:lnTo>
                <a:lnTo>
                  <a:pt x="0" y="142214"/>
                </a:lnTo>
                <a:close/>
              </a:path>
              <a:path w="796289" h="229870">
                <a:moveTo>
                  <a:pt x="59182" y="0"/>
                </a:moveTo>
                <a:lnTo>
                  <a:pt x="51816" y="0"/>
                </a:lnTo>
                <a:lnTo>
                  <a:pt x="44577" y="888"/>
                </a:lnTo>
                <a:lnTo>
                  <a:pt x="8763" y="19430"/>
                </a:lnTo>
                <a:lnTo>
                  <a:pt x="254" y="37591"/>
                </a:lnTo>
                <a:lnTo>
                  <a:pt x="254" y="51561"/>
                </a:lnTo>
                <a:lnTo>
                  <a:pt x="30861" y="87629"/>
                </a:lnTo>
                <a:lnTo>
                  <a:pt x="48006" y="96519"/>
                </a:lnTo>
                <a:lnTo>
                  <a:pt x="53213" y="99186"/>
                </a:lnTo>
                <a:lnTo>
                  <a:pt x="58039" y="101853"/>
                </a:lnTo>
                <a:lnTo>
                  <a:pt x="62865" y="104393"/>
                </a:lnTo>
                <a:lnTo>
                  <a:pt x="67056" y="107060"/>
                </a:lnTo>
                <a:lnTo>
                  <a:pt x="74168" y="112648"/>
                </a:lnTo>
                <a:lnTo>
                  <a:pt x="76962" y="115696"/>
                </a:lnTo>
                <a:lnTo>
                  <a:pt x="78994" y="119151"/>
                </a:lnTo>
                <a:lnTo>
                  <a:pt x="81026" y="122542"/>
                </a:lnTo>
                <a:lnTo>
                  <a:pt x="82042" y="126517"/>
                </a:lnTo>
                <a:lnTo>
                  <a:pt x="82042" y="139611"/>
                </a:lnTo>
                <a:lnTo>
                  <a:pt x="45593" y="157479"/>
                </a:lnTo>
                <a:lnTo>
                  <a:pt x="93886" y="157479"/>
                </a:lnTo>
                <a:lnTo>
                  <a:pt x="94615" y="156705"/>
                </a:lnTo>
                <a:lnTo>
                  <a:pt x="101219" y="145110"/>
                </a:lnTo>
                <a:lnTo>
                  <a:pt x="102870" y="138036"/>
                </a:lnTo>
                <a:lnTo>
                  <a:pt x="102870" y="123367"/>
                </a:lnTo>
                <a:lnTo>
                  <a:pt x="101600" y="117767"/>
                </a:lnTo>
                <a:lnTo>
                  <a:pt x="99063" y="112648"/>
                </a:lnTo>
                <a:lnTo>
                  <a:pt x="96774" y="107949"/>
                </a:lnTo>
                <a:lnTo>
                  <a:pt x="63881" y="82041"/>
                </a:lnTo>
                <a:lnTo>
                  <a:pt x="51943" y="76072"/>
                </a:lnTo>
                <a:lnTo>
                  <a:pt x="46736" y="73405"/>
                </a:lnTo>
                <a:lnTo>
                  <a:pt x="37592" y="68579"/>
                </a:lnTo>
                <a:lnTo>
                  <a:pt x="33782" y="66039"/>
                </a:lnTo>
                <a:lnTo>
                  <a:pt x="30607" y="63372"/>
                </a:lnTo>
                <a:lnTo>
                  <a:pt x="27432" y="60832"/>
                </a:lnTo>
                <a:lnTo>
                  <a:pt x="25146" y="57911"/>
                </a:lnTo>
                <a:lnTo>
                  <a:pt x="21844" y="51561"/>
                </a:lnTo>
                <a:lnTo>
                  <a:pt x="21082" y="47878"/>
                </a:lnTo>
                <a:lnTo>
                  <a:pt x="21082" y="38861"/>
                </a:lnTo>
                <a:lnTo>
                  <a:pt x="22098" y="34924"/>
                </a:lnTo>
                <a:lnTo>
                  <a:pt x="24257" y="31749"/>
                </a:lnTo>
                <a:lnTo>
                  <a:pt x="26416" y="28447"/>
                </a:lnTo>
                <a:lnTo>
                  <a:pt x="52832" y="18033"/>
                </a:lnTo>
                <a:lnTo>
                  <a:pt x="95758" y="18033"/>
                </a:lnTo>
                <a:lnTo>
                  <a:pt x="95758" y="6095"/>
                </a:lnTo>
                <a:lnTo>
                  <a:pt x="89114" y="3428"/>
                </a:lnTo>
                <a:lnTo>
                  <a:pt x="80803" y="1523"/>
                </a:lnTo>
                <a:lnTo>
                  <a:pt x="70826" y="380"/>
                </a:lnTo>
                <a:lnTo>
                  <a:pt x="59182" y="0"/>
                </a:lnTo>
                <a:close/>
              </a:path>
              <a:path w="796289" h="229870">
                <a:moveTo>
                  <a:pt x="95758" y="18033"/>
                </a:moveTo>
                <a:lnTo>
                  <a:pt x="57150" y="18033"/>
                </a:lnTo>
                <a:lnTo>
                  <a:pt x="68415" y="18678"/>
                </a:lnTo>
                <a:lnTo>
                  <a:pt x="78597" y="20621"/>
                </a:lnTo>
                <a:lnTo>
                  <a:pt x="87707" y="23874"/>
                </a:lnTo>
                <a:lnTo>
                  <a:pt x="95758" y="28447"/>
                </a:lnTo>
                <a:lnTo>
                  <a:pt x="95758" y="18033"/>
                </a:lnTo>
                <a:close/>
              </a:path>
              <a:path w="796289" h="229870">
                <a:moveTo>
                  <a:pt x="151384" y="67944"/>
                </a:moveTo>
                <a:lnTo>
                  <a:pt x="131953" y="67944"/>
                </a:lnTo>
                <a:lnTo>
                  <a:pt x="131953" y="139611"/>
                </a:lnTo>
                <a:lnTo>
                  <a:pt x="133951" y="155144"/>
                </a:lnTo>
                <a:lnTo>
                  <a:pt x="139938" y="166236"/>
                </a:lnTo>
                <a:lnTo>
                  <a:pt x="149901" y="172890"/>
                </a:lnTo>
                <a:lnTo>
                  <a:pt x="163830" y="175107"/>
                </a:lnTo>
                <a:lnTo>
                  <a:pt x="171323" y="175107"/>
                </a:lnTo>
                <a:lnTo>
                  <a:pt x="177292" y="173850"/>
                </a:lnTo>
                <a:lnTo>
                  <a:pt x="181864" y="171322"/>
                </a:lnTo>
                <a:lnTo>
                  <a:pt x="181864" y="158788"/>
                </a:lnTo>
                <a:lnTo>
                  <a:pt x="162814" y="158788"/>
                </a:lnTo>
                <a:lnTo>
                  <a:pt x="158242" y="157048"/>
                </a:lnTo>
                <a:lnTo>
                  <a:pt x="155575" y="153581"/>
                </a:lnTo>
                <a:lnTo>
                  <a:pt x="152781" y="150101"/>
                </a:lnTo>
                <a:lnTo>
                  <a:pt x="151384" y="144310"/>
                </a:lnTo>
                <a:lnTo>
                  <a:pt x="151384" y="67944"/>
                </a:lnTo>
                <a:close/>
              </a:path>
              <a:path w="796289" h="229870">
                <a:moveTo>
                  <a:pt x="181864" y="154762"/>
                </a:moveTo>
                <a:lnTo>
                  <a:pt x="178435" y="157441"/>
                </a:lnTo>
                <a:lnTo>
                  <a:pt x="174117" y="158788"/>
                </a:lnTo>
                <a:lnTo>
                  <a:pt x="181864" y="158788"/>
                </a:lnTo>
                <a:lnTo>
                  <a:pt x="181864" y="154762"/>
                </a:lnTo>
                <a:close/>
              </a:path>
              <a:path w="796289" h="229870">
                <a:moveTo>
                  <a:pt x="181864" y="51307"/>
                </a:moveTo>
                <a:lnTo>
                  <a:pt x="111125" y="51307"/>
                </a:lnTo>
                <a:lnTo>
                  <a:pt x="111125" y="67944"/>
                </a:lnTo>
                <a:lnTo>
                  <a:pt x="181864" y="67944"/>
                </a:lnTo>
                <a:lnTo>
                  <a:pt x="181864" y="51307"/>
                </a:lnTo>
                <a:close/>
              </a:path>
              <a:path w="796289" h="229870">
                <a:moveTo>
                  <a:pt x="151384" y="15493"/>
                </a:moveTo>
                <a:lnTo>
                  <a:pt x="131953" y="21716"/>
                </a:lnTo>
                <a:lnTo>
                  <a:pt x="131953" y="51307"/>
                </a:lnTo>
                <a:lnTo>
                  <a:pt x="151384" y="51307"/>
                </a:lnTo>
                <a:lnTo>
                  <a:pt x="151384" y="15493"/>
                </a:lnTo>
                <a:close/>
              </a:path>
              <a:path w="796289" h="229870">
                <a:moveTo>
                  <a:pt x="259969" y="48513"/>
                </a:moveTo>
                <a:lnTo>
                  <a:pt x="214863" y="65684"/>
                </a:lnTo>
                <a:lnTo>
                  <a:pt x="198247" y="113410"/>
                </a:lnTo>
                <a:lnTo>
                  <a:pt x="199247" y="126704"/>
                </a:lnTo>
                <a:lnTo>
                  <a:pt x="222938" y="165795"/>
                </a:lnTo>
                <a:lnTo>
                  <a:pt x="257175" y="175348"/>
                </a:lnTo>
                <a:lnTo>
                  <a:pt x="270220" y="174258"/>
                </a:lnTo>
                <a:lnTo>
                  <a:pt x="281908" y="170986"/>
                </a:lnTo>
                <a:lnTo>
                  <a:pt x="292215" y="165533"/>
                </a:lnTo>
                <a:lnTo>
                  <a:pt x="299813" y="159016"/>
                </a:lnTo>
                <a:lnTo>
                  <a:pt x="258572" y="159016"/>
                </a:lnTo>
                <a:lnTo>
                  <a:pt x="249807" y="158240"/>
                </a:lnTo>
                <a:lnTo>
                  <a:pt x="220821" y="131899"/>
                </a:lnTo>
                <a:lnTo>
                  <a:pt x="218110" y="113410"/>
                </a:lnTo>
                <a:lnTo>
                  <a:pt x="218133" y="111505"/>
                </a:lnTo>
                <a:lnTo>
                  <a:pt x="234908" y="72022"/>
                </a:lnTo>
                <a:lnTo>
                  <a:pt x="258572" y="64896"/>
                </a:lnTo>
                <a:lnTo>
                  <a:pt x="301967" y="64896"/>
                </a:lnTo>
                <a:lnTo>
                  <a:pt x="293901" y="57890"/>
                </a:lnTo>
                <a:lnTo>
                  <a:pt x="284067" y="52689"/>
                </a:lnTo>
                <a:lnTo>
                  <a:pt x="272756" y="49559"/>
                </a:lnTo>
                <a:lnTo>
                  <a:pt x="259969" y="48513"/>
                </a:lnTo>
                <a:close/>
              </a:path>
              <a:path w="796289" h="229870">
                <a:moveTo>
                  <a:pt x="301967" y="64896"/>
                </a:moveTo>
                <a:lnTo>
                  <a:pt x="258572" y="64896"/>
                </a:lnTo>
                <a:lnTo>
                  <a:pt x="267454" y="65658"/>
                </a:lnTo>
                <a:lnTo>
                  <a:pt x="275240" y="67944"/>
                </a:lnTo>
                <a:lnTo>
                  <a:pt x="296939" y="101449"/>
                </a:lnTo>
                <a:lnTo>
                  <a:pt x="297524" y="111505"/>
                </a:lnTo>
                <a:lnTo>
                  <a:pt x="297486" y="113410"/>
                </a:lnTo>
                <a:lnTo>
                  <a:pt x="281932" y="152164"/>
                </a:lnTo>
                <a:lnTo>
                  <a:pt x="258572" y="159016"/>
                </a:lnTo>
                <a:lnTo>
                  <a:pt x="299813" y="159016"/>
                </a:lnTo>
                <a:lnTo>
                  <a:pt x="317500" y="111505"/>
                </a:lnTo>
                <a:lnTo>
                  <a:pt x="316547" y="97476"/>
                </a:lnTo>
                <a:lnTo>
                  <a:pt x="313690" y="85089"/>
                </a:lnTo>
                <a:lnTo>
                  <a:pt x="308927" y="74322"/>
                </a:lnTo>
                <a:lnTo>
                  <a:pt x="302259" y="65150"/>
                </a:lnTo>
                <a:lnTo>
                  <a:pt x="301967" y="64896"/>
                </a:lnTo>
                <a:close/>
              </a:path>
              <a:path w="796289" h="229870">
                <a:moveTo>
                  <a:pt x="367665" y="51307"/>
                </a:moveTo>
                <a:lnTo>
                  <a:pt x="348234" y="51307"/>
                </a:lnTo>
                <a:lnTo>
                  <a:pt x="348234" y="172504"/>
                </a:lnTo>
                <a:lnTo>
                  <a:pt x="367665" y="172504"/>
                </a:lnTo>
                <a:lnTo>
                  <a:pt x="367665" y="110743"/>
                </a:lnTo>
                <a:lnTo>
                  <a:pt x="368186" y="101171"/>
                </a:lnTo>
                <a:lnTo>
                  <a:pt x="369744" y="92646"/>
                </a:lnTo>
                <a:lnTo>
                  <a:pt x="372326" y="85169"/>
                </a:lnTo>
                <a:lnTo>
                  <a:pt x="375920" y="78739"/>
                </a:lnTo>
                <a:lnTo>
                  <a:pt x="377660" y="76326"/>
                </a:lnTo>
                <a:lnTo>
                  <a:pt x="367665" y="76326"/>
                </a:lnTo>
                <a:lnTo>
                  <a:pt x="367665" y="51307"/>
                </a:lnTo>
                <a:close/>
              </a:path>
              <a:path w="796289" h="229870">
                <a:moveTo>
                  <a:pt x="404876" y="49275"/>
                </a:moveTo>
                <a:lnTo>
                  <a:pt x="392810" y="49275"/>
                </a:lnTo>
                <a:lnTo>
                  <a:pt x="386460" y="51561"/>
                </a:lnTo>
                <a:lnTo>
                  <a:pt x="380746" y="56387"/>
                </a:lnTo>
                <a:lnTo>
                  <a:pt x="375031" y="61086"/>
                </a:lnTo>
                <a:lnTo>
                  <a:pt x="370840" y="67817"/>
                </a:lnTo>
                <a:lnTo>
                  <a:pt x="368046" y="76326"/>
                </a:lnTo>
                <a:lnTo>
                  <a:pt x="377660" y="76326"/>
                </a:lnTo>
                <a:lnTo>
                  <a:pt x="381508" y="70992"/>
                </a:lnTo>
                <a:lnTo>
                  <a:pt x="388493" y="67055"/>
                </a:lnTo>
                <a:lnTo>
                  <a:pt x="411353" y="67055"/>
                </a:lnTo>
                <a:lnTo>
                  <a:pt x="411353" y="50926"/>
                </a:lnTo>
                <a:lnTo>
                  <a:pt x="408685" y="49783"/>
                </a:lnTo>
                <a:lnTo>
                  <a:pt x="404876" y="49275"/>
                </a:lnTo>
                <a:close/>
              </a:path>
              <a:path w="796289" h="229870">
                <a:moveTo>
                  <a:pt x="411353" y="67055"/>
                </a:moveTo>
                <a:lnTo>
                  <a:pt x="403097" y="67055"/>
                </a:lnTo>
                <a:lnTo>
                  <a:pt x="408051" y="68325"/>
                </a:lnTo>
                <a:lnTo>
                  <a:pt x="411353" y="70992"/>
                </a:lnTo>
                <a:lnTo>
                  <a:pt x="411353" y="67055"/>
                </a:lnTo>
                <a:close/>
              </a:path>
              <a:path w="796289" h="229870">
                <a:moveTo>
                  <a:pt x="510983" y="64896"/>
                </a:moveTo>
                <a:lnTo>
                  <a:pt x="474345" y="64896"/>
                </a:lnTo>
                <a:lnTo>
                  <a:pt x="485326" y="66825"/>
                </a:lnTo>
                <a:lnTo>
                  <a:pt x="493141" y="72612"/>
                </a:lnTo>
                <a:lnTo>
                  <a:pt x="497812" y="82256"/>
                </a:lnTo>
                <a:lnTo>
                  <a:pt x="499364" y="95757"/>
                </a:lnTo>
                <a:lnTo>
                  <a:pt x="463041" y="100837"/>
                </a:lnTo>
                <a:lnTo>
                  <a:pt x="445539" y="105378"/>
                </a:lnTo>
                <a:lnTo>
                  <a:pt x="433038" y="113474"/>
                </a:lnTo>
                <a:lnTo>
                  <a:pt x="425537" y="125123"/>
                </a:lnTo>
                <a:lnTo>
                  <a:pt x="423037" y="140322"/>
                </a:lnTo>
                <a:lnTo>
                  <a:pt x="423679" y="147856"/>
                </a:lnTo>
                <a:lnTo>
                  <a:pt x="453076" y="174749"/>
                </a:lnTo>
                <a:lnTo>
                  <a:pt x="461645" y="175348"/>
                </a:lnTo>
                <a:lnTo>
                  <a:pt x="473192" y="173987"/>
                </a:lnTo>
                <a:lnTo>
                  <a:pt x="483250" y="169903"/>
                </a:lnTo>
                <a:lnTo>
                  <a:pt x="491809" y="163100"/>
                </a:lnTo>
                <a:lnTo>
                  <a:pt x="494832" y="159016"/>
                </a:lnTo>
                <a:lnTo>
                  <a:pt x="459105" y="159016"/>
                </a:lnTo>
                <a:lnTo>
                  <a:pt x="453516" y="157149"/>
                </a:lnTo>
                <a:lnTo>
                  <a:pt x="449119" y="153332"/>
                </a:lnTo>
                <a:lnTo>
                  <a:pt x="445008" y="149656"/>
                </a:lnTo>
                <a:lnTo>
                  <a:pt x="442976" y="144818"/>
                </a:lnTo>
                <a:lnTo>
                  <a:pt x="443009" y="130701"/>
                </a:lnTo>
                <a:lnTo>
                  <a:pt x="499364" y="111251"/>
                </a:lnTo>
                <a:lnTo>
                  <a:pt x="518795" y="111251"/>
                </a:lnTo>
                <a:lnTo>
                  <a:pt x="518795" y="93725"/>
                </a:lnTo>
                <a:lnTo>
                  <a:pt x="516126" y="73963"/>
                </a:lnTo>
                <a:lnTo>
                  <a:pt x="510983" y="64896"/>
                </a:lnTo>
                <a:close/>
              </a:path>
              <a:path w="796289" h="229870">
                <a:moveTo>
                  <a:pt x="518795" y="153581"/>
                </a:moveTo>
                <a:lnTo>
                  <a:pt x="499364" y="153581"/>
                </a:lnTo>
                <a:lnTo>
                  <a:pt x="499364" y="172504"/>
                </a:lnTo>
                <a:lnTo>
                  <a:pt x="518795" y="172504"/>
                </a:lnTo>
                <a:lnTo>
                  <a:pt x="518795" y="153581"/>
                </a:lnTo>
                <a:close/>
              </a:path>
              <a:path w="796289" h="229870">
                <a:moveTo>
                  <a:pt x="518795" y="111251"/>
                </a:moveTo>
                <a:lnTo>
                  <a:pt x="499364" y="111251"/>
                </a:lnTo>
                <a:lnTo>
                  <a:pt x="499364" y="123291"/>
                </a:lnTo>
                <a:lnTo>
                  <a:pt x="498770" y="130701"/>
                </a:lnTo>
                <a:lnTo>
                  <a:pt x="466090" y="159016"/>
                </a:lnTo>
                <a:lnTo>
                  <a:pt x="494832" y="159016"/>
                </a:lnTo>
                <a:lnTo>
                  <a:pt x="498856" y="153581"/>
                </a:lnTo>
                <a:lnTo>
                  <a:pt x="518795" y="153581"/>
                </a:lnTo>
                <a:lnTo>
                  <a:pt x="518795" y="111251"/>
                </a:lnTo>
                <a:close/>
              </a:path>
              <a:path w="796289" h="229870">
                <a:moveTo>
                  <a:pt x="475996" y="48513"/>
                </a:moveTo>
                <a:lnTo>
                  <a:pt x="464708" y="49226"/>
                </a:lnTo>
                <a:lnTo>
                  <a:pt x="454088" y="51355"/>
                </a:lnTo>
                <a:lnTo>
                  <a:pt x="444134" y="54889"/>
                </a:lnTo>
                <a:lnTo>
                  <a:pt x="434847" y="59816"/>
                </a:lnTo>
                <a:lnTo>
                  <a:pt x="434847" y="79755"/>
                </a:lnTo>
                <a:lnTo>
                  <a:pt x="443966" y="73255"/>
                </a:lnTo>
                <a:lnTo>
                  <a:pt x="453596" y="68611"/>
                </a:lnTo>
                <a:lnTo>
                  <a:pt x="463726" y="65825"/>
                </a:lnTo>
                <a:lnTo>
                  <a:pt x="474345" y="64896"/>
                </a:lnTo>
                <a:lnTo>
                  <a:pt x="510983" y="64896"/>
                </a:lnTo>
                <a:lnTo>
                  <a:pt x="508111" y="59832"/>
                </a:lnTo>
                <a:lnTo>
                  <a:pt x="494738" y="51345"/>
                </a:lnTo>
                <a:lnTo>
                  <a:pt x="475996" y="48513"/>
                </a:lnTo>
                <a:close/>
              </a:path>
              <a:path w="796289" h="229870">
                <a:moveTo>
                  <a:pt x="555752" y="201612"/>
                </a:moveTo>
                <a:lnTo>
                  <a:pt x="555752" y="221018"/>
                </a:lnTo>
                <a:lnTo>
                  <a:pt x="564491" y="224744"/>
                </a:lnTo>
                <a:lnTo>
                  <a:pt x="573944" y="227407"/>
                </a:lnTo>
                <a:lnTo>
                  <a:pt x="584112" y="229006"/>
                </a:lnTo>
                <a:lnTo>
                  <a:pt x="594995" y="229539"/>
                </a:lnTo>
                <a:lnTo>
                  <a:pt x="622925" y="225368"/>
                </a:lnTo>
                <a:lnTo>
                  <a:pt x="642710" y="212966"/>
                </a:lnTo>
                <a:lnTo>
                  <a:pt x="594741" y="212966"/>
                </a:lnTo>
                <a:lnTo>
                  <a:pt x="585362" y="212256"/>
                </a:lnTo>
                <a:lnTo>
                  <a:pt x="575722" y="210127"/>
                </a:lnTo>
                <a:lnTo>
                  <a:pt x="565844" y="206579"/>
                </a:lnTo>
                <a:lnTo>
                  <a:pt x="555752" y="201612"/>
                </a:lnTo>
                <a:close/>
              </a:path>
              <a:path w="796289" h="229870">
                <a:moveTo>
                  <a:pt x="658876" y="152158"/>
                </a:moveTo>
                <a:lnTo>
                  <a:pt x="639445" y="152158"/>
                </a:lnTo>
                <a:lnTo>
                  <a:pt x="639330" y="166262"/>
                </a:lnTo>
                <a:lnTo>
                  <a:pt x="636656" y="186214"/>
                </a:lnTo>
                <a:lnTo>
                  <a:pt x="628284" y="201077"/>
                </a:lnTo>
                <a:lnTo>
                  <a:pt x="614316" y="209994"/>
                </a:lnTo>
                <a:lnTo>
                  <a:pt x="594741" y="212966"/>
                </a:lnTo>
                <a:lnTo>
                  <a:pt x="642710" y="212966"/>
                </a:lnTo>
                <a:lnTo>
                  <a:pt x="642889" y="212853"/>
                </a:lnTo>
                <a:lnTo>
                  <a:pt x="654877" y="191997"/>
                </a:lnTo>
                <a:lnTo>
                  <a:pt x="658876" y="162801"/>
                </a:lnTo>
                <a:lnTo>
                  <a:pt x="658876" y="152158"/>
                </a:lnTo>
                <a:close/>
              </a:path>
              <a:path w="796289" h="229870">
                <a:moveTo>
                  <a:pt x="602741" y="48513"/>
                </a:moveTo>
                <a:lnTo>
                  <a:pt x="562102" y="66674"/>
                </a:lnTo>
                <a:lnTo>
                  <a:pt x="547323" y="114553"/>
                </a:lnTo>
                <a:lnTo>
                  <a:pt x="547369" y="117728"/>
                </a:lnTo>
                <a:lnTo>
                  <a:pt x="560959" y="159194"/>
                </a:lnTo>
                <a:lnTo>
                  <a:pt x="597408" y="175348"/>
                </a:lnTo>
                <a:lnTo>
                  <a:pt x="610435" y="173898"/>
                </a:lnTo>
                <a:lnTo>
                  <a:pt x="621712" y="169549"/>
                </a:lnTo>
                <a:lnTo>
                  <a:pt x="631251" y="162302"/>
                </a:lnTo>
                <a:lnTo>
                  <a:pt x="633782" y="159016"/>
                </a:lnTo>
                <a:lnTo>
                  <a:pt x="602741" y="159016"/>
                </a:lnTo>
                <a:lnTo>
                  <a:pt x="595050" y="158259"/>
                </a:lnTo>
                <a:lnTo>
                  <a:pt x="567672" y="124149"/>
                </a:lnTo>
                <a:lnTo>
                  <a:pt x="567055" y="114553"/>
                </a:lnTo>
                <a:lnTo>
                  <a:pt x="567695" y="103407"/>
                </a:lnTo>
                <a:lnTo>
                  <a:pt x="589407" y="68135"/>
                </a:lnTo>
                <a:lnTo>
                  <a:pt x="605409" y="64896"/>
                </a:lnTo>
                <a:lnTo>
                  <a:pt x="636485" y="64896"/>
                </a:lnTo>
                <a:lnTo>
                  <a:pt x="632352" y="59604"/>
                </a:lnTo>
                <a:lnTo>
                  <a:pt x="624046" y="53451"/>
                </a:lnTo>
                <a:lnTo>
                  <a:pt x="614168" y="49750"/>
                </a:lnTo>
                <a:lnTo>
                  <a:pt x="602741" y="48513"/>
                </a:lnTo>
                <a:close/>
              </a:path>
              <a:path w="796289" h="229870">
                <a:moveTo>
                  <a:pt x="636485" y="64896"/>
                </a:moveTo>
                <a:lnTo>
                  <a:pt x="605409" y="64896"/>
                </a:lnTo>
                <a:lnTo>
                  <a:pt x="612362" y="65539"/>
                </a:lnTo>
                <a:lnTo>
                  <a:pt x="618744" y="67468"/>
                </a:lnTo>
                <a:lnTo>
                  <a:pt x="639445" y="99821"/>
                </a:lnTo>
                <a:lnTo>
                  <a:pt x="639445" y="117728"/>
                </a:lnTo>
                <a:lnTo>
                  <a:pt x="623762" y="152496"/>
                </a:lnTo>
                <a:lnTo>
                  <a:pt x="602741" y="159016"/>
                </a:lnTo>
                <a:lnTo>
                  <a:pt x="633782" y="159016"/>
                </a:lnTo>
                <a:lnTo>
                  <a:pt x="639064" y="152158"/>
                </a:lnTo>
                <a:lnTo>
                  <a:pt x="658876" y="152158"/>
                </a:lnTo>
                <a:lnTo>
                  <a:pt x="658876" y="68198"/>
                </a:lnTo>
                <a:lnTo>
                  <a:pt x="639064" y="68198"/>
                </a:lnTo>
                <a:lnTo>
                  <a:pt x="636485" y="64896"/>
                </a:lnTo>
                <a:close/>
              </a:path>
              <a:path w="796289" h="229870">
                <a:moveTo>
                  <a:pt x="658876" y="51307"/>
                </a:moveTo>
                <a:lnTo>
                  <a:pt x="639445" y="51307"/>
                </a:lnTo>
                <a:lnTo>
                  <a:pt x="639445" y="68198"/>
                </a:lnTo>
                <a:lnTo>
                  <a:pt x="658876" y="68198"/>
                </a:lnTo>
                <a:lnTo>
                  <a:pt x="658876" y="51307"/>
                </a:lnTo>
                <a:close/>
              </a:path>
              <a:path w="796289" h="229870">
                <a:moveTo>
                  <a:pt x="746252" y="48513"/>
                </a:moveTo>
                <a:lnTo>
                  <a:pt x="706501" y="66293"/>
                </a:lnTo>
                <a:lnTo>
                  <a:pt x="690499" y="112394"/>
                </a:lnTo>
                <a:lnTo>
                  <a:pt x="691405" y="126527"/>
                </a:lnTo>
                <a:lnTo>
                  <a:pt x="713128" y="166063"/>
                </a:lnTo>
                <a:lnTo>
                  <a:pt x="745490" y="175348"/>
                </a:lnTo>
                <a:lnTo>
                  <a:pt x="757991" y="174623"/>
                </a:lnTo>
                <a:lnTo>
                  <a:pt x="769207" y="172446"/>
                </a:lnTo>
                <a:lnTo>
                  <a:pt x="779137" y="168823"/>
                </a:lnTo>
                <a:lnTo>
                  <a:pt x="787781" y="163753"/>
                </a:lnTo>
                <a:lnTo>
                  <a:pt x="787781" y="159016"/>
                </a:lnTo>
                <a:lnTo>
                  <a:pt x="750062" y="159016"/>
                </a:lnTo>
                <a:lnTo>
                  <a:pt x="741471" y="158328"/>
                </a:lnTo>
                <a:lnTo>
                  <a:pt x="711450" y="126315"/>
                </a:lnTo>
                <a:lnTo>
                  <a:pt x="710565" y="116776"/>
                </a:lnTo>
                <a:lnTo>
                  <a:pt x="796163" y="116776"/>
                </a:lnTo>
                <a:lnTo>
                  <a:pt x="796163" y="106552"/>
                </a:lnTo>
                <a:lnTo>
                  <a:pt x="795770" y="100329"/>
                </a:lnTo>
                <a:lnTo>
                  <a:pt x="710819" y="100329"/>
                </a:lnTo>
                <a:lnTo>
                  <a:pt x="712414" y="92785"/>
                </a:lnTo>
                <a:lnTo>
                  <a:pt x="736854" y="64896"/>
                </a:lnTo>
                <a:lnTo>
                  <a:pt x="783771" y="64896"/>
                </a:lnTo>
                <a:lnTo>
                  <a:pt x="783082" y="63880"/>
                </a:lnTo>
                <a:lnTo>
                  <a:pt x="775916" y="57140"/>
                </a:lnTo>
                <a:lnTo>
                  <a:pt x="767381" y="52339"/>
                </a:lnTo>
                <a:lnTo>
                  <a:pt x="757489" y="49468"/>
                </a:lnTo>
                <a:lnTo>
                  <a:pt x="746252" y="48513"/>
                </a:lnTo>
                <a:close/>
              </a:path>
              <a:path w="796289" h="229870">
                <a:moveTo>
                  <a:pt x="787781" y="145529"/>
                </a:moveTo>
                <a:lnTo>
                  <a:pt x="778940" y="151430"/>
                </a:lnTo>
                <a:lnTo>
                  <a:pt x="769731" y="155644"/>
                </a:lnTo>
                <a:lnTo>
                  <a:pt x="760116" y="158173"/>
                </a:lnTo>
                <a:lnTo>
                  <a:pt x="750062" y="159016"/>
                </a:lnTo>
                <a:lnTo>
                  <a:pt x="787781" y="159016"/>
                </a:lnTo>
                <a:lnTo>
                  <a:pt x="787781" y="145529"/>
                </a:lnTo>
                <a:close/>
              </a:path>
              <a:path w="796289" h="229870">
                <a:moveTo>
                  <a:pt x="783771" y="64896"/>
                </a:moveTo>
                <a:lnTo>
                  <a:pt x="755396" y="64896"/>
                </a:lnTo>
                <a:lnTo>
                  <a:pt x="762762" y="67944"/>
                </a:lnTo>
                <a:lnTo>
                  <a:pt x="768096" y="74167"/>
                </a:lnTo>
                <a:lnTo>
                  <a:pt x="771616" y="79309"/>
                </a:lnTo>
                <a:lnTo>
                  <a:pt x="774160" y="85391"/>
                </a:lnTo>
                <a:lnTo>
                  <a:pt x="775704" y="92402"/>
                </a:lnTo>
                <a:lnTo>
                  <a:pt x="776224" y="100329"/>
                </a:lnTo>
                <a:lnTo>
                  <a:pt x="795770" y="100329"/>
                </a:lnTo>
                <a:lnTo>
                  <a:pt x="795351" y="93670"/>
                </a:lnTo>
                <a:lnTo>
                  <a:pt x="792908" y="82264"/>
                </a:lnTo>
                <a:lnTo>
                  <a:pt x="788822" y="72334"/>
                </a:lnTo>
                <a:lnTo>
                  <a:pt x="783771" y="64896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98517" y="4888471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89" h="429895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D73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004159" y="4993893"/>
            <a:ext cx="553403" cy="171761"/>
          </a:xfrm>
          <a:custGeom>
            <a:avLst/>
            <a:gdLst/>
            <a:ahLst/>
            <a:cxnLst/>
            <a:rect l="l" t="t" r="r" b="b"/>
            <a:pathLst>
              <a:path w="752475" h="175260">
                <a:moveTo>
                  <a:pt x="0" y="142112"/>
                </a:moveTo>
                <a:lnTo>
                  <a:pt x="0" y="165607"/>
                </a:lnTo>
                <a:lnTo>
                  <a:pt x="2159" y="167131"/>
                </a:lnTo>
                <a:lnTo>
                  <a:pt x="20446" y="172719"/>
                </a:lnTo>
                <a:lnTo>
                  <a:pt x="24510" y="173608"/>
                </a:lnTo>
                <a:lnTo>
                  <a:pt x="28575" y="174244"/>
                </a:lnTo>
                <a:lnTo>
                  <a:pt x="32511" y="174625"/>
                </a:lnTo>
                <a:lnTo>
                  <a:pt x="36448" y="175132"/>
                </a:lnTo>
                <a:lnTo>
                  <a:pt x="39750" y="175259"/>
                </a:lnTo>
                <a:lnTo>
                  <a:pt x="50545" y="175259"/>
                </a:lnTo>
                <a:lnTo>
                  <a:pt x="90169" y="161416"/>
                </a:lnTo>
                <a:lnTo>
                  <a:pt x="93894" y="157480"/>
                </a:lnTo>
                <a:lnTo>
                  <a:pt x="42036" y="157480"/>
                </a:lnTo>
                <a:lnTo>
                  <a:pt x="38100" y="157099"/>
                </a:lnTo>
                <a:lnTo>
                  <a:pt x="33909" y="156337"/>
                </a:lnTo>
                <a:lnTo>
                  <a:pt x="29717" y="155701"/>
                </a:lnTo>
                <a:lnTo>
                  <a:pt x="25653" y="154686"/>
                </a:lnTo>
                <a:lnTo>
                  <a:pt x="21462" y="153288"/>
                </a:lnTo>
                <a:lnTo>
                  <a:pt x="17271" y="152019"/>
                </a:lnTo>
                <a:lnTo>
                  <a:pt x="13334" y="150494"/>
                </a:lnTo>
                <a:lnTo>
                  <a:pt x="9651" y="148589"/>
                </a:lnTo>
                <a:lnTo>
                  <a:pt x="5841" y="146684"/>
                </a:lnTo>
                <a:lnTo>
                  <a:pt x="2666" y="144525"/>
                </a:lnTo>
                <a:lnTo>
                  <a:pt x="0" y="142112"/>
                </a:lnTo>
                <a:close/>
              </a:path>
              <a:path w="752475" h="175260">
                <a:moveTo>
                  <a:pt x="59181" y="0"/>
                </a:moveTo>
                <a:lnTo>
                  <a:pt x="51815" y="0"/>
                </a:lnTo>
                <a:lnTo>
                  <a:pt x="44576" y="888"/>
                </a:lnTo>
                <a:lnTo>
                  <a:pt x="8762" y="19431"/>
                </a:lnTo>
                <a:lnTo>
                  <a:pt x="253" y="37591"/>
                </a:lnTo>
                <a:lnTo>
                  <a:pt x="253" y="51562"/>
                </a:lnTo>
                <a:lnTo>
                  <a:pt x="30860" y="87630"/>
                </a:lnTo>
                <a:lnTo>
                  <a:pt x="42417" y="93599"/>
                </a:lnTo>
                <a:lnTo>
                  <a:pt x="48006" y="96519"/>
                </a:lnTo>
                <a:lnTo>
                  <a:pt x="78993" y="119125"/>
                </a:lnTo>
                <a:lnTo>
                  <a:pt x="81025" y="122427"/>
                </a:lnTo>
                <a:lnTo>
                  <a:pt x="82041" y="126491"/>
                </a:lnTo>
                <a:lnTo>
                  <a:pt x="82041" y="139572"/>
                </a:lnTo>
                <a:lnTo>
                  <a:pt x="45592" y="157480"/>
                </a:lnTo>
                <a:lnTo>
                  <a:pt x="93894" y="157480"/>
                </a:lnTo>
                <a:lnTo>
                  <a:pt x="94614" y="156718"/>
                </a:lnTo>
                <a:lnTo>
                  <a:pt x="101218" y="145033"/>
                </a:lnTo>
                <a:lnTo>
                  <a:pt x="102869" y="138049"/>
                </a:lnTo>
                <a:lnTo>
                  <a:pt x="102869" y="123316"/>
                </a:lnTo>
                <a:lnTo>
                  <a:pt x="89407" y="99440"/>
                </a:lnTo>
                <a:lnTo>
                  <a:pt x="85343" y="95376"/>
                </a:lnTo>
                <a:lnTo>
                  <a:pt x="51942" y="76072"/>
                </a:lnTo>
                <a:lnTo>
                  <a:pt x="46735" y="73406"/>
                </a:lnTo>
                <a:lnTo>
                  <a:pt x="21081" y="47878"/>
                </a:lnTo>
                <a:lnTo>
                  <a:pt x="21081" y="38862"/>
                </a:lnTo>
                <a:lnTo>
                  <a:pt x="52831" y="17906"/>
                </a:lnTo>
                <a:lnTo>
                  <a:pt x="95757" y="17906"/>
                </a:lnTo>
                <a:lnTo>
                  <a:pt x="95757" y="5968"/>
                </a:lnTo>
                <a:lnTo>
                  <a:pt x="89114" y="3321"/>
                </a:lnTo>
                <a:lnTo>
                  <a:pt x="80803" y="1460"/>
                </a:lnTo>
                <a:lnTo>
                  <a:pt x="70826" y="361"/>
                </a:lnTo>
                <a:lnTo>
                  <a:pt x="59181" y="0"/>
                </a:lnTo>
                <a:close/>
              </a:path>
              <a:path w="752475" h="175260">
                <a:moveTo>
                  <a:pt x="95757" y="17906"/>
                </a:moveTo>
                <a:lnTo>
                  <a:pt x="57150" y="17906"/>
                </a:lnTo>
                <a:lnTo>
                  <a:pt x="68415" y="18569"/>
                </a:lnTo>
                <a:lnTo>
                  <a:pt x="78597" y="20542"/>
                </a:lnTo>
                <a:lnTo>
                  <a:pt x="87707" y="23800"/>
                </a:lnTo>
                <a:lnTo>
                  <a:pt x="95757" y="28320"/>
                </a:lnTo>
                <a:lnTo>
                  <a:pt x="95757" y="17906"/>
                </a:lnTo>
                <a:close/>
              </a:path>
              <a:path w="752475" h="175260">
                <a:moveTo>
                  <a:pt x="180847" y="48513"/>
                </a:moveTo>
                <a:lnTo>
                  <a:pt x="141097" y="66293"/>
                </a:lnTo>
                <a:lnTo>
                  <a:pt x="125094" y="112394"/>
                </a:lnTo>
                <a:lnTo>
                  <a:pt x="126001" y="126513"/>
                </a:lnTo>
                <a:lnTo>
                  <a:pt x="147724" y="165990"/>
                </a:lnTo>
                <a:lnTo>
                  <a:pt x="180085" y="175259"/>
                </a:lnTo>
                <a:lnTo>
                  <a:pt x="192587" y="174543"/>
                </a:lnTo>
                <a:lnTo>
                  <a:pt x="203803" y="172386"/>
                </a:lnTo>
                <a:lnTo>
                  <a:pt x="213733" y="168777"/>
                </a:lnTo>
                <a:lnTo>
                  <a:pt x="222376" y="163702"/>
                </a:lnTo>
                <a:lnTo>
                  <a:pt x="222376" y="159003"/>
                </a:lnTo>
                <a:lnTo>
                  <a:pt x="184657" y="159003"/>
                </a:lnTo>
                <a:lnTo>
                  <a:pt x="176067" y="158313"/>
                </a:lnTo>
                <a:lnTo>
                  <a:pt x="146046" y="126237"/>
                </a:lnTo>
                <a:lnTo>
                  <a:pt x="145160" y="116712"/>
                </a:lnTo>
                <a:lnTo>
                  <a:pt x="230759" y="116712"/>
                </a:lnTo>
                <a:lnTo>
                  <a:pt x="230759" y="106552"/>
                </a:lnTo>
                <a:lnTo>
                  <a:pt x="230367" y="100330"/>
                </a:lnTo>
                <a:lnTo>
                  <a:pt x="145414" y="100330"/>
                </a:lnTo>
                <a:lnTo>
                  <a:pt x="147010" y="92729"/>
                </a:lnTo>
                <a:lnTo>
                  <a:pt x="171450" y="64769"/>
                </a:lnTo>
                <a:lnTo>
                  <a:pt x="218285" y="64769"/>
                </a:lnTo>
                <a:lnTo>
                  <a:pt x="217678" y="63881"/>
                </a:lnTo>
                <a:lnTo>
                  <a:pt x="210512" y="57140"/>
                </a:lnTo>
                <a:lnTo>
                  <a:pt x="201977" y="52339"/>
                </a:lnTo>
                <a:lnTo>
                  <a:pt x="192085" y="49468"/>
                </a:lnTo>
                <a:lnTo>
                  <a:pt x="180847" y="48513"/>
                </a:lnTo>
                <a:close/>
              </a:path>
              <a:path w="752475" h="175260">
                <a:moveTo>
                  <a:pt x="222376" y="145541"/>
                </a:moveTo>
                <a:lnTo>
                  <a:pt x="213536" y="151395"/>
                </a:lnTo>
                <a:lnTo>
                  <a:pt x="204327" y="155606"/>
                </a:lnTo>
                <a:lnTo>
                  <a:pt x="194712" y="158150"/>
                </a:lnTo>
                <a:lnTo>
                  <a:pt x="184657" y="159003"/>
                </a:lnTo>
                <a:lnTo>
                  <a:pt x="222376" y="159003"/>
                </a:lnTo>
                <a:lnTo>
                  <a:pt x="222376" y="145541"/>
                </a:lnTo>
                <a:close/>
              </a:path>
              <a:path w="752475" h="175260">
                <a:moveTo>
                  <a:pt x="218285" y="64769"/>
                </a:moveTo>
                <a:lnTo>
                  <a:pt x="189991" y="64769"/>
                </a:lnTo>
                <a:lnTo>
                  <a:pt x="197357" y="67944"/>
                </a:lnTo>
                <a:lnTo>
                  <a:pt x="202691" y="74168"/>
                </a:lnTo>
                <a:lnTo>
                  <a:pt x="206212" y="79291"/>
                </a:lnTo>
                <a:lnTo>
                  <a:pt x="208756" y="85343"/>
                </a:lnTo>
                <a:lnTo>
                  <a:pt x="210300" y="92348"/>
                </a:lnTo>
                <a:lnTo>
                  <a:pt x="210819" y="100330"/>
                </a:lnTo>
                <a:lnTo>
                  <a:pt x="230367" y="100330"/>
                </a:lnTo>
                <a:lnTo>
                  <a:pt x="229947" y="93652"/>
                </a:lnTo>
                <a:lnTo>
                  <a:pt x="227504" y="82216"/>
                </a:lnTo>
                <a:lnTo>
                  <a:pt x="223418" y="72280"/>
                </a:lnTo>
                <a:lnTo>
                  <a:pt x="218285" y="64769"/>
                </a:lnTo>
                <a:close/>
              </a:path>
              <a:path w="752475" h="175260">
                <a:moveTo>
                  <a:pt x="279272" y="51307"/>
                </a:moveTo>
                <a:lnTo>
                  <a:pt x="259841" y="51307"/>
                </a:lnTo>
                <a:lnTo>
                  <a:pt x="259841" y="172465"/>
                </a:lnTo>
                <a:lnTo>
                  <a:pt x="279272" y="172465"/>
                </a:lnTo>
                <a:lnTo>
                  <a:pt x="279272" y="110743"/>
                </a:lnTo>
                <a:lnTo>
                  <a:pt x="279794" y="101117"/>
                </a:lnTo>
                <a:lnTo>
                  <a:pt x="281352" y="92598"/>
                </a:lnTo>
                <a:lnTo>
                  <a:pt x="283934" y="85151"/>
                </a:lnTo>
                <a:lnTo>
                  <a:pt x="287528" y="78739"/>
                </a:lnTo>
                <a:lnTo>
                  <a:pt x="289268" y="76326"/>
                </a:lnTo>
                <a:lnTo>
                  <a:pt x="279272" y="76326"/>
                </a:lnTo>
                <a:lnTo>
                  <a:pt x="279272" y="51307"/>
                </a:lnTo>
                <a:close/>
              </a:path>
              <a:path w="752475" h="175260">
                <a:moveTo>
                  <a:pt x="316484" y="49149"/>
                </a:moveTo>
                <a:lnTo>
                  <a:pt x="304418" y="49149"/>
                </a:lnTo>
                <a:lnTo>
                  <a:pt x="298068" y="51562"/>
                </a:lnTo>
                <a:lnTo>
                  <a:pt x="292353" y="56387"/>
                </a:lnTo>
                <a:lnTo>
                  <a:pt x="286639" y="61087"/>
                </a:lnTo>
                <a:lnTo>
                  <a:pt x="282447" y="67690"/>
                </a:lnTo>
                <a:lnTo>
                  <a:pt x="279653" y="76326"/>
                </a:lnTo>
                <a:lnTo>
                  <a:pt x="289268" y="76326"/>
                </a:lnTo>
                <a:lnTo>
                  <a:pt x="293116" y="70993"/>
                </a:lnTo>
                <a:lnTo>
                  <a:pt x="300100" y="67056"/>
                </a:lnTo>
                <a:lnTo>
                  <a:pt x="322960" y="67056"/>
                </a:lnTo>
                <a:lnTo>
                  <a:pt x="322960" y="50800"/>
                </a:lnTo>
                <a:lnTo>
                  <a:pt x="320293" y="49783"/>
                </a:lnTo>
                <a:lnTo>
                  <a:pt x="316484" y="49149"/>
                </a:lnTo>
                <a:close/>
              </a:path>
              <a:path w="752475" h="175260">
                <a:moveTo>
                  <a:pt x="322960" y="67056"/>
                </a:moveTo>
                <a:lnTo>
                  <a:pt x="314705" y="67056"/>
                </a:lnTo>
                <a:lnTo>
                  <a:pt x="319659" y="68325"/>
                </a:lnTo>
                <a:lnTo>
                  <a:pt x="322960" y="70993"/>
                </a:lnTo>
                <a:lnTo>
                  <a:pt x="322960" y="67056"/>
                </a:lnTo>
                <a:close/>
              </a:path>
              <a:path w="752475" h="175260">
                <a:moveTo>
                  <a:pt x="356108" y="51307"/>
                </a:moveTo>
                <a:lnTo>
                  <a:pt x="334772" y="51307"/>
                </a:lnTo>
                <a:lnTo>
                  <a:pt x="380746" y="172465"/>
                </a:lnTo>
                <a:lnTo>
                  <a:pt x="399796" y="172465"/>
                </a:lnTo>
                <a:lnTo>
                  <a:pt x="406271" y="156209"/>
                </a:lnTo>
                <a:lnTo>
                  <a:pt x="391159" y="156209"/>
                </a:lnTo>
                <a:lnTo>
                  <a:pt x="390524" y="151383"/>
                </a:lnTo>
                <a:lnTo>
                  <a:pt x="389128" y="145795"/>
                </a:lnTo>
                <a:lnTo>
                  <a:pt x="386841" y="139319"/>
                </a:lnTo>
                <a:lnTo>
                  <a:pt x="356108" y="51307"/>
                </a:lnTo>
                <a:close/>
              </a:path>
              <a:path w="752475" h="175260">
                <a:moveTo>
                  <a:pt x="448055" y="51307"/>
                </a:moveTo>
                <a:lnTo>
                  <a:pt x="427609" y="51307"/>
                </a:lnTo>
                <a:lnTo>
                  <a:pt x="395350" y="139826"/>
                </a:lnTo>
                <a:lnTo>
                  <a:pt x="393699" y="144652"/>
                </a:lnTo>
                <a:lnTo>
                  <a:pt x="392429" y="150113"/>
                </a:lnTo>
                <a:lnTo>
                  <a:pt x="391667" y="156209"/>
                </a:lnTo>
                <a:lnTo>
                  <a:pt x="406271" y="156209"/>
                </a:lnTo>
                <a:lnTo>
                  <a:pt x="448055" y="51307"/>
                </a:lnTo>
                <a:close/>
              </a:path>
              <a:path w="752475" h="175260">
                <a:moveTo>
                  <a:pt x="514603" y="48513"/>
                </a:moveTo>
                <a:lnTo>
                  <a:pt x="474853" y="66293"/>
                </a:lnTo>
                <a:lnTo>
                  <a:pt x="458850" y="112394"/>
                </a:lnTo>
                <a:lnTo>
                  <a:pt x="459757" y="126513"/>
                </a:lnTo>
                <a:lnTo>
                  <a:pt x="481480" y="165990"/>
                </a:lnTo>
                <a:lnTo>
                  <a:pt x="513841" y="175259"/>
                </a:lnTo>
                <a:lnTo>
                  <a:pt x="526343" y="174543"/>
                </a:lnTo>
                <a:lnTo>
                  <a:pt x="537559" y="172386"/>
                </a:lnTo>
                <a:lnTo>
                  <a:pt x="547489" y="168777"/>
                </a:lnTo>
                <a:lnTo>
                  <a:pt x="556133" y="163702"/>
                </a:lnTo>
                <a:lnTo>
                  <a:pt x="556133" y="159003"/>
                </a:lnTo>
                <a:lnTo>
                  <a:pt x="518414" y="159003"/>
                </a:lnTo>
                <a:lnTo>
                  <a:pt x="509823" y="158313"/>
                </a:lnTo>
                <a:lnTo>
                  <a:pt x="479802" y="126237"/>
                </a:lnTo>
                <a:lnTo>
                  <a:pt x="478916" y="116712"/>
                </a:lnTo>
                <a:lnTo>
                  <a:pt x="564515" y="116712"/>
                </a:lnTo>
                <a:lnTo>
                  <a:pt x="564515" y="106552"/>
                </a:lnTo>
                <a:lnTo>
                  <a:pt x="564123" y="100330"/>
                </a:lnTo>
                <a:lnTo>
                  <a:pt x="479171" y="100330"/>
                </a:lnTo>
                <a:lnTo>
                  <a:pt x="480766" y="92729"/>
                </a:lnTo>
                <a:lnTo>
                  <a:pt x="505205" y="64769"/>
                </a:lnTo>
                <a:lnTo>
                  <a:pt x="552041" y="64769"/>
                </a:lnTo>
                <a:lnTo>
                  <a:pt x="551434" y="63881"/>
                </a:lnTo>
                <a:lnTo>
                  <a:pt x="544268" y="57140"/>
                </a:lnTo>
                <a:lnTo>
                  <a:pt x="535733" y="52339"/>
                </a:lnTo>
                <a:lnTo>
                  <a:pt x="525841" y="49468"/>
                </a:lnTo>
                <a:lnTo>
                  <a:pt x="514603" y="48513"/>
                </a:lnTo>
                <a:close/>
              </a:path>
              <a:path w="752475" h="175260">
                <a:moveTo>
                  <a:pt x="556133" y="145541"/>
                </a:moveTo>
                <a:lnTo>
                  <a:pt x="547292" y="151395"/>
                </a:lnTo>
                <a:lnTo>
                  <a:pt x="538083" y="155606"/>
                </a:lnTo>
                <a:lnTo>
                  <a:pt x="528468" y="158150"/>
                </a:lnTo>
                <a:lnTo>
                  <a:pt x="518414" y="159003"/>
                </a:lnTo>
                <a:lnTo>
                  <a:pt x="556133" y="159003"/>
                </a:lnTo>
                <a:lnTo>
                  <a:pt x="556133" y="145541"/>
                </a:lnTo>
                <a:close/>
              </a:path>
              <a:path w="752475" h="175260">
                <a:moveTo>
                  <a:pt x="552041" y="64769"/>
                </a:moveTo>
                <a:lnTo>
                  <a:pt x="523747" y="64769"/>
                </a:lnTo>
                <a:lnTo>
                  <a:pt x="531114" y="67944"/>
                </a:lnTo>
                <a:lnTo>
                  <a:pt x="536447" y="74168"/>
                </a:lnTo>
                <a:lnTo>
                  <a:pt x="539968" y="79291"/>
                </a:lnTo>
                <a:lnTo>
                  <a:pt x="542512" y="85343"/>
                </a:lnTo>
                <a:lnTo>
                  <a:pt x="544056" y="92348"/>
                </a:lnTo>
                <a:lnTo>
                  <a:pt x="544575" y="100330"/>
                </a:lnTo>
                <a:lnTo>
                  <a:pt x="564123" y="100330"/>
                </a:lnTo>
                <a:lnTo>
                  <a:pt x="563703" y="93652"/>
                </a:lnTo>
                <a:lnTo>
                  <a:pt x="561260" y="82216"/>
                </a:lnTo>
                <a:lnTo>
                  <a:pt x="557174" y="72280"/>
                </a:lnTo>
                <a:lnTo>
                  <a:pt x="552041" y="64769"/>
                </a:lnTo>
                <a:close/>
              </a:path>
              <a:path w="752475" h="175260">
                <a:moveTo>
                  <a:pt x="613029" y="51307"/>
                </a:moveTo>
                <a:lnTo>
                  <a:pt x="593597" y="51307"/>
                </a:lnTo>
                <a:lnTo>
                  <a:pt x="593597" y="172465"/>
                </a:lnTo>
                <a:lnTo>
                  <a:pt x="613029" y="172465"/>
                </a:lnTo>
                <a:lnTo>
                  <a:pt x="613029" y="110743"/>
                </a:lnTo>
                <a:lnTo>
                  <a:pt x="613550" y="101117"/>
                </a:lnTo>
                <a:lnTo>
                  <a:pt x="615108" y="92598"/>
                </a:lnTo>
                <a:lnTo>
                  <a:pt x="617690" y="85151"/>
                </a:lnTo>
                <a:lnTo>
                  <a:pt x="621284" y="78739"/>
                </a:lnTo>
                <a:lnTo>
                  <a:pt x="623024" y="76326"/>
                </a:lnTo>
                <a:lnTo>
                  <a:pt x="613029" y="76326"/>
                </a:lnTo>
                <a:lnTo>
                  <a:pt x="613029" y="51307"/>
                </a:lnTo>
                <a:close/>
              </a:path>
              <a:path w="752475" h="175260">
                <a:moveTo>
                  <a:pt x="650240" y="49149"/>
                </a:moveTo>
                <a:lnTo>
                  <a:pt x="638174" y="49149"/>
                </a:lnTo>
                <a:lnTo>
                  <a:pt x="631824" y="51562"/>
                </a:lnTo>
                <a:lnTo>
                  <a:pt x="626110" y="56387"/>
                </a:lnTo>
                <a:lnTo>
                  <a:pt x="620395" y="61087"/>
                </a:lnTo>
                <a:lnTo>
                  <a:pt x="616204" y="67690"/>
                </a:lnTo>
                <a:lnTo>
                  <a:pt x="613410" y="76326"/>
                </a:lnTo>
                <a:lnTo>
                  <a:pt x="623024" y="76326"/>
                </a:lnTo>
                <a:lnTo>
                  <a:pt x="626872" y="70993"/>
                </a:lnTo>
                <a:lnTo>
                  <a:pt x="633856" y="67056"/>
                </a:lnTo>
                <a:lnTo>
                  <a:pt x="656716" y="67056"/>
                </a:lnTo>
                <a:lnTo>
                  <a:pt x="656716" y="50800"/>
                </a:lnTo>
                <a:lnTo>
                  <a:pt x="654049" y="49783"/>
                </a:lnTo>
                <a:lnTo>
                  <a:pt x="650240" y="49149"/>
                </a:lnTo>
                <a:close/>
              </a:path>
              <a:path w="752475" h="175260">
                <a:moveTo>
                  <a:pt x="656716" y="67056"/>
                </a:moveTo>
                <a:lnTo>
                  <a:pt x="648461" y="67056"/>
                </a:lnTo>
                <a:lnTo>
                  <a:pt x="653415" y="68325"/>
                </a:lnTo>
                <a:lnTo>
                  <a:pt x="656716" y="70993"/>
                </a:lnTo>
                <a:lnTo>
                  <a:pt x="656716" y="67056"/>
                </a:lnTo>
                <a:close/>
              </a:path>
              <a:path w="752475" h="175260">
                <a:moveTo>
                  <a:pt x="671575" y="147193"/>
                </a:moveTo>
                <a:lnTo>
                  <a:pt x="671575" y="168020"/>
                </a:lnTo>
                <a:lnTo>
                  <a:pt x="678743" y="171188"/>
                </a:lnTo>
                <a:lnTo>
                  <a:pt x="686530" y="173450"/>
                </a:lnTo>
                <a:lnTo>
                  <a:pt x="694936" y="174807"/>
                </a:lnTo>
                <a:lnTo>
                  <a:pt x="703960" y="175259"/>
                </a:lnTo>
                <a:lnTo>
                  <a:pt x="710310" y="175259"/>
                </a:lnTo>
                <a:lnTo>
                  <a:pt x="745362" y="160019"/>
                </a:lnTo>
                <a:lnTo>
                  <a:pt x="745990" y="159003"/>
                </a:lnTo>
                <a:lnTo>
                  <a:pt x="706500" y="159003"/>
                </a:lnTo>
                <a:lnTo>
                  <a:pt x="697168" y="158265"/>
                </a:lnTo>
                <a:lnTo>
                  <a:pt x="688228" y="156051"/>
                </a:lnTo>
                <a:lnTo>
                  <a:pt x="679694" y="152360"/>
                </a:lnTo>
                <a:lnTo>
                  <a:pt x="671575" y="147193"/>
                </a:lnTo>
                <a:close/>
              </a:path>
              <a:path w="752475" h="175260">
                <a:moveTo>
                  <a:pt x="718185" y="48513"/>
                </a:moveTo>
                <a:lnTo>
                  <a:pt x="712342" y="48513"/>
                </a:lnTo>
                <a:lnTo>
                  <a:pt x="706500" y="49149"/>
                </a:lnTo>
                <a:lnTo>
                  <a:pt x="675766" y="68452"/>
                </a:lnTo>
                <a:lnTo>
                  <a:pt x="673099" y="72770"/>
                </a:lnTo>
                <a:lnTo>
                  <a:pt x="671829" y="77850"/>
                </a:lnTo>
                <a:lnTo>
                  <a:pt x="671829" y="88137"/>
                </a:lnTo>
                <a:lnTo>
                  <a:pt x="672465" y="92201"/>
                </a:lnTo>
                <a:lnTo>
                  <a:pt x="673861" y="95631"/>
                </a:lnTo>
                <a:lnTo>
                  <a:pt x="675259" y="99187"/>
                </a:lnTo>
                <a:lnTo>
                  <a:pt x="677291" y="102234"/>
                </a:lnTo>
                <a:lnTo>
                  <a:pt x="680085" y="104901"/>
                </a:lnTo>
                <a:lnTo>
                  <a:pt x="682752" y="107695"/>
                </a:lnTo>
                <a:lnTo>
                  <a:pt x="711835" y="121665"/>
                </a:lnTo>
                <a:lnTo>
                  <a:pt x="715136" y="123062"/>
                </a:lnTo>
                <a:lnTo>
                  <a:pt x="718566" y="124459"/>
                </a:lnTo>
                <a:lnTo>
                  <a:pt x="721486" y="125983"/>
                </a:lnTo>
                <a:lnTo>
                  <a:pt x="723899" y="127762"/>
                </a:lnTo>
                <a:lnTo>
                  <a:pt x="726440" y="129412"/>
                </a:lnTo>
                <a:lnTo>
                  <a:pt x="728472" y="131444"/>
                </a:lnTo>
                <a:lnTo>
                  <a:pt x="731266" y="136016"/>
                </a:lnTo>
                <a:lnTo>
                  <a:pt x="732028" y="138683"/>
                </a:lnTo>
                <a:lnTo>
                  <a:pt x="732028" y="141986"/>
                </a:lnTo>
                <a:lnTo>
                  <a:pt x="730432" y="149413"/>
                </a:lnTo>
                <a:lnTo>
                  <a:pt x="725646" y="154733"/>
                </a:lnTo>
                <a:lnTo>
                  <a:pt x="717669" y="157934"/>
                </a:lnTo>
                <a:lnTo>
                  <a:pt x="706500" y="159003"/>
                </a:lnTo>
                <a:lnTo>
                  <a:pt x="745990" y="159003"/>
                </a:lnTo>
                <a:lnTo>
                  <a:pt x="748029" y="155701"/>
                </a:lnTo>
                <a:lnTo>
                  <a:pt x="750570" y="151256"/>
                </a:lnTo>
                <a:lnTo>
                  <a:pt x="751966" y="146050"/>
                </a:lnTo>
                <a:lnTo>
                  <a:pt x="751966" y="135127"/>
                </a:lnTo>
                <a:lnTo>
                  <a:pt x="742568" y="117982"/>
                </a:lnTo>
                <a:lnTo>
                  <a:pt x="739647" y="115188"/>
                </a:lnTo>
                <a:lnTo>
                  <a:pt x="735965" y="112775"/>
                </a:lnTo>
                <a:lnTo>
                  <a:pt x="731647" y="110616"/>
                </a:lnTo>
                <a:lnTo>
                  <a:pt x="727455" y="108457"/>
                </a:lnTo>
                <a:lnTo>
                  <a:pt x="722629" y="106299"/>
                </a:lnTo>
                <a:lnTo>
                  <a:pt x="713231" y="102743"/>
                </a:lnTo>
                <a:lnTo>
                  <a:pt x="709675" y="101218"/>
                </a:lnTo>
                <a:lnTo>
                  <a:pt x="706500" y="99949"/>
                </a:lnTo>
                <a:lnTo>
                  <a:pt x="703325" y="98551"/>
                </a:lnTo>
                <a:lnTo>
                  <a:pt x="700659" y="97027"/>
                </a:lnTo>
                <a:lnTo>
                  <a:pt x="698499" y="95376"/>
                </a:lnTo>
                <a:lnTo>
                  <a:pt x="696214" y="93725"/>
                </a:lnTo>
                <a:lnTo>
                  <a:pt x="694562" y="91820"/>
                </a:lnTo>
                <a:lnTo>
                  <a:pt x="693420" y="89788"/>
                </a:lnTo>
                <a:lnTo>
                  <a:pt x="692277" y="87630"/>
                </a:lnTo>
                <a:lnTo>
                  <a:pt x="691768" y="84962"/>
                </a:lnTo>
                <a:lnTo>
                  <a:pt x="691768" y="79247"/>
                </a:lnTo>
                <a:lnTo>
                  <a:pt x="692277" y="76962"/>
                </a:lnTo>
                <a:lnTo>
                  <a:pt x="693420" y="74930"/>
                </a:lnTo>
                <a:lnTo>
                  <a:pt x="694562" y="72770"/>
                </a:lnTo>
                <a:lnTo>
                  <a:pt x="705739" y="66039"/>
                </a:lnTo>
                <a:lnTo>
                  <a:pt x="708660" y="65150"/>
                </a:lnTo>
                <a:lnTo>
                  <a:pt x="711961" y="64769"/>
                </a:lnTo>
                <a:lnTo>
                  <a:pt x="746379" y="64769"/>
                </a:lnTo>
                <a:lnTo>
                  <a:pt x="746379" y="53847"/>
                </a:lnTo>
                <a:lnTo>
                  <a:pt x="739973" y="51514"/>
                </a:lnTo>
                <a:lnTo>
                  <a:pt x="733139" y="49847"/>
                </a:lnTo>
                <a:lnTo>
                  <a:pt x="725876" y="48847"/>
                </a:lnTo>
                <a:lnTo>
                  <a:pt x="718185" y="48513"/>
                </a:lnTo>
                <a:close/>
              </a:path>
              <a:path w="752475" h="175260">
                <a:moveTo>
                  <a:pt x="746379" y="64769"/>
                </a:moveTo>
                <a:lnTo>
                  <a:pt x="715645" y="64769"/>
                </a:lnTo>
                <a:lnTo>
                  <a:pt x="724072" y="65317"/>
                </a:lnTo>
                <a:lnTo>
                  <a:pt x="732012" y="66960"/>
                </a:lnTo>
                <a:lnTo>
                  <a:pt x="739451" y="69699"/>
                </a:lnTo>
                <a:lnTo>
                  <a:pt x="746379" y="73532"/>
                </a:lnTo>
                <a:lnTo>
                  <a:pt x="746379" y="64769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98517" y="5893648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89" h="429895">
                <a:moveTo>
                  <a:pt x="0" y="429767"/>
                </a:moveTo>
                <a:lnTo>
                  <a:pt x="1850136" y="429767"/>
                </a:lnTo>
                <a:lnTo>
                  <a:pt x="1850136" y="0"/>
                </a:lnTo>
                <a:lnTo>
                  <a:pt x="0" y="0"/>
                </a:lnTo>
                <a:lnTo>
                  <a:pt x="0" y="429767"/>
                </a:lnTo>
                <a:close/>
              </a:path>
            </a:pathLst>
          </a:custGeom>
          <a:solidFill>
            <a:srgbClr val="D73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835167" y="5993132"/>
            <a:ext cx="889182" cy="232126"/>
          </a:xfrm>
          <a:custGeom>
            <a:avLst/>
            <a:gdLst/>
            <a:ahLst/>
            <a:cxnLst/>
            <a:rect l="l" t="t" r="r" b="b"/>
            <a:pathLst>
              <a:path w="1209039" h="236854">
                <a:moveTo>
                  <a:pt x="25793" y="9702"/>
                </a:moveTo>
                <a:lnTo>
                  <a:pt x="0" y="9702"/>
                </a:lnTo>
                <a:lnTo>
                  <a:pt x="0" y="179374"/>
                </a:lnTo>
                <a:lnTo>
                  <a:pt x="19875" y="179374"/>
                </a:lnTo>
                <a:lnTo>
                  <a:pt x="19844" y="44132"/>
                </a:lnTo>
                <a:lnTo>
                  <a:pt x="19557" y="37109"/>
                </a:lnTo>
                <a:lnTo>
                  <a:pt x="18922" y="33489"/>
                </a:lnTo>
                <a:lnTo>
                  <a:pt x="40974" y="33489"/>
                </a:lnTo>
                <a:lnTo>
                  <a:pt x="25793" y="9702"/>
                </a:lnTo>
                <a:close/>
              </a:path>
              <a:path w="1209039" h="236854">
                <a:moveTo>
                  <a:pt x="40974" y="33489"/>
                </a:moveTo>
                <a:lnTo>
                  <a:pt x="19634" y="33489"/>
                </a:lnTo>
                <a:lnTo>
                  <a:pt x="21056" y="37198"/>
                </a:lnTo>
                <a:lnTo>
                  <a:pt x="22872" y="40741"/>
                </a:lnTo>
                <a:lnTo>
                  <a:pt x="25082" y="44132"/>
                </a:lnTo>
                <a:lnTo>
                  <a:pt x="112394" y="179374"/>
                </a:lnTo>
                <a:lnTo>
                  <a:pt x="136817" y="179374"/>
                </a:lnTo>
                <a:lnTo>
                  <a:pt x="136817" y="154178"/>
                </a:lnTo>
                <a:lnTo>
                  <a:pt x="117602" y="154178"/>
                </a:lnTo>
                <a:lnTo>
                  <a:pt x="116573" y="152120"/>
                </a:lnTo>
                <a:lnTo>
                  <a:pt x="114287" y="148336"/>
                </a:lnTo>
                <a:lnTo>
                  <a:pt x="40974" y="33489"/>
                </a:lnTo>
                <a:close/>
              </a:path>
              <a:path w="1209039" h="236854">
                <a:moveTo>
                  <a:pt x="136817" y="9702"/>
                </a:moveTo>
                <a:lnTo>
                  <a:pt x="116890" y="9702"/>
                </a:lnTo>
                <a:lnTo>
                  <a:pt x="116978" y="142811"/>
                </a:lnTo>
                <a:lnTo>
                  <a:pt x="117284" y="149275"/>
                </a:lnTo>
                <a:lnTo>
                  <a:pt x="118071" y="154178"/>
                </a:lnTo>
                <a:lnTo>
                  <a:pt x="136817" y="154178"/>
                </a:lnTo>
                <a:lnTo>
                  <a:pt x="136817" y="9702"/>
                </a:lnTo>
                <a:close/>
              </a:path>
              <a:path w="1209039" h="236854">
                <a:moveTo>
                  <a:pt x="226352" y="55372"/>
                </a:moveTo>
                <a:lnTo>
                  <a:pt x="186474" y="73177"/>
                </a:lnTo>
                <a:lnTo>
                  <a:pt x="170472" y="119265"/>
                </a:lnTo>
                <a:lnTo>
                  <a:pt x="171378" y="133396"/>
                </a:lnTo>
                <a:lnTo>
                  <a:pt x="193101" y="172929"/>
                </a:lnTo>
                <a:lnTo>
                  <a:pt x="225463" y="182219"/>
                </a:lnTo>
                <a:lnTo>
                  <a:pt x="237964" y="181493"/>
                </a:lnTo>
                <a:lnTo>
                  <a:pt x="249180" y="179316"/>
                </a:lnTo>
                <a:lnTo>
                  <a:pt x="259110" y="175688"/>
                </a:lnTo>
                <a:lnTo>
                  <a:pt x="267754" y="170611"/>
                </a:lnTo>
                <a:lnTo>
                  <a:pt x="267754" y="165887"/>
                </a:lnTo>
                <a:lnTo>
                  <a:pt x="230162" y="165887"/>
                </a:lnTo>
                <a:lnTo>
                  <a:pt x="221516" y="165199"/>
                </a:lnTo>
                <a:lnTo>
                  <a:pt x="191423" y="133186"/>
                </a:lnTo>
                <a:lnTo>
                  <a:pt x="190538" y="123647"/>
                </a:lnTo>
                <a:lnTo>
                  <a:pt x="276136" y="123647"/>
                </a:lnTo>
                <a:lnTo>
                  <a:pt x="276136" y="113474"/>
                </a:lnTo>
                <a:lnTo>
                  <a:pt x="275742" y="107200"/>
                </a:lnTo>
                <a:lnTo>
                  <a:pt x="190792" y="107200"/>
                </a:lnTo>
                <a:lnTo>
                  <a:pt x="192387" y="99652"/>
                </a:lnTo>
                <a:lnTo>
                  <a:pt x="216827" y="71704"/>
                </a:lnTo>
                <a:lnTo>
                  <a:pt x="263702" y="71704"/>
                </a:lnTo>
                <a:lnTo>
                  <a:pt x="263055" y="70751"/>
                </a:lnTo>
                <a:lnTo>
                  <a:pt x="255909" y="64024"/>
                </a:lnTo>
                <a:lnTo>
                  <a:pt x="247418" y="59218"/>
                </a:lnTo>
                <a:lnTo>
                  <a:pt x="237569" y="56333"/>
                </a:lnTo>
                <a:lnTo>
                  <a:pt x="226352" y="55372"/>
                </a:lnTo>
                <a:close/>
              </a:path>
              <a:path w="1209039" h="236854">
                <a:moveTo>
                  <a:pt x="267754" y="152400"/>
                </a:moveTo>
                <a:lnTo>
                  <a:pt x="258969" y="158300"/>
                </a:lnTo>
                <a:lnTo>
                  <a:pt x="249767" y="162515"/>
                </a:lnTo>
                <a:lnTo>
                  <a:pt x="240161" y="165044"/>
                </a:lnTo>
                <a:lnTo>
                  <a:pt x="230162" y="165887"/>
                </a:lnTo>
                <a:lnTo>
                  <a:pt x="267754" y="165887"/>
                </a:lnTo>
                <a:lnTo>
                  <a:pt x="267754" y="152400"/>
                </a:lnTo>
                <a:close/>
              </a:path>
              <a:path w="1209039" h="236854">
                <a:moveTo>
                  <a:pt x="263702" y="71704"/>
                </a:moveTo>
                <a:lnTo>
                  <a:pt x="235369" y="71704"/>
                </a:lnTo>
                <a:lnTo>
                  <a:pt x="242862" y="74815"/>
                </a:lnTo>
                <a:lnTo>
                  <a:pt x="248196" y="81051"/>
                </a:lnTo>
                <a:lnTo>
                  <a:pt x="251696" y="86192"/>
                </a:lnTo>
                <a:lnTo>
                  <a:pt x="254196" y="92263"/>
                </a:lnTo>
                <a:lnTo>
                  <a:pt x="255697" y="99266"/>
                </a:lnTo>
                <a:lnTo>
                  <a:pt x="256197" y="107200"/>
                </a:lnTo>
                <a:lnTo>
                  <a:pt x="275742" y="107200"/>
                </a:lnTo>
                <a:lnTo>
                  <a:pt x="275324" y="100553"/>
                </a:lnTo>
                <a:lnTo>
                  <a:pt x="272881" y="89127"/>
                </a:lnTo>
                <a:lnTo>
                  <a:pt x="268795" y="79193"/>
                </a:lnTo>
                <a:lnTo>
                  <a:pt x="263702" y="71704"/>
                </a:lnTo>
                <a:close/>
              </a:path>
              <a:path w="1209039" h="236854">
                <a:moveTo>
                  <a:pt x="330873" y="74777"/>
                </a:moveTo>
                <a:lnTo>
                  <a:pt x="311569" y="74777"/>
                </a:lnTo>
                <a:lnTo>
                  <a:pt x="311569" y="146481"/>
                </a:lnTo>
                <a:lnTo>
                  <a:pt x="313547" y="162009"/>
                </a:lnTo>
                <a:lnTo>
                  <a:pt x="319490" y="173102"/>
                </a:lnTo>
                <a:lnTo>
                  <a:pt x="329410" y="179759"/>
                </a:lnTo>
                <a:lnTo>
                  <a:pt x="343319" y="181978"/>
                </a:lnTo>
                <a:lnTo>
                  <a:pt x="350812" y="181978"/>
                </a:lnTo>
                <a:lnTo>
                  <a:pt x="356908" y="180721"/>
                </a:lnTo>
                <a:lnTo>
                  <a:pt x="361480" y="178193"/>
                </a:lnTo>
                <a:lnTo>
                  <a:pt x="361480" y="165646"/>
                </a:lnTo>
                <a:lnTo>
                  <a:pt x="342430" y="165646"/>
                </a:lnTo>
                <a:lnTo>
                  <a:pt x="337858" y="163918"/>
                </a:lnTo>
                <a:lnTo>
                  <a:pt x="332270" y="156972"/>
                </a:lnTo>
                <a:lnTo>
                  <a:pt x="330873" y="151180"/>
                </a:lnTo>
                <a:lnTo>
                  <a:pt x="330873" y="74777"/>
                </a:lnTo>
                <a:close/>
              </a:path>
              <a:path w="1209039" h="236854">
                <a:moveTo>
                  <a:pt x="361480" y="161620"/>
                </a:moveTo>
                <a:lnTo>
                  <a:pt x="357924" y="164312"/>
                </a:lnTo>
                <a:lnTo>
                  <a:pt x="353733" y="165646"/>
                </a:lnTo>
                <a:lnTo>
                  <a:pt x="361480" y="165646"/>
                </a:lnTo>
                <a:lnTo>
                  <a:pt x="361480" y="161620"/>
                </a:lnTo>
                <a:close/>
              </a:path>
              <a:path w="1209039" h="236854">
                <a:moveTo>
                  <a:pt x="361480" y="58216"/>
                </a:moveTo>
                <a:lnTo>
                  <a:pt x="290741" y="58216"/>
                </a:lnTo>
                <a:lnTo>
                  <a:pt x="290741" y="74777"/>
                </a:lnTo>
                <a:lnTo>
                  <a:pt x="361480" y="74777"/>
                </a:lnTo>
                <a:lnTo>
                  <a:pt x="361480" y="58216"/>
                </a:lnTo>
                <a:close/>
              </a:path>
              <a:path w="1209039" h="236854">
                <a:moveTo>
                  <a:pt x="330873" y="22364"/>
                </a:moveTo>
                <a:lnTo>
                  <a:pt x="311569" y="28638"/>
                </a:lnTo>
                <a:lnTo>
                  <a:pt x="311569" y="58216"/>
                </a:lnTo>
                <a:lnTo>
                  <a:pt x="330873" y="58216"/>
                </a:lnTo>
                <a:lnTo>
                  <a:pt x="330873" y="22364"/>
                </a:lnTo>
                <a:close/>
              </a:path>
              <a:path w="1209039" h="236854">
                <a:moveTo>
                  <a:pt x="391071" y="58216"/>
                </a:moveTo>
                <a:lnTo>
                  <a:pt x="370751" y="58216"/>
                </a:lnTo>
                <a:lnTo>
                  <a:pt x="407454" y="179374"/>
                </a:lnTo>
                <a:lnTo>
                  <a:pt x="426758" y="179374"/>
                </a:lnTo>
                <a:lnTo>
                  <a:pt x="432745" y="160210"/>
                </a:lnTo>
                <a:lnTo>
                  <a:pt x="417868" y="160210"/>
                </a:lnTo>
                <a:lnTo>
                  <a:pt x="417487" y="155714"/>
                </a:lnTo>
                <a:lnTo>
                  <a:pt x="416979" y="152082"/>
                </a:lnTo>
                <a:lnTo>
                  <a:pt x="391071" y="58216"/>
                </a:lnTo>
                <a:close/>
              </a:path>
              <a:path w="1209039" h="236854">
                <a:moveTo>
                  <a:pt x="472988" y="81407"/>
                </a:moveTo>
                <a:lnTo>
                  <a:pt x="456857" y="81407"/>
                </a:lnTo>
                <a:lnTo>
                  <a:pt x="457238" y="85585"/>
                </a:lnTo>
                <a:lnTo>
                  <a:pt x="457873" y="89331"/>
                </a:lnTo>
                <a:lnTo>
                  <a:pt x="458762" y="92646"/>
                </a:lnTo>
                <a:lnTo>
                  <a:pt x="483781" y="179374"/>
                </a:lnTo>
                <a:lnTo>
                  <a:pt x="503847" y="179374"/>
                </a:lnTo>
                <a:lnTo>
                  <a:pt x="509523" y="160439"/>
                </a:lnTo>
                <a:lnTo>
                  <a:pt x="493433" y="160439"/>
                </a:lnTo>
                <a:lnTo>
                  <a:pt x="493052" y="156108"/>
                </a:lnTo>
                <a:lnTo>
                  <a:pt x="492417" y="152476"/>
                </a:lnTo>
                <a:lnTo>
                  <a:pt x="491655" y="149555"/>
                </a:lnTo>
                <a:lnTo>
                  <a:pt x="472988" y="81407"/>
                </a:lnTo>
                <a:close/>
              </a:path>
              <a:path w="1209039" h="236854">
                <a:moveTo>
                  <a:pt x="540169" y="58216"/>
                </a:moveTo>
                <a:lnTo>
                  <a:pt x="520992" y="58216"/>
                </a:lnTo>
                <a:lnTo>
                  <a:pt x="495211" y="153733"/>
                </a:lnTo>
                <a:lnTo>
                  <a:pt x="494576" y="157365"/>
                </a:lnTo>
                <a:lnTo>
                  <a:pt x="494322" y="160439"/>
                </a:lnTo>
                <a:lnTo>
                  <a:pt x="509523" y="160439"/>
                </a:lnTo>
                <a:lnTo>
                  <a:pt x="540169" y="58216"/>
                </a:lnTo>
                <a:close/>
              </a:path>
              <a:path w="1209039" h="236854">
                <a:moveTo>
                  <a:pt x="466636" y="58216"/>
                </a:moveTo>
                <a:lnTo>
                  <a:pt x="448856" y="58216"/>
                </a:lnTo>
                <a:lnTo>
                  <a:pt x="420916" y="149085"/>
                </a:lnTo>
                <a:lnTo>
                  <a:pt x="419773" y="153022"/>
                </a:lnTo>
                <a:lnTo>
                  <a:pt x="419011" y="156730"/>
                </a:lnTo>
                <a:lnTo>
                  <a:pt x="418757" y="160210"/>
                </a:lnTo>
                <a:lnTo>
                  <a:pt x="432745" y="160210"/>
                </a:lnTo>
                <a:lnTo>
                  <a:pt x="455333" y="87909"/>
                </a:lnTo>
                <a:lnTo>
                  <a:pt x="456222" y="84251"/>
                </a:lnTo>
                <a:lnTo>
                  <a:pt x="456349" y="81407"/>
                </a:lnTo>
                <a:lnTo>
                  <a:pt x="472988" y="81407"/>
                </a:lnTo>
                <a:lnTo>
                  <a:pt x="466636" y="58216"/>
                </a:lnTo>
                <a:close/>
              </a:path>
              <a:path w="1209039" h="236854">
                <a:moveTo>
                  <a:pt x="616242" y="55372"/>
                </a:moveTo>
                <a:lnTo>
                  <a:pt x="571157" y="72529"/>
                </a:lnTo>
                <a:lnTo>
                  <a:pt x="554520" y="120218"/>
                </a:lnTo>
                <a:lnTo>
                  <a:pt x="555520" y="133546"/>
                </a:lnTo>
                <a:lnTo>
                  <a:pt x="579211" y="172666"/>
                </a:lnTo>
                <a:lnTo>
                  <a:pt x="613448" y="182219"/>
                </a:lnTo>
                <a:lnTo>
                  <a:pt x="626546" y="181127"/>
                </a:lnTo>
                <a:lnTo>
                  <a:pt x="638228" y="177850"/>
                </a:lnTo>
                <a:lnTo>
                  <a:pt x="648506" y="172393"/>
                </a:lnTo>
                <a:lnTo>
                  <a:pt x="656075" y="165887"/>
                </a:lnTo>
                <a:lnTo>
                  <a:pt x="614845" y="165887"/>
                </a:lnTo>
                <a:lnTo>
                  <a:pt x="606080" y="165111"/>
                </a:lnTo>
                <a:lnTo>
                  <a:pt x="577094" y="138758"/>
                </a:lnTo>
                <a:lnTo>
                  <a:pt x="574380" y="120218"/>
                </a:lnTo>
                <a:lnTo>
                  <a:pt x="574408" y="118325"/>
                </a:lnTo>
                <a:lnTo>
                  <a:pt x="591181" y="78862"/>
                </a:lnTo>
                <a:lnTo>
                  <a:pt x="614845" y="71704"/>
                </a:lnTo>
                <a:lnTo>
                  <a:pt x="658129" y="71704"/>
                </a:lnTo>
                <a:lnTo>
                  <a:pt x="650246" y="64758"/>
                </a:lnTo>
                <a:lnTo>
                  <a:pt x="640435" y="59543"/>
                </a:lnTo>
                <a:lnTo>
                  <a:pt x="629100" y="56414"/>
                </a:lnTo>
                <a:lnTo>
                  <a:pt x="616242" y="55372"/>
                </a:lnTo>
                <a:close/>
              </a:path>
              <a:path w="1209039" h="236854">
                <a:moveTo>
                  <a:pt x="658129" y="71704"/>
                </a:moveTo>
                <a:lnTo>
                  <a:pt x="614845" y="71704"/>
                </a:lnTo>
                <a:lnTo>
                  <a:pt x="623727" y="72473"/>
                </a:lnTo>
                <a:lnTo>
                  <a:pt x="631513" y="74780"/>
                </a:lnTo>
                <a:lnTo>
                  <a:pt x="653320" y="108326"/>
                </a:lnTo>
                <a:lnTo>
                  <a:pt x="653918" y="118325"/>
                </a:lnTo>
                <a:lnTo>
                  <a:pt x="653889" y="120218"/>
                </a:lnTo>
                <a:lnTo>
                  <a:pt x="638205" y="159029"/>
                </a:lnTo>
                <a:lnTo>
                  <a:pt x="614845" y="165887"/>
                </a:lnTo>
                <a:lnTo>
                  <a:pt x="656075" y="165887"/>
                </a:lnTo>
                <a:lnTo>
                  <a:pt x="673773" y="118325"/>
                </a:lnTo>
                <a:lnTo>
                  <a:pt x="672820" y="104340"/>
                </a:lnTo>
                <a:lnTo>
                  <a:pt x="669963" y="91968"/>
                </a:lnTo>
                <a:lnTo>
                  <a:pt x="665200" y="81208"/>
                </a:lnTo>
                <a:lnTo>
                  <a:pt x="658533" y="72059"/>
                </a:lnTo>
                <a:lnTo>
                  <a:pt x="658129" y="71704"/>
                </a:lnTo>
                <a:close/>
              </a:path>
              <a:path w="1209039" h="236854">
                <a:moveTo>
                  <a:pt x="723938" y="58216"/>
                </a:moveTo>
                <a:lnTo>
                  <a:pt x="704507" y="58216"/>
                </a:lnTo>
                <a:lnTo>
                  <a:pt x="704507" y="179374"/>
                </a:lnTo>
                <a:lnTo>
                  <a:pt x="723938" y="179374"/>
                </a:lnTo>
                <a:lnTo>
                  <a:pt x="723938" y="117614"/>
                </a:lnTo>
                <a:lnTo>
                  <a:pt x="724461" y="108030"/>
                </a:lnTo>
                <a:lnTo>
                  <a:pt x="726033" y="99509"/>
                </a:lnTo>
                <a:lnTo>
                  <a:pt x="728652" y="92052"/>
                </a:lnTo>
                <a:lnTo>
                  <a:pt x="732320" y="85661"/>
                </a:lnTo>
                <a:lnTo>
                  <a:pt x="734051" y="83185"/>
                </a:lnTo>
                <a:lnTo>
                  <a:pt x="723938" y="83185"/>
                </a:lnTo>
                <a:lnTo>
                  <a:pt x="723938" y="58216"/>
                </a:lnTo>
                <a:close/>
              </a:path>
              <a:path w="1209039" h="236854">
                <a:moveTo>
                  <a:pt x="761149" y="56083"/>
                </a:moveTo>
                <a:lnTo>
                  <a:pt x="749084" y="56083"/>
                </a:lnTo>
                <a:lnTo>
                  <a:pt x="742734" y="58470"/>
                </a:lnTo>
                <a:lnTo>
                  <a:pt x="737019" y="63246"/>
                </a:lnTo>
                <a:lnTo>
                  <a:pt x="731431" y="68021"/>
                </a:lnTo>
                <a:lnTo>
                  <a:pt x="727113" y="74663"/>
                </a:lnTo>
                <a:lnTo>
                  <a:pt x="724446" y="83185"/>
                </a:lnTo>
                <a:lnTo>
                  <a:pt x="734051" y="83185"/>
                </a:lnTo>
                <a:lnTo>
                  <a:pt x="737781" y="77851"/>
                </a:lnTo>
                <a:lnTo>
                  <a:pt x="744766" y="73952"/>
                </a:lnTo>
                <a:lnTo>
                  <a:pt x="767753" y="73952"/>
                </a:lnTo>
                <a:lnTo>
                  <a:pt x="767753" y="57746"/>
                </a:lnTo>
                <a:lnTo>
                  <a:pt x="765086" y="56642"/>
                </a:lnTo>
                <a:lnTo>
                  <a:pt x="761149" y="56083"/>
                </a:lnTo>
                <a:close/>
              </a:path>
              <a:path w="1209039" h="236854">
                <a:moveTo>
                  <a:pt x="767753" y="73952"/>
                </a:moveTo>
                <a:lnTo>
                  <a:pt x="759371" y="73952"/>
                </a:lnTo>
                <a:lnTo>
                  <a:pt x="764324" y="75247"/>
                </a:lnTo>
                <a:lnTo>
                  <a:pt x="767753" y="77851"/>
                </a:lnTo>
                <a:lnTo>
                  <a:pt x="767753" y="73952"/>
                </a:lnTo>
                <a:close/>
              </a:path>
              <a:path w="1209039" h="236854">
                <a:moveTo>
                  <a:pt x="807758" y="0"/>
                </a:moveTo>
                <a:lnTo>
                  <a:pt x="788327" y="0"/>
                </a:lnTo>
                <a:lnTo>
                  <a:pt x="788327" y="179374"/>
                </a:lnTo>
                <a:lnTo>
                  <a:pt x="807758" y="179374"/>
                </a:lnTo>
                <a:lnTo>
                  <a:pt x="807758" y="121158"/>
                </a:lnTo>
                <a:lnTo>
                  <a:pt x="832674" y="121158"/>
                </a:lnTo>
                <a:lnTo>
                  <a:pt x="828332" y="116662"/>
                </a:lnTo>
                <a:lnTo>
                  <a:pt x="831180" y="113703"/>
                </a:lnTo>
                <a:lnTo>
                  <a:pt x="807758" y="113703"/>
                </a:lnTo>
                <a:lnTo>
                  <a:pt x="807758" y="0"/>
                </a:lnTo>
                <a:close/>
              </a:path>
              <a:path w="1209039" h="236854">
                <a:moveTo>
                  <a:pt x="832674" y="121158"/>
                </a:moveTo>
                <a:lnTo>
                  <a:pt x="808266" y="121158"/>
                </a:lnTo>
                <a:lnTo>
                  <a:pt x="861733" y="179374"/>
                </a:lnTo>
                <a:lnTo>
                  <a:pt x="888911" y="179374"/>
                </a:lnTo>
                <a:lnTo>
                  <a:pt x="832674" y="121158"/>
                </a:lnTo>
                <a:close/>
              </a:path>
              <a:path w="1209039" h="236854">
                <a:moveTo>
                  <a:pt x="884593" y="58216"/>
                </a:moveTo>
                <a:lnTo>
                  <a:pt x="859066" y="58216"/>
                </a:lnTo>
                <a:lnTo>
                  <a:pt x="808266" y="113703"/>
                </a:lnTo>
                <a:lnTo>
                  <a:pt x="831180" y="113703"/>
                </a:lnTo>
                <a:lnTo>
                  <a:pt x="884593" y="58216"/>
                </a:lnTo>
                <a:close/>
              </a:path>
              <a:path w="1209039" h="236854">
                <a:moveTo>
                  <a:pt x="922185" y="2247"/>
                </a:moveTo>
                <a:lnTo>
                  <a:pt x="915200" y="2247"/>
                </a:lnTo>
                <a:lnTo>
                  <a:pt x="912279" y="3454"/>
                </a:lnTo>
                <a:lnTo>
                  <a:pt x="909866" y="5854"/>
                </a:lnTo>
                <a:lnTo>
                  <a:pt x="907326" y="8267"/>
                </a:lnTo>
                <a:lnTo>
                  <a:pt x="906183" y="11277"/>
                </a:lnTo>
                <a:lnTo>
                  <a:pt x="906183" y="18542"/>
                </a:lnTo>
                <a:lnTo>
                  <a:pt x="907326" y="21539"/>
                </a:lnTo>
                <a:lnTo>
                  <a:pt x="909866" y="23901"/>
                </a:lnTo>
                <a:lnTo>
                  <a:pt x="912279" y="26263"/>
                </a:lnTo>
                <a:lnTo>
                  <a:pt x="915200" y="27457"/>
                </a:lnTo>
                <a:lnTo>
                  <a:pt x="922185" y="27457"/>
                </a:lnTo>
                <a:lnTo>
                  <a:pt x="931456" y="11277"/>
                </a:lnTo>
                <a:lnTo>
                  <a:pt x="930186" y="8267"/>
                </a:lnTo>
                <a:lnTo>
                  <a:pt x="927773" y="5854"/>
                </a:lnTo>
                <a:lnTo>
                  <a:pt x="925233" y="3454"/>
                </a:lnTo>
                <a:lnTo>
                  <a:pt x="922185" y="2247"/>
                </a:lnTo>
                <a:close/>
              </a:path>
              <a:path w="1209039" h="236854">
                <a:moveTo>
                  <a:pt x="928154" y="58216"/>
                </a:moveTo>
                <a:lnTo>
                  <a:pt x="908723" y="58216"/>
                </a:lnTo>
                <a:lnTo>
                  <a:pt x="908723" y="179374"/>
                </a:lnTo>
                <a:lnTo>
                  <a:pt x="928154" y="179374"/>
                </a:lnTo>
                <a:lnTo>
                  <a:pt x="928154" y="58216"/>
                </a:lnTo>
                <a:close/>
              </a:path>
              <a:path w="1209039" h="236854">
                <a:moveTo>
                  <a:pt x="987590" y="58216"/>
                </a:moveTo>
                <a:lnTo>
                  <a:pt x="968159" y="58216"/>
                </a:lnTo>
                <a:lnTo>
                  <a:pt x="968159" y="179374"/>
                </a:lnTo>
                <a:lnTo>
                  <a:pt x="987590" y="179374"/>
                </a:lnTo>
                <a:lnTo>
                  <a:pt x="987590" y="110274"/>
                </a:lnTo>
                <a:lnTo>
                  <a:pt x="988185" y="102289"/>
                </a:lnTo>
                <a:lnTo>
                  <a:pt x="989971" y="95024"/>
                </a:lnTo>
                <a:lnTo>
                  <a:pt x="992947" y="88478"/>
                </a:lnTo>
                <a:lnTo>
                  <a:pt x="997115" y="82651"/>
                </a:lnTo>
                <a:lnTo>
                  <a:pt x="1001687" y="78333"/>
                </a:lnTo>
                <a:lnTo>
                  <a:pt x="987590" y="78333"/>
                </a:lnTo>
                <a:lnTo>
                  <a:pt x="987590" y="58216"/>
                </a:lnTo>
                <a:close/>
              </a:path>
              <a:path w="1209039" h="236854">
                <a:moveTo>
                  <a:pt x="1060451" y="71704"/>
                </a:moveTo>
                <a:lnTo>
                  <a:pt x="1021245" y="71704"/>
                </a:lnTo>
                <a:lnTo>
                  <a:pt x="1033506" y="74114"/>
                </a:lnTo>
                <a:lnTo>
                  <a:pt x="1042279" y="81345"/>
                </a:lnTo>
                <a:lnTo>
                  <a:pt x="1047551" y="93397"/>
                </a:lnTo>
                <a:lnTo>
                  <a:pt x="1049312" y="110274"/>
                </a:lnTo>
                <a:lnTo>
                  <a:pt x="1049312" y="179374"/>
                </a:lnTo>
                <a:lnTo>
                  <a:pt x="1068743" y="179374"/>
                </a:lnTo>
                <a:lnTo>
                  <a:pt x="1068743" y="105308"/>
                </a:lnTo>
                <a:lnTo>
                  <a:pt x="1068078" y="93895"/>
                </a:lnTo>
                <a:lnTo>
                  <a:pt x="1066091" y="83907"/>
                </a:lnTo>
                <a:lnTo>
                  <a:pt x="1062795" y="75345"/>
                </a:lnTo>
                <a:lnTo>
                  <a:pt x="1060451" y="71704"/>
                </a:lnTo>
                <a:close/>
              </a:path>
              <a:path w="1209039" h="236854">
                <a:moveTo>
                  <a:pt x="1027849" y="55372"/>
                </a:moveTo>
                <a:lnTo>
                  <a:pt x="1015583" y="56807"/>
                </a:lnTo>
                <a:lnTo>
                  <a:pt x="1004877" y="61113"/>
                </a:lnTo>
                <a:lnTo>
                  <a:pt x="995720" y="68289"/>
                </a:lnTo>
                <a:lnTo>
                  <a:pt x="988098" y="78333"/>
                </a:lnTo>
                <a:lnTo>
                  <a:pt x="1001687" y="78333"/>
                </a:lnTo>
                <a:lnTo>
                  <a:pt x="1002189" y="77860"/>
                </a:lnTo>
                <a:lnTo>
                  <a:pt x="1007894" y="74439"/>
                </a:lnTo>
                <a:lnTo>
                  <a:pt x="1014242" y="72387"/>
                </a:lnTo>
                <a:lnTo>
                  <a:pt x="1021245" y="71704"/>
                </a:lnTo>
                <a:lnTo>
                  <a:pt x="1060451" y="71704"/>
                </a:lnTo>
                <a:lnTo>
                  <a:pt x="1058202" y="68211"/>
                </a:lnTo>
                <a:lnTo>
                  <a:pt x="1052370" y="62594"/>
                </a:lnTo>
                <a:lnTo>
                  <a:pt x="1045359" y="58581"/>
                </a:lnTo>
                <a:lnTo>
                  <a:pt x="1037181" y="56174"/>
                </a:lnTo>
                <a:lnTo>
                  <a:pt x="1027849" y="55372"/>
                </a:lnTo>
                <a:close/>
              </a:path>
              <a:path w="1209039" h="236854">
                <a:moveTo>
                  <a:pt x="1105573" y="208483"/>
                </a:moveTo>
                <a:lnTo>
                  <a:pt x="1105573" y="227888"/>
                </a:lnTo>
                <a:lnTo>
                  <a:pt x="1114312" y="231613"/>
                </a:lnTo>
                <a:lnTo>
                  <a:pt x="1123765" y="234272"/>
                </a:lnTo>
                <a:lnTo>
                  <a:pt x="1133933" y="235866"/>
                </a:lnTo>
                <a:lnTo>
                  <a:pt x="1144816" y="236397"/>
                </a:lnTo>
                <a:lnTo>
                  <a:pt x="1172799" y="232228"/>
                </a:lnTo>
                <a:lnTo>
                  <a:pt x="1192568" y="219837"/>
                </a:lnTo>
                <a:lnTo>
                  <a:pt x="1144562" y="219837"/>
                </a:lnTo>
                <a:lnTo>
                  <a:pt x="1135183" y="219127"/>
                </a:lnTo>
                <a:lnTo>
                  <a:pt x="1125543" y="216998"/>
                </a:lnTo>
                <a:lnTo>
                  <a:pt x="1115665" y="213450"/>
                </a:lnTo>
                <a:lnTo>
                  <a:pt x="1105573" y="208483"/>
                </a:lnTo>
                <a:close/>
              </a:path>
              <a:path w="1209039" h="236854">
                <a:moveTo>
                  <a:pt x="1208697" y="159016"/>
                </a:moveTo>
                <a:lnTo>
                  <a:pt x="1189393" y="159016"/>
                </a:lnTo>
                <a:lnTo>
                  <a:pt x="1189277" y="173132"/>
                </a:lnTo>
                <a:lnTo>
                  <a:pt x="1186585" y="193085"/>
                </a:lnTo>
                <a:lnTo>
                  <a:pt x="1178169" y="207948"/>
                </a:lnTo>
                <a:lnTo>
                  <a:pt x="1164157" y="216865"/>
                </a:lnTo>
                <a:lnTo>
                  <a:pt x="1144562" y="219837"/>
                </a:lnTo>
                <a:lnTo>
                  <a:pt x="1192568" y="219837"/>
                </a:lnTo>
                <a:lnTo>
                  <a:pt x="1192758" y="219717"/>
                </a:lnTo>
                <a:lnTo>
                  <a:pt x="1204716" y="198866"/>
                </a:lnTo>
                <a:lnTo>
                  <a:pt x="1208697" y="169672"/>
                </a:lnTo>
                <a:lnTo>
                  <a:pt x="1208697" y="159016"/>
                </a:lnTo>
                <a:close/>
              </a:path>
              <a:path w="1209039" h="236854">
                <a:moveTo>
                  <a:pt x="1152563" y="55372"/>
                </a:moveTo>
                <a:lnTo>
                  <a:pt x="1111923" y="73596"/>
                </a:lnTo>
                <a:lnTo>
                  <a:pt x="1097146" y="121399"/>
                </a:lnTo>
                <a:lnTo>
                  <a:pt x="1097189" y="124587"/>
                </a:lnTo>
                <a:lnTo>
                  <a:pt x="1110780" y="166065"/>
                </a:lnTo>
                <a:lnTo>
                  <a:pt x="1147229" y="182219"/>
                </a:lnTo>
                <a:lnTo>
                  <a:pt x="1160256" y="180769"/>
                </a:lnTo>
                <a:lnTo>
                  <a:pt x="1171533" y="176418"/>
                </a:lnTo>
                <a:lnTo>
                  <a:pt x="1181072" y="169167"/>
                </a:lnTo>
                <a:lnTo>
                  <a:pt x="1183597" y="165887"/>
                </a:lnTo>
                <a:lnTo>
                  <a:pt x="1152563" y="165887"/>
                </a:lnTo>
                <a:lnTo>
                  <a:pt x="1144889" y="165129"/>
                </a:lnTo>
                <a:lnTo>
                  <a:pt x="1117493" y="131007"/>
                </a:lnTo>
                <a:lnTo>
                  <a:pt x="1116876" y="121399"/>
                </a:lnTo>
                <a:lnTo>
                  <a:pt x="1117519" y="110281"/>
                </a:lnTo>
                <a:lnTo>
                  <a:pt x="1139243" y="74971"/>
                </a:lnTo>
                <a:lnTo>
                  <a:pt x="1155230" y="71704"/>
                </a:lnTo>
                <a:lnTo>
                  <a:pt x="1186296" y="71704"/>
                </a:lnTo>
                <a:lnTo>
                  <a:pt x="1182173" y="66425"/>
                </a:lnTo>
                <a:lnTo>
                  <a:pt x="1173867" y="60285"/>
                </a:lnTo>
                <a:lnTo>
                  <a:pt x="1163989" y="56600"/>
                </a:lnTo>
                <a:lnTo>
                  <a:pt x="1152563" y="55372"/>
                </a:lnTo>
                <a:close/>
              </a:path>
              <a:path w="1209039" h="236854">
                <a:moveTo>
                  <a:pt x="1186296" y="71704"/>
                </a:moveTo>
                <a:lnTo>
                  <a:pt x="1155230" y="71704"/>
                </a:lnTo>
                <a:lnTo>
                  <a:pt x="1162254" y="72347"/>
                </a:lnTo>
                <a:lnTo>
                  <a:pt x="1168660" y="74277"/>
                </a:lnTo>
                <a:lnTo>
                  <a:pt x="1189393" y="106730"/>
                </a:lnTo>
                <a:lnTo>
                  <a:pt x="1189393" y="124587"/>
                </a:lnTo>
                <a:lnTo>
                  <a:pt x="1173601" y="159366"/>
                </a:lnTo>
                <a:lnTo>
                  <a:pt x="1152563" y="165887"/>
                </a:lnTo>
                <a:lnTo>
                  <a:pt x="1183597" y="165887"/>
                </a:lnTo>
                <a:lnTo>
                  <a:pt x="1188885" y="159016"/>
                </a:lnTo>
                <a:lnTo>
                  <a:pt x="1208697" y="159016"/>
                </a:lnTo>
                <a:lnTo>
                  <a:pt x="1208697" y="75018"/>
                </a:lnTo>
                <a:lnTo>
                  <a:pt x="1188885" y="75018"/>
                </a:lnTo>
                <a:lnTo>
                  <a:pt x="1186296" y="71704"/>
                </a:lnTo>
                <a:close/>
              </a:path>
              <a:path w="1209039" h="236854">
                <a:moveTo>
                  <a:pt x="1208697" y="58216"/>
                </a:moveTo>
                <a:lnTo>
                  <a:pt x="1189393" y="58216"/>
                </a:lnTo>
                <a:lnTo>
                  <a:pt x="1189393" y="75018"/>
                </a:lnTo>
                <a:lnTo>
                  <a:pt x="1208697" y="75018"/>
                </a:lnTo>
                <a:lnTo>
                  <a:pt x="1208697" y="58216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8517" y="3881802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89" h="429895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D73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137442" y="3987845"/>
            <a:ext cx="282072" cy="196654"/>
          </a:xfrm>
          <a:custGeom>
            <a:avLst/>
            <a:gdLst/>
            <a:ahLst/>
            <a:cxnLst/>
            <a:rect l="l" t="t" r="r" b="b"/>
            <a:pathLst>
              <a:path w="383539" h="200660">
                <a:moveTo>
                  <a:pt x="82295" y="0"/>
                </a:moveTo>
                <a:lnTo>
                  <a:pt x="34147" y="13715"/>
                </a:lnTo>
                <a:lnTo>
                  <a:pt x="5524" y="52879"/>
                </a:lnTo>
                <a:lnTo>
                  <a:pt x="0" y="89661"/>
                </a:lnTo>
                <a:lnTo>
                  <a:pt x="1357" y="107809"/>
                </a:lnTo>
                <a:lnTo>
                  <a:pt x="21716" y="151510"/>
                </a:lnTo>
                <a:lnTo>
                  <a:pt x="62329" y="173888"/>
                </a:lnTo>
                <a:lnTo>
                  <a:pt x="79501" y="175386"/>
                </a:lnTo>
                <a:lnTo>
                  <a:pt x="97031" y="173864"/>
                </a:lnTo>
                <a:lnTo>
                  <a:pt x="112680" y="169306"/>
                </a:lnTo>
                <a:lnTo>
                  <a:pt x="126472" y="161724"/>
                </a:lnTo>
                <a:lnTo>
                  <a:pt x="131262" y="157479"/>
                </a:lnTo>
                <a:lnTo>
                  <a:pt x="79501" y="157479"/>
                </a:lnTo>
                <a:lnTo>
                  <a:pt x="67052" y="156287"/>
                </a:lnTo>
                <a:lnTo>
                  <a:pt x="29989" y="128014"/>
                </a:lnTo>
                <a:lnTo>
                  <a:pt x="20828" y="87883"/>
                </a:lnTo>
                <a:lnTo>
                  <a:pt x="21873" y="72947"/>
                </a:lnTo>
                <a:lnTo>
                  <a:pt x="37465" y="37210"/>
                </a:lnTo>
                <a:lnTo>
                  <a:pt x="80899" y="17906"/>
                </a:lnTo>
                <a:lnTo>
                  <a:pt x="132522" y="17906"/>
                </a:lnTo>
                <a:lnTo>
                  <a:pt x="127337" y="13287"/>
                </a:lnTo>
                <a:lnTo>
                  <a:pt x="114046" y="5905"/>
                </a:lnTo>
                <a:lnTo>
                  <a:pt x="99040" y="1476"/>
                </a:lnTo>
                <a:lnTo>
                  <a:pt x="82295" y="0"/>
                </a:lnTo>
                <a:close/>
              </a:path>
              <a:path w="383539" h="200660">
                <a:moveTo>
                  <a:pt x="132522" y="17906"/>
                </a:moveTo>
                <a:lnTo>
                  <a:pt x="80899" y="17906"/>
                </a:lnTo>
                <a:lnTo>
                  <a:pt x="93876" y="19069"/>
                </a:lnTo>
                <a:lnTo>
                  <a:pt x="105378" y="22542"/>
                </a:lnTo>
                <a:lnTo>
                  <a:pt x="135667" y="58435"/>
                </a:lnTo>
                <a:lnTo>
                  <a:pt x="139482" y="89661"/>
                </a:lnTo>
                <a:lnTo>
                  <a:pt x="138570" y="103741"/>
                </a:lnTo>
                <a:lnTo>
                  <a:pt x="123443" y="139191"/>
                </a:lnTo>
                <a:lnTo>
                  <a:pt x="79501" y="157479"/>
                </a:lnTo>
                <a:lnTo>
                  <a:pt x="131262" y="157479"/>
                </a:lnTo>
                <a:lnTo>
                  <a:pt x="154892" y="122681"/>
                </a:lnTo>
                <a:lnTo>
                  <a:pt x="160400" y="85470"/>
                </a:lnTo>
                <a:lnTo>
                  <a:pt x="159065" y="67306"/>
                </a:lnTo>
                <a:lnTo>
                  <a:pt x="155051" y="50926"/>
                </a:lnTo>
                <a:lnTo>
                  <a:pt x="148319" y="36321"/>
                </a:lnTo>
                <a:lnTo>
                  <a:pt x="138937" y="23621"/>
                </a:lnTo>
                <a:lnTo>
                  <a:pt x="132522" y="17906"/>
                </a:lnTo>
                <a:close/>
              </a:path>
              <a:path w="383539" h="200660">
                <a:moveTo>
                  <a:pt x="267969" y="2793"/>
                </a:moveTo>
                <a:lnTo>
                  <a:pt x="249555" y="2793"/>
                </a:lnTo>
                <a:lnTo>
                  <a:pt x="168401" y="200659"/>
                </a:lnTo>
                <a:lnTo>
                  <a:pt x="186562" y="200659"/>
                </a:lnTo>
                <a:lnTo>
                  <a:pt x="267969" y="2793"/>
                </a:lnTo>
                <a:close/>
              </a:path>
              <a:path w="383539" h="200660">
                <a:moveTo>
                  <a:pt x="280543" y="142239"/>
                </a:moveTo>
                <a:lnTo>
                  <a:pt x="280543" y="165607"/>
                </a:lnTo>
                <a:lnTo>
                  <a:pt x="282701" y="167131"/>
                </a:lnTo>
                <a:lnTo>
                  <a:pt x="285750" y="168528"/>
                </a:lnTo>
                <a:lnTo>
                  <a:pt x="289306" y="169671"/>
                </a:lnTo>
                <a:lnTo>
                  <a:pt x="292988" y="170941"/>
                </a:lnTo>
                <a:lnTo>
                  <a:pt x="296925" y="171957"/>
                </a:lnTo>
                <a:lnTo>
                  <a:pt x="300989" y="172719"/>
                </a:lnTo>
                <a:lnTo>
                  <a:pt x="305054" y="173608"/>
                </a:lnTo>
                <a:lnTo>
                  <a:pt x="309118" y="174243"/>
                </a:lnTo>
                <a:lnTo>
                  <a:pt x="313055" y="174624"/>
                </a:lnTo>
                <a:lnTo>
                  <a:pt x="316992" y="175132"/>
                </a:lnTo>
                <a:lnTo>
                  <a:pt x="320294" y="175386"/>
                </a:lnTo>
                <a:lnTo>
                  <a:pt x="331088" y="175386"/>
                </a:lnTo>
                <a:lnTo>
                  <a:pt x="338708" y="174497"/>
                </a:lnTo>
                <a:lnTo>
                  <a:pt x="345948" y="172846"/>
                </a:lnTo>
                <a:lnTo>
                  <a:pt x="353187" y="171322"/>
                </a:lnTo>
                <a:lnTo>
                  <a:pt x="359663" y="168655"/>
                </a:lnTo>
                <a:lnTo>
                  <a:pt x="370713" y="161416"/>
                </a:lnTo>
                <a:lnTo>
                  <a:pt x="374437" y="157479"/>
                </a:lnTo>
                <a:lnTo>
                  <a:pt x="322580" y="157479"/>
                </a:lnTo>
                <a:lnTo>
                  <a:pt x="318643" y="157098"/>
                </a:lnTo>
                <a:lnTo>
                  <a:pt x="314451" y="156336"/>
                </a:lnTo>
                <a:lnTo>
                  <a:pt x="310261" y="155701"/>
                </a:lnTo>
                <a:lnTo>
                  <a:pt x="306196" y="154685"/>
                </a:lnTo>
                <a:lnTo>
                  <a:pt x="302006" y="153415"/>
                </a:lnTo>
                <a:lnTo>
                  <a:pt x="297814" y="152018"/>
                </a:lnTo>
                <a:lnTo>
                  <a:pt x="293877" y="150494"/>
                </a:lnTo>
                <a:lnTo>
                  <a:pt x="290194" y="148589"/>
                </a:lnTo>
                <a:lnTo>
                  <a:pt x="286385" y="146684"/>
                </a:lnTo>
                <a:lnTo>
                  <a:pt x="283210" y="144525"/>
                </a:lnTo>
                <a:lnTo>
                  <a:pt x="280543" y="142239"/>
                </a:lnTo>
                <a:close/>
              </a:path>
              <a:path w="383539" h="200660">
                <a:moveTo>
                  <a:pt x="339725" y="0"/>
                </a:moveTo>
                <a:lnTo>
                  <a:pt x="332358" y="0"/>
                </a:lnTo>
                <a:lnTo>
                  <a:pt x="325119" y="888"/>
                </a:lnTo>
                <a:lnTo>
                  <a:pt x="289306" y="19430"/>
                </a:lnTo>
                <a:lnTo>
                  <a:pt x="280796" y="37591"/>
                </a:lnTo>
                <a:lnTo>
                  <a:pt x="280796" y="51561"/>
                </a:lnTo>
                <a:lnTo>
                  <a:pt x="311404" y="87629"/>
                </a:lnTo>
                <a:lnTo>
                  <a:pt x="328549" y="96519"/>
                </a:lnTo>
                <a:lnTo>
                  <a:pt x="333756" y="99186"/>
                </a:lnTo>
                <a:lnTo>
                  <a:pt x="338581" y="101853"/>
                </a:lnTo>
                <a:lnTo>
                  <a:pt x="343407" y="104393"/>
                </a:lnTo>
                <a:lnTo>
                  <a:pt x="347599" y="107060"/>
                </a:lnTo>
                <a:lnTo>
                  <a:pt x="354711" y="112648"/>
                </a:lnTo>
                <a:lnTo>
                  <a:pt x="357505" y="115696"/>
                </a:lnTo>
                <a:lnTo>
                  <a:pt x="361569" y="122554"/>
                </a:lnTo>
                <a:lnTo>
                  <a:pt x="362585" y="126491"/>
                </a:lnTo>
                <a:lnTo>
                  <a:pt x="362585" y="139572"/>
                </a:lnTo>
                <a:lnTo>
                  <a:pt x="326136" y="157479"/>
                </a:lnTo>
                <a:lnTo>
                  <a:pt x="374437" y="157479"/>
                </a:lnTo>
                <a:lnTo>
                  <a:pt x="375157" y="156717"/>
                </a:lnTo>
                <a:lnTo>
                  <a:pt x="381762" y="145033"/>
                </a:lnTo>
                <a:lnTo>
                  <a:pt x="383413" y="138048"/>
                </a:lnTo>
                <a:lnTo>
                  <a:pt x="383413" y="123316"/>
                </a:lnTo>
                <a:lnTo>
                  <a:pt x="382143" y="117728"/>
                </a:lnTo>
                <a:lnTo>
                  <a:pt x="379606" y="112648"/>
                </a:lnTo>
                <a:lnTo>
                  <a:pt x="377317" y="107949"/>
                </a:lnTo>
                <a:lnTo>
                  <a:pt x="344424" y="82041"/>
                </a:lnTo>
                <a:lnTo>
                  <a:pt x="332486" y="76072"/>
                </a:lnTo>
                <a:lnTo>
                  <a:pt x="327279" y="73405"/>
                </a:lnTo>
                <a:lnTo>
                  <a:pt x="318135" y="68579"/>
                </a:lnTo>
                <a:lnTo>
                  <a:pt x="314325" y="66039"/>
                </a:lnTo>
                <a:lnTo>
                  <a:pt x="311150" y="63372"/>
                </a:lnTo>
                <a:lnTo>
                  <a:pt x="307975" y="60832"/>
                </a:lnTo>
                <a:lnTo>
                  <a:pt x="305688" y="57911"/>
                </a:lnTo>
                <a:lnTo>
                  <a:pt x="302387" y="51561"/>
                </a:lnTo>
                <a:lnTo>
                  <a:pt x="301625" y="47878"/>
                </a:lnTo>
                <a:lnTo>
                  <a:pt x="301625" y="38861"/>
                </a:lnTo>
                <a:lnTo>
                  <a:pt x="302641" y="34924"/>
                </a:lnTo>
                <a:lnTo>
                  <a:pt x="304800" y="31749"/>
                </a:lnTo>
                <a:lnTo>
                  <a:pt x="306958" y="28447"/>
                </a:lnTo>
                <a:lnTo>
                  <a:pt x="333375" y="17906"/>
                </a:lnTo>
                <a:lnTo>
                  <a:pt x="376300" y="17906"/>
                </a:lnTo>
                <a:lnTo>
                  <a:pt x="376300" y="5968"/>
                </a:lnTo>
                <a:lnTo>
                  <a:pt x="369657" y="3375"/>
                </a:lnTo>
                <a:lnTo>
                  <a:pt x="361346" y="1508"/>
                </a:lnTo>
                <a:lnTo>
                  <a:pt x="351369" y="379"/>
                </a:lnTo>
                <a:lnTo>
                  <a:pt x="339725" y="0"/>
                </a:lnTo>
                <a:close/>
              </a:path>
              <a:path w="383539" h="200660">
                <a:moveTo>
                  <a:pt x="376300" y="17906"/>
                </a:moveTo>
                <a:lnTo>
                  <a:pt x="337693" y="17906"/>
                </a:lnTo>
                <a:lnTo>
                  <a:pt x="348958" y="18569"/>
                </a:lnTo>
                <a:lnTo>
                  <a:pt x="359140" y="20542"/>
                </a:lnTo>
                <a:lnTo>
                  <a:pt x="368250" y="23800"/>
                </a:lnTo>
                <a:lnTo>
                  <a:pt x="376300" y="28320"/>
                </a:lnTo>
                <a:lnTo>
                  <a:pt x="376300" y="17906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98517" y="3378467"/>
            <a:ext cx="1360858" cy="423180"/>
          </a:xfrm>
          <a:custGeom>
            <a:avLst/>
            <a:gdLst/>
            <a:ahLst/>
            <a:cxnLst/>
            <a:rect l="l" t="t" r="r" b="b"/>
            <a:pathLst>
              <a:path w="1850389" h="431800">
                <a:moveTo>
                  <a:pt x="0" y="431292"/>
                </a:moveTo>
                <a:lnTo>
                  <a:pt x="1850136" y="431292"/>
                </a:lnTo>
                <a:lnTo>
                  <a:pt x="1850136" y="0"/>
                </a:lnTo>
                <a:lnTo>
                  <a:pt x="0" y="0"/>
                </a:lnTo>
                <a:lnTo>
                  <a:pt x="0" y="431292"/>
                </a:lnTo>
                <a:close/>
              </a:path>
            </a:pathLst>
          </a:custGeom>
          <a:solidFill>
            <a:srgbClr val="D73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32897" y="3478039"/>
            <a:ext cx="900390" cy="178607"/>
          </a:xfrm>
          <a:custGeom>
            <a:avLst/>
            <a:gdLst/>
            <a:ahLst/>
            <a:cxnLst/>
            <a:rect l="l" t="t" r="r" b="b"/>
            <a:pathLst>
              <a:path w="1224280" h="182245">
                <a:moveTo>
                  <a:pt x="26263" y="9779"/>
                </a:moveTo>
                <a:lnTo>
                  <a:pt x="0" y="9779"/>
                </a:lnTo>
                <a:lnTo>
                  <a:pt x="0" y="179450"/>
                </a:lnTo>
                <a:lnTo>
                  <a:pt x="19164" y="179450"/>
                </a:lnTo>
                <a:lnTo>
                  <a:pt x="19106" y="55070"/>
                </a:lnTo>
                <a:lnTo>
                  <a:pt x="18922" y="45720"/>
                </a:lnTo>
                <a:lnTo>
                  <a:pt x="18639" y="38496"/>
                </a:lnTo>
                <a:lnTo>
                  <a:pt x="18224" y="32638"/>
                </a:lnTo>
                <a:lnTo>
                  <a:pt x="36328" y="32638"/>
                </a:lnTo>
                <a:lnTo>
                  <a:pt x="26263" y="9779"/>
                </a:lnTo>
                <a:close/>
              </a:path>
              <a:path w="1224280" h="182245">
                <a:moveTo>
                  <a:pt x="36328" y="32638"/>
                </a:moveTo>
                <a:lnTo>
                  <a:pt x="18694" y="32638"/>
                </a:lnTo>
                <a:lnTo>
                  <a:pt x="20434" y="40386"/>
                </a:lnTo>
                <a:lnTo>
                  <a:pt x="22123" y="46227"/>
                </a:lnTo>
                <a:lnTo>
                  <a:pt x="23787" y="50037"/>
                </a:lnTo>
                <a:lnTo>
                  <a:pt x="81648" y="179450"/>
                </a:lnTo>
                <a:lnTo>
                  <a:pt x="91338" y="179450"/>
                </a:lnTo>
                <a:lnTo>
                  <a:pt x="105109" y="148462"/>
                </a:lnTo>
                <a:lnTo>
                  <a:pt x="86144" y="148462"/>
                </a:lnTo>
                <a:lnTo>
                  <a:pt x="84950" y="143891"/>
                </a:lnTo>
                <a:lnTo>
                  <a:pt x="82346" y="137160"/>
                </a:lnTo>
                <a:lnTo>
                  <a:pt x="36328" y="32638"/>
                </a:lnTo>
                <a:close/>
              </a:path>
              <a:path w="1224280" h="182245">
                <a:moveTo>
                  <a:pt x="172923" y="32638"/>
                </a:moveTo>
                <a:lnTo>
                  <a:pt x="154889" y="32638"/>
                </a:lnTo>
                <a:lnTo>
                  <a:pt x="154149" y="41995"/>
                </a:lnTo>
                <a:lnTo>
                  <a:pt x="153635" y="50625"/>
                </a:lnTo>
                <a:lnTo>
                  <a:pt x="153335" y="58517"/>
                </a:lnTo>
                <a:lnTo>
                  <a:pt x="153238" y="179450"/>
                </a:lnTo>
                <a:lnTo>
                  <a:pt x="172923" y="179450"/>
                </a:lnTo>
                <a:lnTo>
                  <a:pt x="172923" y="32638"/>
                </a:lnTo>
                <a:close/>
              </a:path>
              <a:path w="1224280" h="182245">
                <a:moveTo>
                  <a:pt x="172923" y="9779"/>
                </a:moveTo>
                <a:lnTo>
                  <a:pt x="148158" y="9779"/>
                </a:lnTo>
                <a:lnTo>
                  <a:pt x="95008" y="127635"/>
                </a:lnTo>
                <a:lnTo>
                  <a:pt x="92963" y="132207"/>
                </a:lnTo>
                <a:lnTo>
                  <a:pt x="90246" y="139064"/>
                </a:lnTo>
                <a:lnTo>
                  <a:pt x="86842" y="148462"/>
                </a:lnTo>
                <a:lnTo>
                  <a:pt x="105109" y="148462"/>
                </a:lnTo>
                <a:lnTo>
                  <a:pt x="149301" y="49022"/>
                </a:lnTo>
                <a:lnTo>
                  <a:pt x="150825" y="45720"/>
                </a:lnTo>
                <a:lnTo>
                  <a:pt x="152476" y="40259"/>
                </a:lnTo>
                <a:lnTo>
                  <a:pt x="154381" y="32638"/>
                </a:lnTo>
                <a:lnTo>
                  <a:pt x="172923" y="32638"/>
                </a:lnTo>
                <a:lnTo>
                  <a:pt x="172923" y="9779"/>
                </a:lnTo>
                <a:close/>
              </a:path>
              <a:path w="1224280" h="182245">
                <a:moveTo>
                  <a:pt x="228803" y="2286"/>
                </a:moveTo>
                <a:lnTo>
                  <a:pt x="221818" y="2286"/>
                </a:lnTo>
                <a:lnTo>
                  <a:pt x="218897" y="3556"/>
                </a:lnTo>
                <a:lnTo>
                  <a:pt x="213944" y="8255"/>
                </a:lnTo>
                <a:lnTo>
                  <a:pt x="212674" y="11302"/>
                </a:lnTo>
                <a:lnTo>
                  <a:pt x="212674" y="18542"/>
                </a:lnTo>
                <a:lnTo>
                  <a:pt x="213944" y="21589"/>
                </a:lnTo>
                <a:lnTo>
                  <a:pt x="216357" y="24002"/>
                </a:lnTo>
                <a:lnTo>
                  <a:pt x="218897" y="26288"/>
                </a:lnTo>
                <a:lnTo>
                  <a:pt x="221818" y="27559"/>
                </a:lnTo>
                <a:lnTo>
                  <a:pt x="228803" y="27559"/>
                </a:lnTo>
                <a:lnTo>
                  <a:pt x="231851" y="26288"/>
                </a:lnTo>
                <a:lnTo>
                  <a:pt x="236804" y="21336"/>
                </a:lnTo>
                <a:lnTo>
                  <a:pt x="238018" y="18542"/>
                </a:lnTo>
                <a:lnTo>
                  <a:pt x="238074" y="11302"/>
                </a:lnTo>
                <a:lnTo>
                  <a:pt x="236804" y="8255"/>
                </a:lnTo>
                <a:lnTo>
                  <a:pt x="234264" y="5969"/>
                </a:lnTo>
                <a:lnTo>
                  <a:pt x="231851" y="3556"/>
                </a:lnTo>
                <a:lnTo>
                  <a:pt x="228803" y="2286"/>
                </a:lnTo>
                <a:close/>
              </a:path>
              <a:path w="1224280" h="182245">
                <a:moveTo>
                  <a:pt x="234772" y="58293"/>
                </a:moveTo>
                <a:lnTo>
                  <a:pt x="215341" y="58293"/>
                </a:lnTo>
                <a:lnTo>
                  <a:pt x="215341" y="179450"/>
                </a:lnTo>
                <a:lnTo>
                  <a:pt x="234772" y="179450"/>
                </a:lnTo>
                <a:lnTo>
                  <a:pt x="234772" y="58293"/>
                </a:lnTo>
                <a:close/>
              </a:path>
              <a:path w="1224280" h="182245">
                <a:moveTo>
                  <a:pt x="322021" y="55372"/>
                </a:moveTo>
                <a:lnTo>
                  <a:pt x="281635" y="73533"/>
                </a:lnTo>
                <a:lnTo>
                  <a:pt x="266522" y="121666"/>
                </a:lnTo>
                <a:lnTo>
                  <a:pt x="267377" y="134949"/>
                </a:lnTo>
                <a:lnTo>
                  <a:pt x="287540" y="173083"/>
                </a:lnTo>
                <a:lnTo>
                  <a:pt x="316687" y="182245"/>
                </a:lnTo>
                <a:lnTo>
                  <a:pt x="329857" y="180790"/>
                </a:lnTo>
                <a:lnTo>
                  <a:pt x="341182" y="176418"/>
                </a:lnTo>
                <a:lnTo>
                  <a:pt x="350673" y="169118"/>
                </a:lnTo>
                <a:lnTo>
                  <a:pt x="353017" y="165988"/>
                </a:lnTo>
                <a:lnTo>
                  <a:pt x="322275" y="165988"/>
                </a:lnTo>
                <a:lnTo>
                  <a:pt x="314490" y="165227"/>
                </a:lnTo>
                <a:lnTo>
                  <a:pt x="286951" y="130686"/>
                </a:lnTo>
                <a:lnTo>
                  <a:pt x="286334" y="120776"/>
                </a:lnTo>
                <a:lnTo>
                  <a:pt x="286975" y="109890"/>
                </a:lnTo>
                <a:lnTo>
                  <a:pt x="308606" y="74993"/>
                </a:lnTo>
                <a:lnTo>
                  <a:pt x="324434" y="71755"/>
                </a:lnTo>
                <a:lnTo>
                  <a:pt x="355826" y="71755"/>
                </a:lnTo>
                <a:lnTo>
                  <a:pt x="351792" y="66462"/>
                </a:lnTo>
                <a:lnTo>
                  <a:pt x="343563" y="60309"/>
                </a:lnTo>
                <a:lnTo>
                  <a:pt x="333643" y="56608"/>
                </a:lnTo>
                <a:lnTo>
                  <a:pt x="322021" y="55372"/>
                </a:lnTo>
                <a:close/>
              </a:path>
              <a:path w="1224280" h="182245">
                <a:moveTo>
                  <a:pt x="378155" y="158876"/>
                </a:moveTo>
                <a:lnTo>
                  <a:pt x="358724" y="158876"/>
                </a:lnTo>
                <a:lnTo>
                  <a:pt x="358724" y="179450"/>
                </a:lnTo>
                <a:lnTo>
                  <a:pt x="378155" y="179450"/>
                </a:lnTo>
                <a:lnTo>
                  <a:pt x="378155" y="158876"/>
                </a:lnTo>
                <a:close/>
              </a:path>
              <a:path w="1224280" h="182245">
                <a:moveTo>
                  <a:pt x="355826" y="71755"/>
                </a:moveTo>
                <a:lnTo>
                  <a:pt x="324434" y="71755"/>
                </a:lnTo>
                <a:lnTo>
                  <a:pt x="331552" y="72395"/>
                </a:lnTo>
                <a:lnTo>
                  <a:pt x="338039" y="74310"/>
                </a:lnTo>
                <a:lnTo>
                  <a:pt x="358724" y="106807"/>
                </a:lnTo>
                <a:lnTo>
                  <a:pt x="358724" y="124587"/>
                </a:lnTo>
                <a:lnTo>
                  <a:pt x="337054" y="163036"/>
                </a:lnTo>
                <a:lnTo>
                  <a:pt x="322275" y="165988"/>
                </a:lnTo>
                <a:lnTo>
                  <a:pt x="353017" y="165988"/>
                </a:lnTo>
                <a:lnTo>
                  <a:pt x="358343" y="158876"/>
                </a:lnTo>
                <a:lnTo>
                  <a:pt x="378155" y="158876"/>
                </a:lnTo>
                <a:lnTo>
                  <a:pt x="378155" y="75057"/>
                </a:lnTo>
                <a:lnTo>
                  <a:pt x="358343" y="75057"/>
                </a:lnTo>
                <a:lnTo>
                  <a:pt x="355826" y="71755"/>
                </a:lnTo>
                <a:close/>
              </a:path>
              <a:path w="1224280" h="182245">
                <a:moveTo>
                  <a:pt x="378155" y="0"/>
                </a:moveTo>
                <a:lnTo>
                  <a:pt x="358724" y="0"/>
                </a:lnTo>
                <a:lnTo>
                  <a:pt x="358724" y="75057"/>
                </a:lnTo>
                <a:lnTo>
                  <a:pt x="378155" y="75057"/>
                </a:lnTo>
                <a:lnTo>
                  <a:pt x="378155" y="0"/>
                </a:lnTo>
                <a:close/>
              </a:path>
              <a:path w="1224280" h="182245">
                <a:moveTo>
                  <a:pt x="465277" y="55372"/>
                </a:moveTo>
                <a:lnTo>
                  <a:pt x="424891" y="73533"/>
                </a:lnTo>
                <a:lnTo>
                  <a:pt x="409778" y="121666"/>
                </a:lnTo>
                <a:lnTo>
                  <a:pt x="410633" y="134949"/>
                </a:lnTo>
                <a:lnTo>
                  <a:pt x="430796" y="173083"/>
                </a:lnTo>
                <a:lnTo>
                  <a:pt x="459943" y="182245"/>
                </a:lnTo>
                <a:lnTo>
                  <a:pt x="473113" y="180790"/>
                </a:lnTo>
                <a:lnTo>
                  <a:pt x="484438" y="176418"/>
                </a:lnTo>
                <a:lnTo>
                  <a:pt x="493929" y="169118"/>
                </a:lnTo>
                <a:lnTo>
                  <a:pt x="496273" y="165988"/>
                </a:lnTo>
                <a:lnTo>
                  <a:pt x="465531" y="165988"/>
                </a:lnTo>
                <a:lnTo>
                  <a:pt x="457746" y="165227"/>
                </a:lnTo>
                <a:lnTo>
                  <a:pt x="430207" y="130686"/>
                </a:lnTo>
                <a:lnTo>
                  <a:pt x="429590" y="120776"/>
                </a:lnTo>
                <a:lnTo>
                  <a:pt x="430231" y="109890"/>
                </a:lnTo>
                <a:lnTo>
                  <a:pt x="451862" y="74993"/>
                </a:lnTo>
                <a:lnTo>
                  <a:pt x="467690" y="71755"/>
                </a:lnTo>
                <a:lnTo>
                  <a:pt x="499082" y="71755"/>
                </a:lnTo>
                <a:lnTo>
                  <a:pt x="495048" y="66462"/>
                </a:lnTo>
                <a:lnTo>
                  <a:pt x="486819" y="60309"/>
                </a:lnTo>
                <a:lnTo>
                  <a:pt x="476899" y="56608"/>
                </a:lnTo>
                <a:lnTo>
                  <a:pt x="465277" y="55372"/>
                </a:lnTo>
                <a:close/>
              </a:path>
              <a:path w="1224280" h="182245">
                <a:moveTo>
                  <a:pt x="521411" y="158876"/>
                </a:moveTo>
                <a:lnTo>
                  <a:pt x="501980" y="158876"/>
                </a:lnTo>
                <a:lnTo>
                  <a:pt x="501980" y="179450"/>
                </a:lnTo>
                <a:lnTo>
                  <a:pt x="521411" y="179450"/>
                </a:lnTo>
                <a:lnTo>
                  <a:pt x="521411" y="158876"/>
                </a:lnTo>
                <a:close/>
              </a:path>
              <a:path w="1224280" h="182245">
                <a:moveTo>
                  <a:pt x="499082" y="71755"/>
                </a:moveTo>
                <a:lnTo>
                  <a:pt x="467690" y="71755"/>
                </a:lnTo>
                <a:lnTo>
                  <a:pt x="474808" y="72395"/>
                </a:lnTo>
                <a:lnTo>
                  <a:pt x="481295" y="74310"/>
                </a:lnTo>
                <a:lnTo>
                  <a:pt x="501980" y="106807"/>
                </a:lnTo>
                <a:lnTo>
                  <a:pt x="501980" y="124587"/>
                </a:lnTo>
                <a:lnTo>
                  <a:pt x="480310" y="163036"/>
                </a:lnTo>
                <a:lnTo>
                  <a:pt x="465531" y="165988"/>
                </a:lnTo>
                <a:lnTo>
                  <a:pt x="496273" y="165988"/>
                </a:lnTo>
                <a:lnTo>
                  <a:pt x="501599" y="158876"/>
                </a:lnTo>
                <a:lnTo>
                  <a:pt x="521411" y="158876"/>
                </a:lnTo>
                <a:lnTo>
                  <a:pt x="521411" y="75057"/>
                </a:lnTo>
                <a:lnTo>
                  <a:pt x="501599" y="75057"/>
                </a:lnTo>
                <a:lnTo>
                  <a:pt x="499082" y="71755"/>
                </a:lnTo>
                <a:close/>
              </a:path>
              <a:path w="1224280" h="182245">
                <a:moveTo>
                  <a:pt x="521411" y="0"/>
                </a:moveTo>
                <a:lnTo>
                  <a:pt x="501980" y="0"/>
                </a:lnTo>
                <a:lnTo>
                  <a:pt x="501980" y="75057"/>
                </a:lnTo>
                <a:lnTo>
                  <a:pt x="521411" y="75057"/>
                </a:lnTo>
                <a:lnTo>
                  <a:pt x="521411" y="0"/>
                </a:lnTo>
                <a:close/>
              </a:path>
              <a:path w="1224280" h="182245">
                <a:moveTo>
                  <a:pt x="580720" y="0"/>
                </a:moveTo>
                <a:lnTo>
                  <a:pt x="561289" y="0"/>
                </a:lnTo>
                <a:lnTo>
                  <a:pt x="561289" y="179450"/>
                </a:lnTo>
                <a:lnTo>
                  <a:pt x="580720" y="179450"/>
                </a:lnTo>
                <a:lnTo>
                  <a:pt x="580720" y="0"/>
                </a:lnTo>
                <a:close/>
              </a:path>
              <a:path w="1224280" h="182245">
                <a:moveTo>
                  <a:pt x="668223" y="55372"/>
                </a:moveTo>
                <a:lnTo>
                  <a:pt x="628472" y="73279"/>
                </a:lnTo>
                <a:lnTo>
                  <a:pt x="612470" y="119380"/>
                </a:lnTo>
                <a:lnTo>
                  <a:pt x="613377" y="133498"/>
                </a:lnTo>
                <a:lnTo>
                  <a:pt x="635100" y="172975"/>
                </a:lnTo>
                <a:lnTo>
                  <a:pt x="667461" y="182245"/>
                </a:lnTo>
                <a:lnTo>
                  <a:pt x="679962" y="181528"/>
                </a:lnTo>
                <a:lnTo>
                  <a:pt x="691178" y="179371"/>
                </a:lnTo>
                <a:lnTo>
                  <a:pt x="701108" y="175762"/>
                </a:lnTo>
                <a:lnTo>
                  <a:pt x="709752" y="170687"/>
                </a:lnTo>
                <a:lnTo>
                  <a:pt x="709752" y="165988"/>
                </a:lnTo>
                <a:lnTo>
                  <a:pt x="672033" y="165988"/>
                </a:lnTo>
                <a:lnTo>
                  <a:pt x="663442" y="165298"/>
                </a:lnTo>
                <a:lnTo>
                  <a:pt x="633421" y="133223"/>
                </a:lnTo>
                <a:lnTo>
                  <a:pt x="632536" y="123698"/>
                </a:lnTo>
                <a:lnTo>
                  <a:pt x="718134" y="123698"/>
                </a:lnTo>
                <a:lnTo>
                  <a:pt x="718134" y="113537"/>
                </a:lnTo>
                <a:lnTo>
                  <a:pt x="717736" y="107187"/>
                </a:lnTo>
                <a:lnTo>
                  <a:pt x="632790" y="107187"/>
                </a:lnTo>
                <a:lnTo>
                  <a:pt x="634385" y="99661"/>
                </a:lnTo>
                <a:lnTo>
                  <a:pt x="658825" y="71755"/>
                </a:lnTo>
                <a:lnTo>
                  <a:pt x="705662" y="71755"/>
                </a:lnTo>
                <a:lnTo>
                  <a:pt x="705053" y="70866"/>
                </a:lnTo>
                <a:lnTo>
                  <a:pt x="697887" y="64105"/>
                </a:lnTo>
                <a:lnTo>
                  <a:pt x="689352" y="59261"/>
                </a:lnTo>
                <a:lnTo>
                  <a:pt x="679460" y="56346"/>
                </a:lnTo>
                <a:lnTo>
                  <a:pt x="668223" y="55372"/>
                </a:lnTo>
                <a:close/>
              </a:path>
              <a:path w="1224280" h="182245">
                <a:moveTo>
                  <a:pt x="709752" y="152400"/>
                </a:moveTo>
                <a:lnTo>
                  <a:pt x="700911" y="158327"/>
                </a:lnTo>
                <a:lnTo>
                  <a:pt x="691702" y="162575"/>
                </a:lnTo>
                <a:lnTo>
                  <a:pt x="682088" y="165133"/>
                </a:lnTo>
                <a:lnTo>
                  <a:pt x="672033" y="165988"/>
                </a:lnTo>
                <a:lnTo>
                  <a:pt x="709752" y="165988"/>
                </a:lnTo>
                <a:lnTo>
                  <a:pt x="709752" y="152400"/>
                </a:lnTo>
                <a:close/>
              </a:path>
              <a:path w="1224280" h="182245">
                <a:moveTo>
                  <a:pt x="705662" y="71755"/>
                </a:moveTo>
                <a:lnTo>
                  <a:pt x="677367" y="71755"/>
                </a:lnTo>
                <a:lnTo>
                  <a:pt x="684733" y="74930"/>
                </a:lnTo>
                <a:lnTo>
                  <a:pt x="690067" y="81152"/>
                </a:lnTo>
                <a:lnTo>
                  <a:pt x="693587" y="86274"/>
                </a:lnTo>
                <a:lnTo>
                  <a:pt x="696131" y="92313"/>
                </a:lnTo>
                <a:lnTo>
                  <a:pt x="697675" y="99280"/>
                </a:lnTo>
                <a:lnTo>
                  <a:pt x="698195" y="107187"/>
                </a:lnTo>
                <a:lnTo>
                  <a:pt x="717736" y="107187"/>
                </a:lnTo>
                <a:lnTo>
                  <a:pt x="717322" y="100583"/>
                </a:lnTo>
                <a:lnTo>
                  <a:pt x="714879" y="89153"/>
                </a:lnTo>
                <a:lnTo>
                  <a:pt x="710793" y="79248"/>
                </a:lnTo>
                <a:lnTo>
                  <a:pt x="705662" y="71755"/>
                </a:lnTo>
                <a:close/>
              </a:path>
              <a:path w="1224280" h="182245">
                <a:moveTo>
                  <a:pt x="750773" y="58293"/>
                </a:moveTo>
                <a:lnTo>
                  <a:pt x="730453" y="58293"/>
                </a:lnTo>
                <a:lnTo>
                  <a:pt x="767029" y="179450"/>
                </a:lnTo>
                <a:lnTo>
                  <a:pt x="786460" y="179450"/>
                </a:lnTo>
                <a:lnTo>
                  <a:pt x="792453" y="160274"/>
                </a:lnTo>
                <a:lnTo>
                  <a:pt x="777443" y="160274"/>
                </a:lnTo>
                <a:lnTo>
                  <a:pt x="777189" y="155701"/>
                </a:lnTo>
                <a:lnTo>
                  <a:pt x="776681" y="152146"/>
                </a:lnTo>
                <a:lnTo>
                  <a:pt x="775722" y="149098"/>
                </a:lnTo>
                <a:lnTo>
                  <a:pt x="750773" y="58293"/>
                </a:lnTo>
                <a:close/>
              </a:path>
              <a:path w="1224280" h="182245">
                <a:moveTo>
                  <a:pt x="832576" y="81407"/>
                </a:moveTo>
                <a:lnTo>
                  <a:pt x="816559" y="81407"/>
                </a:lnTo>
                <a:lnTo>
                  <a:pt x="816813" y="85598"/>
                </a:lnTo>
                <a:lnTo>
                  <a:pt x="817448" y="89408"/>
                </a:lnTo>
                <a:lnTo>
                  <a:pt x="818464" y="92710"/>
                </a:lnTo>
                <a:lnTo>
                  <a:pt x="843356" y="179450"/>
                </a:lnTo>
                <a:lnTo>
                  <a:pt x="863549" y="179450"/>
                </a:lnTo>
                <a:lnTo>
                  <a:pt x="869222" y="160527"/>
                </a:lnTo>
                <a:lnTo>
                  <a:pt x="853135" y="160527"/>
                </a:lnTo>
                <a:lnTo>
                  <a:pt x="852754" y="156210"/>
                </a:lnTo>
                <a:lnTo>
                  <a:pt x="852119" y="152526"/>
                </a:lnTo>
                <a:lnTo>
                  <a:pt x="851217" y="149098"/>
                </a:lnTo>
                <a:lnTo>
                  <a:pt x="832576" y="81407"/>
                </a:lnTo>
                <a:close/>
              </a:path>
              <a:path w="1224280" h="182245">
                <a:moveTo>
                  <a:pt x="899871" y="58293"/>
                </a:moveTo>
                <a:lnTo>
                  <a:pt x="880694" y="58293"/>
                </a:lnTo>
                <a:lnTo>
                  <a:pt x="854913" y="153797"/>
                </a:lnTo>
                <a:lnTo>
                  <a:pt x="854151" y="157352"/>
                </a:lnTo>
                <a:lnTo>
                  <a:pt x="854024" y="160527"/>
                </a:lnTo>
                <a:lnTo>
                  <a:pt x="869222" y="160527"/>
                </a:lnTo>
                <a:lnTo>
                  <a:pt x="899871" y="58293"/>
                </a:lnTo>
                <a:close/>
              </a:path>
              <a:path w="1224280" h="182245">
                <a:moveTo>
                  <a:pt x="826211" y="58293"/>
                </a:moveTo>
                <a:lnTo>
                  <a:pt x="808558" y="58293"/>
                </a:lnTo>
                <a:lnTo>
                  <a:pt x="780454" y="149606"/>
                </a:lnTo>
                <a:lnTo>
                  <a:pt x="779348" y="153035"/>
                </a:lnTo>
                <a:lnTo>
                  <a:pt x="778713" y="156845"/>
                </a:lnTo>
                <a:lnTo>
                  <a:pt x="778459" y="160274"/>
                </a:lnTo>
                <a:lnTo>
                  <a:pt x="792453" y="160274"/>
                </a:lnTo>
                <a:lnTo>
                  <a:pt x="815035" y="88011"/>
                </a:lnTo>
                <a:lnTo>
                  <a:pt x="815797" y="84327"/>
                </a:lnTo>
                <a:lnTo>
                  <a:pt x="816051" y="81407"/>
                </a:lnTo>
                <a:lnTo>
                  <a:pt x="832576" y="81407"/>
                </a:lnTo>
                <a:lnTo>
                  <a:pt x="826211" y="58293"/>
                </a:lnTo>
                <a:close/>
              </a:path>
              <a:path w="1224280" h="182245">
                <a:moveTo>
                  <a:pt x="1001406" y="71755"/>
                </a:moveTo>
                <a:lnTo>
                  <a:pt x="964768" y="71755"/>
                </a:lnTo>
                <a:lnTo>
                  <a:pt x="975749" y="73683"/>
                </a:lnTo>
                <a:lnTo>
                  <a:pt x="983564" y="79470"/>
                </a:lnTo>
                <a:lnTo>
                  <a:pt x="988235" y="89114"/>
                </a:lnTo>
                <a:lnTo>
                  <a:pt x="989787" y="102616"/>
                </a:lnTo>
                <a:lnTo>
                  <a:pt x="953465" y="107696"/>
                </a:lnTo>
                <a:lnTo>
                  <a:pt x="935963" y="112242"/>
                </a:lnTo>
                <a:lnTo>
                  <a:pt x="923461" y="120348"/>
                </a:lnTo>
                <a:lnTo>
                  <a:pt x="915960" y="132002"/>
                </a:lnTo>
                <a:lnTo>
                  <a:pt x="913460" y="147193"/>
                </a:lnTo>
                <a:lnTo>
                  <a:pt x="914103" y="154771"/>
                </a:lnTo>
                <a:lnTo>
                  <a:pt x="943499" y="181649"/>
                </a:lnTo>
                <a:lnTo>
                  <a:pt x="952068" y="182245"/>
                </a:lnTo>
                <a:lnTo>
                  <a:pt x="963615" y="180887"/>
                </a:lnTo>
                <a:lnTo>
                  <a:pt x="973674" y="176815"/>
                </a:lnTo>
                <a:lnTo>
                  <a:pt x="982232" y="170029"/>
                </a:lnTo>
                <a:lnTo>
                  <a:pt x="985229" y="165988"/>
                </a:lnTo>
                <a:lnTo>
                  <a:pt x="949528" y="165988"/>
                </a:lnTo>
                <a:lnTo>
                  <a:pt x="943940" y="164084"/>
                </a:lnTo>
                <a:lnTo>
                  <a:pt x="935431" y="156591"/>
                </a:lnTo>
                <a:lnTo>
                  <a:pt x="933399" y="151764"/>
                </a:lnTo>
                <a:lnTo>
                  <a:pt x="933414" y="137630"/>
                </a:lnTo>
                <a:lnTo>
                  <a:pt x="989787" y="118110"/>
                </a:lnTo>
                <a:lnTo>
                  <a:pt x="1009218" y="118110"/>
                </a:lnTo>
                <a:lnTo>
                  <a:pt x="1009218" y="100584"/>
                </a:lnTo>
                <a:lnTo>
                  <a:pt x="1006549" y="80821"/>
                </a:lnTo>
                <a:lnTo>
                  <a:pt x="1001406" y="71755"/>
                </a:lnTo>
                <a:close/>
              </a:path>
              <a:path w="1224280" h="182245">
                <a:moveTo>
                  <a:pt x="1009218" y="160527"/>
                </a:moveTo>
                <a:lnTo>
                  <a:pt x="989787" y="160527"/>
                </a:lnTo>
                <a:lnTo>
                  <a:pt x="989787" y="179450"/>
                </a:lnTo>
                <a:lnTo>
                  <a:pt x="1009218" y="179450"/>
                </a:lnTo>
                <a:lnTo>
                  <a:pt x="1009218" y="160527"/>
                </a:lnTo>
                <a:close/>
              </a:path>
              <a:path w="1224280" h="182245">
                <a:moveTo>
                  <a:pt x="1009218" y="118110"/>
                </a:moveTo>
                <a:lnTo>
                  <a:pt x="989787" y="118110"/>
                </a:lnTo>
                <a:lnTo>
                  <a:pt x="989787" y="130175"/>
                </a:lnTo>
                <a:lnTo>
                  <a:pt x="989183" y="137668"/>
                </a:lnTo>
                <a:lnTo>
                  <a:pt x="956513" y="165988"/>
                </a:lnTo>
                <a:lnTo>
                  <a:pt x="985229" y="165988"/>
                </a:lnTo>
                <a:lnTo>
                  <a:pt x="989279" y="160527"/>
                </a:lnTo>
                <a:lnTo>
                  <a:pt x="1009218" y="160527"/>
                </a:lnTo>
                <a:lnTo>
                  <a:pt x="1009218" y="118110"/>
                </a:lnTo>
                <a:close/>
              </a:path>
              <a:path w="1224280" h="182245">
                <a:moveTo>
                  <a:pt x="966419" y="55372"/>
                </a:moveTo>
                <a:lnTo>
                  <a:pt x="955132" y="56086"/>
                </a:lnTo>
                <a:lnTo>
                  <a:pt x="944511" y="58229"/>
                </a:lnTo>
                <a:lnTo>
                  <a:pt x="934558" y="61801"/>
                </a:lnTo>
                <a:lnTo>
                  <a:pt x="925271" y="66801"/>
                </a:lnTo>
                <a:lnTo>
                  <a:pt x="925271" y="86613"/>
                </a:lnTo>
                <a:lnTo>
                  <a:pt x="934389" y="80113"/>
                </a:lnTo>
                <a:lnTo>
                  <a:pt x="944019" y="75469"/>
                </a:lnTo>
                <a:lnTo>
                  <a:pt x="954149" y="72683"/>
                </a:lnTo>
                <a:lnTo>
                  <a:pt x="964768" y="71755"/>
                </a:lnTo>
                <a:lnTo>
                  <a:pt x="1001406" y="71755"/>
                </a:lnTo>
                <a:lnTo>
                  <a:pt x="998534" y="66690"/>
                </a:lnTo>
                <a:lnTo>
                  <a:pt x="985161" y="58203"/>
                </a:lnTo>
                <a:lnTo>
                  <a:pt x="966419" y="55372"/>
                </a:lnTo>
                <a:close/>
              </a:path>
              <a:path w="1224280" h="182245">
                <a:moveTo>
                  <a:pt x="1065352" y="58293"/>
                </a:moveTo>
                <a:lnTo>
                  <a:pt x="1045921" y="58293"/>
                </a:lnTo>
                <a:lnTo>
                  <a:pt x="1045921" y="179450"/>
                </a:lnTo>
                <a:lnTo>
                  <a:pt x="1065352" y="179450"/>
                </a:lnTo>
                <a:lnTo>
                  <a:pt x="1065352" y="117601"/>
                </a:lnTo>
                <a:lnTo>
                  <a:pt x="1065874" y="108031"/>
                </a:lnTo>
                <a:lnTo>
                  <a:pt x="1067431" y="99520"/>
                </a:lnTo>
                <a:lnTo>
                  <a:pt x="1070013" y="92080"/>
                </a:lnTo>
                <a:lnTo>
                  <a:pt x="1073607" y="85725"/>
                </a:lnTo>
                <a:lnTo>
                  <a:pt x="1075409" y="83185"/>
                </a:lnTo>
                <a:lnTo>
                  <a:pt x="1065352" y="83185"/>
                </a:lnTo>
                <a:lnTo>
                  <a:pt x="1065352" y="58293"/>
                </a:lnTo>
                <a:close/>
              </a:path>
              <a:path w="1224280" h="182245">
                <a:moveTo>
                  <a:pt x="1102563" y="56134"/>
                </a:moveTo>
                <a:lnTo>
                  <a:pt x="1090498" y="56134"/>
                </a:lnTo>
                <a:lnTo>
                  <a:pt x="1084148" y="58547"/>
                </a:lnTo>
                <a:lnTo>
                  <a:pt x="1078433" y="63246"/>
                </a:lnTo>
                <a:lnTo>
                  <a:pt x="1072718" y="68072"/>
                </a:lnTo>
                <a:lnTo>
                  <a:pt x="1068527" y="74675"/>
                </a:lnTo>
                <a:lnTo>
                  <a:pt x="1065733" y="83185"/>
                </a:lnTo>
                <a:lnTo>
                  <a:pt x="1075409" y="83185"/>
                </a:lnTo>
                <a:lnTo>
                  <a:pt x="1079195" y="77850"/>
                </a:lnTo>
                <a:lnTo>
                  <a:pt x="1086180" y="74041"/>
                </a:lnTo>
                <a:lnTo>
                  <a:pt x="1109040" y="74041"/>
                </a:lnTo>
                <a:lnTo>
                  <a:pt x="1109040" y="57785"/>
                </a:lnTo>
                <a:lnTo>
                  <a:pt x="1106373" y="56642"/>
                </a:lnTo>
                <a:lnTo>
                  <a:pt x="1102563" y="56134"/>
                </a:lnTo>
                <a:close/>
              </a:path>
              <a:path w="1224280" h="182245">
                <a:moveTo>
                  <a:pt x="1109040" y="74041"/>
                </a:moveTo>
                <a:lnTo>
                  <a:pt x="1100785" y="74041"/>
                </a:lnTo>
                <a:lnTo>
                  <a:pt x="1105738" y="75311"/>
                </a:lnTo>
                <a:lnTo>
                  <a:pt x="1109040" y="77850"/>
                </a:lnTo>
                <a:lnTo>
                  <a:pt x="1109040" y="74041"/>
                </a:lnTo>
                <a:close/>
              </a:path>
              <a:path w="1224280" h="182245">
                <a:moveTo>
                  <a:pt x="1174191" y="55372"/>
                </a:moveTo>
                <a:lnTo>
                  <a:pt x="1134440" y="73279"/>
                </a:lnTo>
                <a:lnTo>
                  <a:pt x="1118438" y="119380"/>
                </a:lnTo>
                <a:lnTo>
                  <a:pt x="1119345" y="133498"/>
                </a:lnTo>
                <a:lnTo>
                  <a:pt x="1141068" y="172975"/>
                </a:lnTo>
                <a:lnTo>
                  <a:pt x="1173429" y="182245"/>
                </a:lnTo>
                <a:lnTo>
                  <a:pt x="1185930" y="181528"/>
                </a:lnTo>
                <a:lnTo>
                  <a:pt x="1197146" y="179371"/>
                </a:lnTo>
                <a:lnTo>
                  <a:pt x="1207076" y="175762"/>
                </a:lnTo>
                <a:lnTo>
                  <a:pt x="1215720" y="170687"/>
                </a:lnTo>
                <a:lnTo>
                  <a:pt x="1215720" y="165988"/>
                </a:lnTo>
                <a:lnTo>
                  <a:pt x="1178001" y="165988"/>
                </a:lnTo>
                <a:lnTo>
                  <a:pt x="1169410" y="165298"/>
                </a:lnTo>
                <a:lnTo>
                  <a:pt x="1139389" y="133223"/>
                </a:lnTo>
                <a:lnTo>
                  <a:pt x="1138504" y="123698"/>
                </a:lnTo>
                <a:lnTo>
                  <a:pt x="1224102" y="123698"/>
                </a:lnTo>
                <a:lnTo>
                  <a:pt x="1224102" y="113537"/>
                </a:lnTo>
                <a:lnTo>
                  <a:pt x="1223704" y="107187"/>
                </a:lnTo>
                <a:lnTo>
                  <a:pt x="1138758" y="107187"/>
                </a:lnTo>
                <a:lnTo>
                  <a:pt x="1140353" y="99661"/>
                </a:lnTo>
                <a:lnTo>
                  <a:pt x="1164793" y="71755"/>
                </a:lnTo>
                <a:lnTo>
                  <a:pt x="1211630" y="71755"/>
                </a:lnTo>
                <a:lnTo>
                  <a:pt x="1211021" y="70866"/>
                </a:lnTo>
                <a:lnTo>
                  <a:pt x="1203855" y="64105"/>
                </a:lnTo>
                <a:lnTo>
                  <a:pt x="1195320" y="59261"/>
                </a:lnTo>
                <a:lnTo>
                  <a:pt x="1185428" y="56346"/>
                </a:lnTo>
                <a:lnTo>
                  <a:pt x="1174191" y="55372"/>
                </a:lnTo>
                <a:close/>
              </a:path>
              <a:path w="1224280" h="182245">
                <a:moveTo>
                  <a:pt x="1215720" y="152400"/>
                </a:moveTo>
                <a:lnTo>
                  <a:pt x="1206879" y="158327"/>
                </a:lnTo>
                <a:lnTo>
                  <a:pt x="1197670" y="162575"/>
                </a:lnTo>
                <a:lnTo>
                  <a:pt x="1188056" y="165133"/>
                </a:lnTo>
                <a:lnTo>
                  <a:pt x="1178001" y="165988"/>
                </a:lnTo>
                <a:lnTo>
                  <a:pt x="1215720" y="165988"/>
                </a:lnTo>
                <a:lnTo>
                  <a:pt x="1215720" y="152400"/>
                </a:lnTo>
                <a:close/>
              </a:path>
              <a:path w="1224280" h="182245">
                <a:moveTo>
                  <a:pt x="1211630" y="71755"/>
                </a:moveTo>
                <a:lnTo>
                  <a:pt x="1183335" y="71755"/>
                </a:lnTo>
                <a:lnTo>
                  <a:pt x="1190701" y="74930"/>
                </a:lnTo>
                <a:lnTo>
                  <a:pt x="1196035" y="81152"/>
                </a:lnTo>
                <a:lnTo>
                  <a:pt x="1199555" y="86274"/>
                </a:lnTo>
                <a:lnTo>
                  <a:pt x="1202099" y="92313"/>
                </a:lnTo>
                <a:lnTo>
                  <a:pt x="1203643" y="99280"/>
                </a:lnTo>
                <a:lnTo>
                  <a:pt x="1204163" y="107187"/>
                </a:lnTo>
                <a:lnTo>
                  <a:pt x="1223704" y="107187"/>
                </a:lnTo>
                <a:lnTo>
                  <a:pt x="1223290" y="100583"/>
                </a:lnTo>
                <a:lnTo>
                  <a:pt x="1220847" y="89153"/>
                </a:lnTo>
                <a:lnTo>
                  <a:pt x="1216761" y="79248"/>
                </a:lnTo>
                <a:lnTo>
                  <a:pt x="1211630" y="71755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98517" y="4385136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89" h="429895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D73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760502" y="4484086"/>
            <a:ext cx="1027416" cy="178607"/>
          </a:xfrm>
          <a:custGeom>
            <a:avLst/>
            <a:gdLst/>
            <a:ahLst/>
            <a:cxnLst/>
            <a:rect l="l" t="t" r="r" b="b"/>
            <a:pathLst>
              <a:path w="1397000" h="182245">
                <a:moveTo>
                  <a:pt x="22123" y="9778"/>
                </a:moveTo>
                <a:lnTo>
                  <a:pt x="0" y="9778"/>
                </a:lnTo>
                <a:lnTo>
                  <a:pt x="61518" y="179450"/>
                </a:lnTo>
                <a:lnTo>
                  <a:pt x="83413" y="179450"/>
                </a:lnTo>
                <a:lnTo>
                  <a:pt x="90890" y="159257"/>
                </a:lnTo>
                <a:lnTo>
                  <a:pt x="72529" y="159257"/>
                </a:lnTo>
                <a:lnTo>
                  <a:pt x="71742" y="153542"/>
                </a:lnTo>
                <a:lnTo>
                  <a:pt x="70599" y="148589"/>
                </a:lnTo>
                <a:lnTo>
                  <a:pt x="22123" y="9778"/>
                </a:lnTo>
                <a:close/>
              </a:path>
              <a:path w="1397000" h="182245">
                <a:moveTo>
                  <a:pt x="146240" y="9778"/>
                </a:moveTo>
                <a:lnTo>
                  <a:pt x="124828" y="9778"/>
                </a:lnTo>
                <a:lnTo>
                  <a:pt x="76911" y="144017"/>
                </a:lnTo>
                <a:lnTo>
                  <a:pt x="74929" y="149478"/>
                </a:lnTo>
                <a:lnTo>
                  <a:pt x="73634" y="154558"/>
                </a:lnTo>
                <a:lnTo>
                  <a:pt x="72999" y="159257"/>
                </a:lnTo>
                <a:lnTo>
                  <a:pt x="90890" y="159257"/>
                </a:lnTo>
                <a:lnTo>
                  <a:pt x="146240" y="9778"/>
                </a:lnTo>
                <a:close/>
              </a:path>
              <a:path w="1397000" h="182245">
                <a:moveTo>
                  <a:pt x="181876" y="2285"/>
                </a:moveTo>
                <a:lnTo>
                  <a:pt x="174853" y="2285"/>
                </a:lnTo>
                <a:lnTo>
                  <a:pt x="171894" y="3428"/>
                </a:lnTo>
                <a:lnTo>
                  <a:pt x="167004" y="8254"/>
                </a:lnTo>
                <a:lnTo>
                  <a:pt x="165785" y="11302"/>
                </a:lnTo>
                <a:lnTo>
                  <a:pt x="165785" y="18541"/>
                </a:lnTo>
                <a:lnTo>
                  <a:pt x="167004" y="21589"/>
                </a:lnTo>
                <a:lnTo>
                  <a:pt x="169456" y="23875"/>
                </a:lnTo>
                <a:lnTo>
                  <a:pt x="171894" y="26288"/>
                </a:lnTo>
                <a:lnTo>
                  <a:pt x="174853" y="27431"/>
                </a:lnTo>
                <a:lnTo>
                  <a:pt x="181876" y="27431"/>
                </a:lnTo>
                <a:lnTo>
                  <a:pt x="184886" y="26288"/>
                </a:lnTo>
                <a:lnTo>
                  <a:pt x="187375" y="23748"/>
                </a:lnTo>
                <a:lnTo>
                  <a:pt x="189865" y="21335"/>
                </a:lnTo>
                <a:lnTo>
                  <a:pt x="191043" y="18541"/>
                </a:lnTo>
                <a:lnTo>
                  <a:pt x="191096" y="11302"/>
                </a:lnTo>
                <a:lnTo>
                  <a:pt x="189865" y="8254"/>
                </a:lnTo>
                <a:lnTo>
                  <a:pt x="184886" y="3428"/>
                </a:lnTo>
                <a:lnTo>
                  <a:pt x="181876" y="2285"/>
                </a:lnTo>
                <a:close/>
              </a:path>
              <a:path w="1397000" h="182245">
                <a:moveTo>
                  <a:pt x="187794" y="58292"/>
                </a:moveTo>
                <a:lnTo>
                  <a:pt x="168389" y="58292"/>
                </a:lnTo>
                <a:lnTo>
                  <a:pt x="168389" y="179450"/>
                </a:lnTo>
                <a:lnTo>
                  <a:pt x="187794" y="179450"/>
                </a:lnTo>
                <a:lnTo>
                  <a:pt x="187794" y="58292"/>
                </a:lnTo>
                <a:close/>
              </a:path>
              <a:path w="1397000" h="182245">
                <a:moveTo>
                  <a:pt x="247230" y="58292"/>
                </a:moveTo>
                <a:lnTo>
                  <a:pt x="227825" y="58292"/>
                </a:lnTo>
                <a:lnTo>
                  <a:pt x="227825" y="179450"/>
                </a:lnTo>
                <a:lnTo>
                  <a:pt x="247230" y="179450"/>
                </a:lnTo>
                <a:lnTo>
                  <a:pt x="247230" y="117601"/>
                </a:lnTo>
                <a:lnTo>
                  <a:pt x="247754" y="108031"/>
                </a:lnTo>
                <a:lnTo>
                  <a:pt x="249326" y="99520"/>
                </a:lnTo>
                <a:lnTo>
                  <a:pt x="251945" y="92080"/>
                </a:lnTo>
                <a:lnTo>
                  <a:pt x="255612" y="85724"/>
                </a:lnTo>
                <a:lnTo>
                  <a:pt x="257374" y="83184"/>
                </a:lnTo>
                <a:lnTo>
                  <a:pt x="247230" y="83184"/>
                </a:lnTo>
                <a:lnTo>
                  <a:pt x="247230" y="58292"/>
                </a:lnTo>
                <a:close/>
              </a:path>
              <a:path w="1397000" h="182245">
                <a:moveTo>
                  <a:pt x="284441" y="56133"/>
                </a:moveTo>
                <a:lnTo>
                  <a:pt x="272376" y="56133"/>
                </a:lnTo>
                <a:lnTo>
                  <a:pt x="266026" y="58546"/>
                </a:lnTo>
                <a:lnTo>
                  <a:pt x="260311" y="63245"/>
                </a:lnTo>
                <a:lnTo>
                  <a:pt x="254723" y="68071"/>
                </a:lnTo>
                <a:lnTo>
                  <a:pt x="250405" y="74675"/>
                </a:lnTo>
                <a:lnTo>
                  <a:pt x="247738" y="83184"/>
                </a:lnTo>
                <a:lnTo>
                  <a:pt x="257374" y="83184"/>
                </a:lnTo>
                <a:lnTo>
                  <a:pt x="261073" y="77850"/>
                </a:lnTo>
                <a:lnTo>
                  <a:pt x="268058" y="73913"/>
                </a:lnTo>
                <a:lnTo>
                  <a:pt x="291045" y="73913"/>
                </a:lnTo>
                <a:lnTo>
                  <a:pt x="291045" y="57784"/>
                </a:lnTo>
                <a:lnTo>
                  <a:pt x="288378" y="56641"/>
                </a:lnTo>
                <a:lnTo>
                  <a:pt x="284441" y="56133"/>
                </a:lnTo>
                <a:close/>
              </a:path>
              <a:path w="1397000" h="182245">
                <a:moveTo>
                  <a:pt x="291045" y="73913"/>
                </a:moveTo>
                <a:lnTo>
                  <a:pt x="282663" y="73913"/>
                </a:lnTo>
                <a:lnTo>
                  <a:pt x="287616" y="75310"/>
                </a:lnTo>
                <a:lnTo>
                  <a:pt x="291045" y="77850"/>
                </a:lnTo>
                <a:lnTo>
                  <a:pt x="291045" y="73913"/>
                </a:lnTo>
                <a:close/>
              </a:path>
              <a:path w="1397000" h="182245">
                <a:moveTo>
                  <a:pt x="344893" y="74802"/>
                </a:moveTo>
                <a:lnTo>
                  <a:pt x="325589" y="74802"/>
                </a:lnTo>
                <a:lnTo>
                  <a:pt x="325589" y="146557"/>
                </a:lnTo>
                <a:lnTo>
                  <a:pt x="327568" y="162059"/>
                </a:lnTo>
                <a:lnTo>
                  <a:pt x="333511" y="173132"/>
                </a:lnTo>
                <a:lnTo>
                  <a:pt x="343431" y="179776"/>
                </a:lnTo>
                <a:lnTo>
                  <a:pt x="357339" y="181990"/>
                </a:lnTo>
                <a:lnTo>
                  <a:pt x="364832" y="181990"/>
                </a:lnTo>
                <a:lnTo>
                  <a:pt x="370928" y="180720"/>
                </a:lnTo>
                <a:lnTo>
                  <a:pt x="375500" y="178180"/>
                </a:lnTo>
                <a:lnTo>
                  <a:pt x="375500" y="165607"/>
                </a:lnTo>
                <a:lnTo>
                  <a:pt x="356450" y="165607"/>
                </a:lnTo>
                <a:lnTo>
                  <a:pt x="351878" y="163956"/>
                </a:lnTo>
                <a:lnTo>
                  <a:pt x="349084" y="160400"/>
                </a:lnTo>
                <a:lnTo>
                  <a:pt x="346290" y="156971"/>
                </a:lnTo>
                <a:lnTo>
                  <a:pt x="344893" y="151256"/>
                </a:lnTo>
                <a:lnTo>
                  <a:pt x="344893" y="74802"/>
                </a:lnTo>
                <a:close/>
              </a:path>
              <a:path w="1397000" h="182245">
                <a:moveTo>
                  <a:pt x="375500" y="161670"/>
                </a:moveTo>
                <a:lnTo>
                  <a:pt x="371944" y="164337"/>
                </a:lnTo>
                <a:lnTo>
                  <a:pt x="367753" y="165607"/>
                </a:lnTo>
                <a:lnTo>
                  <a:pt x="375500" y="165607"/>
                </a:lnTo>
                <a:lnTo>
                  <a:pt x="375500" y="161670"/>
                </a:lnTo>
                <a:close/>
              </a:path>
              <a:path w="1397000" h="182245">
                <a:moveTo>
                  <a:pt x="375500" y="58292"/>
                </a:moveTo>
                <a:lnTo>
                  <a:pt x="304761" y="58292"/>
                </a:lnTo>
                <a:lnTo>
                  <a:pt x="304761" y="74802"/>
                </a:lnTo>
                <a:lnTo>
                  <a:pt x="375500" y="74802"/>
                </a:lnTo>
                <a:lnTo>
                  <a:pt x="375500" y="58292"/>
                </a:lnTo>
                <a:close/>
              </a:path>
              <a:path w="1397000" h="182245">
                <a:moveTo>
                  <a:pt x="344893" y="22351"/>
                </a:moveTo>
                <a:lnTo>
                  <a:pt x="325589" y="28701"/>
                </a:lnTo>
                <a:lnTo>
                  <a:pt x="325589" y="58292"/>
                </a:lnTo>
                <a:lnTo>
                  <a:pt x="344893" y="58292"/>
                </a:lnTo>
                <a:lnTo>
                  <a:pt x="344893" y="22351"/>
                </a:lnTo>
                <a:close/>
              </a:path>
              <a:path w="1397000" h="182245">
                <a:moveTo>
                  <a:pt x="418299" y="58292"/>
                </a:moveTo>
                <a:lnTo>
                  <a:pt x="398995" y="58292"/>
                </a:lnTo>
                <a:lnTo>
                  <a:pt x="398995" y="130682"/>
                </a:lnTo>
                <a:lnTo>
                  <a:pt x="401690" y="153259"/>
                </a:lnTo>
                <a:lnTo>
                  <a:pt x="409790" y="169370"/>
                </a:lnTo>
                <a:lnTo>
                  <a:pt x="423320" y="179028"/>
                </a:lnTo>
                <a:lnTo>
                  <a:pt x="442302" y="182244"/>
                </a:lnTo>
                <a:lnTo>
                  <a:pt x="454137" y="180865"/>
                </a:lnTo>
                <a:lnTo>
                  <a:pt x="464305" y="176736"/>
                </a:lnTo>
                <a:lnTo>
                  <a:pt x="472806" y="169868"/>
                </a:lnTo>
                <a:lnTo>
                  <a:pt x="475660" y="165861"/>
                </a:lnTo>
                <a:lnTo>
                  <a:pt x="447636" y="165861"/>
                </a:lnTo>
                <a:lnTo>
                  <a:pt x="434801" y="163476"/>
                </a:lnTo>
                <a:lnTo>
                  <a:pt x="425634" y="156305"/>
                </a:lnTo>
                <a:lnTo>
                  <a:pt x="420133" y="144323"/>
                </a:lnTo>
                <a:lnTo>
                  <a:pt x="418355" y="128015"/>
                </a:lnTo>
                <a:lnTo>
                  <a:pt x="418299" y="58292"/>
                </a:lnTo>
                <a:close/>
              </a:path>
              <a:path w="1397000" h="182245">
                <a:moveTo>
                  <a:pt x="499579" y="160273"/>
                </a:moveTo>
                <a:lnTo>
                  <a:pt x="480148" y="160273"/>
                </a:lnTo>
                <a:lnTo>
                  <a:pt x="480148" y="179450"/>
                </a:lnTo>
                <a:lnTo>
                  <a:pt x="499579" y="179450"/>
                </a:lnTo>
                <a:lnTo>
                  <a:pt x="499579" y="160273"/>
                </a:lnTo>
                <a:close/>
              </a:path>
              <a:path w="1397000" h="182245">
                <a:moveTo>
                  <a:pt x="499579" y="58292"/>
                </a:moveTo>
                <a:lnTo>
                  <a:pt x="480148" y="58292"/>
                </a:lnTo>
                <a:lnTo>
                  <a:pt x="480148" y="128015"/>
                </a:lnTo>
                <a:lnTo>
                  <a:pt x="479577" y="136088"/>
                </a:lnTo>
                <a:lnTo>
                  <a:pt x="454377" y="165217"/>
                </a:lnTo>
                <a:lnTo>
                  <a:pt x="447636" y="165861"/>
                </a:lnTo>
                <a:lnTo>
                  <a:pt x="475660" y="165861"/>
                </a:lnTo>
                <a:lnTo>
                  <a:pt x="479640" y="160273"/>
                </a:lnTo>
                <a:lnTo>
                  <a:pt x="499579" y="160273"/>
                </a:lnTo>
                <a:lnTo>
                  <a:pt x="499579" y="58292"/>
                </a:lnTo>
                <a:close/>
              </a:path>
              <a:path w="1397000" h="182245">
                <a:moveTo>
                  <a:pt x="617636" y="71754"/>
                </a:moveTo>
                <a:lnTo>
                  <a:pt x="581113" y="71754"/>
                </a:lnTo>
                <a:lnTo>
                  <a:pt x="592022" y="73683"/>
                </a:lnTo>
                <a:lnTo>
                  <a:pt x="599798" y="79470"/>
                </a:lnTo>
                <a:lnTo>
                  <a:pt x="604456" y="89114"/>
                </a:lnTo>
                <a:lnTo>
                  <a:pt x="606005" y="102615"/>
                </a:lnTo>
                <a:lnTo>
                  <a:pt x="569683" y="107695"/>
                </a:lnTo>
                <a:lnTo>
                  <a:pt x="552181" y="112242"/>
                </a:lnTo>
                <a:lnTo>
                  <a:pt x="539680" y="120348"/>
                </a:lnTo>
                <a:lnTo>
                  <a:pt x="532179" y="132002"/>
                </a:lnTo>
                <a:lnTo>
                  <a:pt x="529678" y="147192"/>
                </a:lnTo>
                <a:lnTo>
                  <a:pt x="530321" y="154715"/>
                </a:lnTo>
                <a:lnTo>
                  <a:pt x="559736" y="181647"/>
                </a:lnTo>
                <a:lnTo>
                  <a:pt x="568286" y="182244"/>
                </a:lnTo>
                <a:lnTo>
                  <a:pt x="579835" y="180885"/>
                </a:lnTo>
                <a:lnTo>
                  <a:pt x="589908" y="176799"/>
                </a:lnTo>
                <a:lnTo>
                  <a:pt x="598504" y="169975"/>
                </a:lnTo>
                <a:lnTo>
                  <a:pt x="601563" y="165861"/>
                </a:lnTo>
                <a:lnTo>
                  <a:pt x="565746" y="165861"/>
                </a:lnTo>
                <a:lnTo>
                  <a:pt x="560158" y="164083"/>
                </a:lnTo>
                <a:lnTo>
                  <a:pt x="555923" y="160236"/>
                </a:lnTo>
                <a:lnTo>
                  <a:pt x="551649" y="156590"/>
                </a:lnTo>
                <a:lnTo>
                  <a:pt x="549617" y="151764"/>
                </a:lnTo>
                <a:lnTo>
                  <a:pt x="606005" y="118109"/>
                </a:lnTo>
                <a:lnTo>
                  <a:pt x="625436" y="118109"/>
                </a:lnTo>
                <a:lnTo>
                  <a:pt x="625436" y="100583"/>
                </a:lnTo>
                <a:lnTo>
                  <a:pt x="622769" y="80821"/>
                </a:lnTo>
                <a:lnTo>
                  <a:pt x="617636" y="71754"/>
                </a:lnTo>
                <a:close/>
              </a:path>
              <a:path w="1397000" h="182245">
                <a:moveTo>
                  <a:pt x="625436" y="160400"/>
                </a:moveTo>
                <a:lnTo>
                  <a:pt x="606005" y="160400"/>
                </a:lnTo>
                <a:lnTo>
                  <a:pt x="606005" y="179450"/>
                </a:lnTo>
                <a:lnTo>
                  <a:pt x="625436" y="179450"/>
                </a:lnTo>
                <a:lnTo>
                  <a:pt x="625436" y="160400"/>
                </a:lnTo>
                <a:close/>
              </a:path>
              <a:path w="1397000" h="182245">
                <a:moveTo>
                  <a:pt x="625436" y="118109"/>
                </a:moveTo>
                <a:lnTo>
                  <a:pt x="606005" y="118109"/>
                </a:lnTo>
                <a:lnTo>
                  <a:pt x="606005" y="130174"/>
                </a:lnTo>
                <a:lnTo>
                  <a:pt x="605430" y="137576"/>
                </a:lnTo>
                <a:lnTo>
                  <a:pt x="572731" y="165861"/>
                </a:lnTo>
                <a:lnTo>
                  <a:pt x="601563" y="165861"/>
                </a:lnTo>
                <a:lnTo>
                  <a:pt x="605624" y="160400"/>
                </a:lnTo>
                <a:lnTo>
                  <a:pt x="625436" y="160400"/>
                </a:lnTo>
                <a:lnTo>
                  <a:pt x="625436" y="118109"/>
                </a:lnTo>
                <a:close/>
              </a:path>
              <a:path w="1397000" h="182245">
                <a:moveTo>
                  <a:pt x="582764" y="55371"/>
                </a:moveTo>
                <a:lnTo>
                  <a:pt x="571406" y="56086"/>
                </a:lnTo>
                <a:lnTo>
                  <a:pt x="560762" y="58229"/>
                </a:lnTo>
                <a:lnTo>
                  <a:pt x="550832" y="61801"/>
                </a:lnTo>
                <a:lnTo>
                  <a:pt x="541616" y="66801"/>
                </a:lnTo>
                <a:lnTo>
                  <a:pt x="541616" y="86613"/>
                </a:lnTo>
                <a:lnTo>
                  <a:pt x="550663" y="80113"/>
                </a:lnTo>
                <a:lnTo>
                  <a:pt x="560270" y="75469"/>
                </a:lnTo>
                <a:lnTo>
                  <a:pt x="570424" y="72683"/>
                </a:lnTo>
                <a:lnTo>
                  <a:pt x="581113" y="71754"/>
                </a:lnTo>
                <a:lnTo>
                  <a:pt x="617636" y="71754"/>
                </a:lnTo>
                <a:lnTo>
                  <a:pt x="614768" y="66690"/>
                </a:lnTo>
                <a:lnTo>
                  <a:pt x="601433" y="58203"/>
                </a:lnTo>
                <a:lnTo>
                  <a:pt x="582764" y="55371"/>
                </a:lnTo>
                <a:close/>
              </a:path>
              <a:path w="1397000" h="182245">
                <a:moveTo>
                  <a:pt x="681570" y="0"/>
                </a:moveTo>
                <a:lnTo>
                  <a:pt x="662139" y="0"/>
                </a:lnTo>
                <a:lnTo>
                  <a:pt x="662139" y="179450"/>
                </a:lnTo>
                <a:lnTo>
                  <a:pt x="681570" y="179450"/>
                </a:lnTo>
                <a:lnTo>
                  <a:pt x="681570" y="0"/>
                </a:lnTo>
                <a:close/>
              </a:path>
              <a:path w="1397000" h="182245">
                <a:moveTo>
                  <a:pt x="735037" y="2285"/>
                </a:moveTo>
                <a:lnTo>
                  <a:pt x="728052" y="2285"/>
                </a:lnTo>
                <a:lnTo>
                  <a:pt x="725131" y="3428"/>
                </a:lnTo>
                <a:lnTo>
                  <a:pt x="722718" y="5841"/>
                </a:lnTo>
                <a:lnTo>
                  <a:pt x="720178" y="8254"/>
                </a:lnTo>
                <a:lnTo>
                  <a:pt x="719035" y="11302"/>
                </a:lnTo>
                <a:lnTo>
                  <a:pt x="719035" y="18541"/>
                </a:lnTo>
                <a:lnTo>
                  <a:pt x="720178" y="21589"/>
                </a:lnTo>
                <a:lnTo>
                  <a:pt x="722718" y="23875"/>
                </a:lnTo>
                <a:lnTo>
                  <a:pt x="725131" y="26288"/>
                </a:lnTo>
                <a:lnTo>
                  <a:pt x="728052" y="27431"/>
                </a:lnTo>
                <a:lnTo>
                  <a:pt x="735037" y="27431"/>
                </a:lnTo>
                <a:lnTo>
                  <a:pt x="738085" y="26288"/>
                </a:lnTo>
                <a:lnTo>
                  <a:pt x="743038" y="21335"/>
                </a:lnTo>
                <a:lnTo>
                  <a:pt x="744253" y="18541"/>
                </a:lnTo>
                <a:lnTo>
                  <a:pt x="744308" y="11302"/>
                </a:lnTo>
                <a:lnTo>
                  <a:pt x="743038" y="8254"/>
                </a:lnTo>
                <a:lnTo>
                  <a:pt x="740625" y="5841"/>
                </a:lnTo>
                <a:lnTo>
                  <a:pt x="738085" y="3428"/>
                </a:lnTo>
                <a:lnTo>
                  <a:pt x="735037" y="2285"/>
                </a:lnTo>
                <a:close/>
              </a:path>
              <a:path w="1397000" h="182245">
                <a:moveTo>
                  <a:pt x="741006" y="58292"/>
                </a:moveTo>
                <a:lnTo>
                  <a:pt x="721575" y="58292"/>
                </a:lnTo>
                <a:lnTo>
                  <a:pt x="721575" y="179450"/>
                </a:lnTo>
                <a:lnTo>
                  <a:pt x="741006" y="179450"/>
                </a:lnTo>
                <a:lnTo>
                  <a:pt x="741006" y="58292"/>
                </a:lnTo>
                <a:close/>
              </a:path>
              <a:path w="1397000" h="182245">
                <a:moveTo>
                  <a:pt x="865466" y="58292"/>
                </a:moveTo>
                <a:lnTo>
                  <a:pt x="771994" y="58292"/>
                </a:lnTo>
                <a:lnTo>
                  <a:pt x="771994" y="74802"/>
                </a:lnTo>
                <a:lnTo>
                  <a:pt x="837018" y="74802"/>
                </a:lnTo>
                <a:lnTo>
                  <a:pt x="765263" y="173354"/>
                </a:lnTo>
                <a:lnTo>
                  <a:pt x="765263" y="179450"/>
                </a:lnTo>
                <a:lnTo>
                  <a:pt x="864831" y="179450"/>
                </a:lnTo>
                <a:lnTo>
                  <a:pt x="864831" y="162813"/>
                </a:lnTo>
                <a:lnTo>
                  <a:pt x="793838" y="162813"/>
                </a:lnTo>
                <a:lnTo>
                  <a:pt x="865466" y="63753"/>
                </a:lnTo>
                <a:lnTo>
                  <a:pt x="865466" y="58292"/>
                </a:lnTo>
                <a:close/>
              </a:path>
              <a:path w="1397000" h="182245">
                <a:moveTo>
                  <a:pt x="969680" y="71754"/>
                </a:moveTo>
                <a:lnTo>
                  <a:pt x="933157" y="71754"/>
                </a:lnTo>
                <a:lnTo>
                  <a:pt x="944066" y="73683"/>
                </a:lnTo>
                <a:lnTo>
                  <a:pt x="951842" y="79470"/>
                </a:lnTo>
                <a:lnTo>
                  <a:pt x="956500" y="89114"/>
                </a:lnTo>
                <a:lnTo>
                  <a:pt x="958049" y="102615"/>
                </a:lnTo>
                <a:lnTo>
                  <a:pt x="921727" y="107695"/>
                </a:lnTo>
                <a:lnTo>
                  <a:pt x="904225" y="112242"/>
                </a:lnTo>
                <a:lnTo>
                  <a:pt x="891724" y="120348"/>
                </a:lnTo>
                <a:lnTo>
                  <a:pt x="884223" y="132002"/>
                </a:lnTo>
                <a:lnTo>
                  <a:pt x="881722" y="147192"/>
                </a:lnTo>
                <a:lnTo>
                  <a:pt x="882365" y="154715"/>
                </a:lnTo>
                <a:lnTo>
                  <a:pt x="911780" y="181647"/>
                </a:lnTo>
                <a:lnTo>
                  <a:pt x="920330" y="182244"/>
                </a:lnTo>
                <a:lnTo>
                  <a:pt x="931879" y="180885"/>
                </a:lnTo>
                <a:lnTo>
                  <a:pt x="941952" y="176799"/>
                </a:lnTo>
                <a:lnTo>
                  <a:pt x="950548" y="169975"/>
                </a:lnTo>
                <a:lnTo>
                  <a:pt x="953607" y="165861"/>
                </a:lnTo>
                <a:lnTo>
                  <a:pt x="917790" y="165861"/>
                </a:lnTo>
                <a:lnTo>
                  <a:pt x="912202" y="164083"/>
                </a:lnTo>
                <a:lnTo>
                  <a:pt x="907967" y="160236"/>
                </a:lnTo>
                <a:lnTo>
                  <a:pt x="903693" y="156590"/>
                </a:lnTo>
                <a:lnTo>
                  <a:pt x="901661" y="151764"/>
                </a:lnTo>
                <a:lnTo>
                  <a:pt x="958049" y="118109"/>
                </a:lnTo>
                <a:lnTo>
                  <a:pt x="977480" y="118109"/>
                </a:lnTo>
                <a:lnTo>
                  <a:pt x="977480" y="100583"/>
                </a:lnTo>
                <a:lnTo>
                  <a:pt x="974813" y="80821"/>
                </a:lnTo>
                <a:lnTo>
                  <a:pt x="969680" y="71754"/>
                </a:lnTo>
                <a:close/>
              </a:path>
              <a:path w="1397000" h="182245">
                <a:moveTo>
                  <a:pt x="977480" y="160400"/>
                </a:moveTo>
                <a:lnTo>
                  <a:pt x="958049" y="160400"/>
                </a:lnTo>
                <a:lnTo>
                  <a:pt x="958049" y="179450"/>
                </a:lnTo>
                <a:lnTo>
                  <a:pt x="977480" y="179450"/>
                </a:lnTo>
                <a:lnTo>
                  <a:pt x="977480" y="160400"/>
                </a:lnTo>
                <a:close/>
              </a:path>
              <a:path w="1397000" h="182245">
                <a:moveTo>
                  <a:pt x="977480" y="118109"/>
                </a:moveTo>
                <a:lnTo>
                  <a:pt x="958049" y="118109"/>
                </a:lnTo>
                <a:lnTo>
                  <a:pt x="958049" y="130174"/>
                </a:lnTo>
                <a:lnTo>
                  <a:pt x="957474" y="137576"/>
                </a:lnTo>
                <a:lnTo>
                  <a:pt x="924775" y="165861"/>
                </a:lnTo>
                <a:lnTo>
                  <a:pt x="953607" y="165861"/>
                </a:lnTo>
                <a:lnTo>
                  <a:pt x="957668" y="160400"/>
                </a:lnTo>
                <a:lnTo>
                  <a:pt x="977480" y="160400"/>
                </a:lnTo>
                <a:lnTo>
                  <a:pt x="977480" y="118109"/>
                </a:lnTo>
                <a:close/>
              </a:path>
              <a:path w="1397000" h="182245">
                <a:moveTo>
                  <a:pt x="934808" y="55371"/>
                </a:moveTo>
                <a:lnTo>
                  <a:pt x="923450" y="56086"/>
                </a:lnTo>
                <a:lnTo>
                  <a:pt x="912806" y="58229"/>
                </a:lnTo>
                <a:lnTo>
                  <a:pt x="902876" y="61801"/>
                </a:lnTo>
                <a:lnTo>
                  <a:pt x="893660" y="66801"/>
                </a:lnTo>
                <a:lnTo>
                  <a:pt x="893660" y="86613"/>
                </a:lnTo>
                <a:lnTo>
                  <a:pt x="902707" y="80113"/>
                </a:lnTo>
                <a:lnTo>
                  <a:pt x="912314" y="75469"/>
                </a:lnTo>
                <a:lnTo>
                  <a:pt x="922468" y="72683"/>
                </a:lnTo>
                <a:lnTo>
                  <a:pt x="933157" y="71754"/>
                </a:lnTo>
                <a:lnTo>
                  <a:pt x="969680" y="71754"/>
                </a:lnTo>
                <a:lnTo>
                  <a:pt x="966812" y="66690"/>
                </a:lnTo>
                <a:lnTo>
                  <a:pt x="953477" y="58203"/>
                </a:lnTo>
                <a:lnTo>
                  <a:pt x="934808" y="55371"/>
                </a:lnTo>
                <a:close/>
              </a:path>
              <a:path w="1397000" h="182245">
                <a:moveTo>
                  <a:pt x="1038313" y="74802"/>
                </a:moveTo>
                <a:lnTo>
                  <a:pt x="1019009" y="74802"/>
                </a:lnTo>
                <a:lnTo>
                  <a:pt x="1019009" y="146557"/>
                </a:lnTo>
                <a:lnTo>
                  <a:pt x="1020988" y="162059"/>
                </a:lnTo>
                <a:lnTo>
                  <a:pt x="1026931" y="173132"/>
                </a:lnTo>
                <a:lnTo>
                  <a:pt x="1036851" y="179776"/>
                </a:lnTo>
                <a:lnTo>
                  <a:pt x="1050759" y="181990"/>
                </a:lnTo>
                <a:lnTo>
                  <a:pt x="1058252" y="181990"/>
                </a:lnTo>
                <a:lnTo>
                  <a:pt x="1064348" y="180720"/>
                </a:lnTo>
                <a:lnTo>
                  <a:pt x="1068920" y="178180"/>
                </a:lnTo>
                <a:lnTo>
                  <a:pt x="1068920" y="165607"/>
                </a:lnTo>
                <a:lnTo>
                  <a:pt x="1049870" y="165607"/>
                </a:lnTo>
                <a:lnTo>
                  <a:pt x="1045298" y="163956"/>
                </a:lnTo>
                <a:lnTo>
                  <a:pt x="1042504" y="160400"/>
                </a:lnTo>
                <a:lnTo>
                  <a:pt x="1039710" y="156971"/>
                </a:lnTo>
                <a:lnTo>
                  <a:pt x="1038313" y="151256"/>
                </a:lnTo>
                <a:lnTo>
                  <a:pt x="1038313" y="74802"/>
                </a:lnTo>
                <a:close/>
              </a:path>
              <a:path w="1397000" h="182245">
                <a:moveTo>
                  <a:pt x="1068920" y="161670"/>
                </a:moveTo>
                <a:lnTo>
                  <a:pt x="1065364" y="164337"/>
                </a:lnTo>
                <a:lnTo>
                  <a:pt x="1061173" y="165607"/>
                </a:lnTo>
                <a:lnTo>
                  <a:pt x="1068920" y="165607"/>
                </a:lnTo>
                <a:lnTo>
                  <a:pt x="1068920" y="161670"/>
                </a:lnTo>
                <a:close/>
              </a:path>
              <a:path w="1397000" h="182245">
                <a:moveTo>
                  <a:pt x="1068920" y="58292"/>
                </a:moveTo>
                <a:lnTo>
                  <a:pt x="998181" y="58292"/>
                </a:lnTo>
                <a:lnTo>
                  <a:pt x="998181" y="74802"/>
                </a:lnTo>
                <a:lnTo>
                  <a:pt x="1068920" y="74802"/>
                </a:lnTo>
                <a:lnTo>
                  <a:pt x="1068920" y="58292"/>
                </a:lnTo>
                <a:close/>
              </a:path>
              <a:path w="1397000" h="182245">
                <a:moveTo>
                  <a:pt x="1038313" y="22351"/>
                </a:moveTo>
                <a:lnTo>
                  <a:pt x="1019009" y="28701"/>
                </a:lnTo>
                <a:lnTo>
                  <a:pt x="1019009" y="58292"/>
                </a:lnTo>
                <a:lnTo>
                  <a:pt x="1038313" y="58292"/>
                </a:lnTo>
                <a:lnTo>
                  <a:pt x="1038313" y="22351"/>
                </a:lnTo>
                <a:close/>
              </a:path>
              <a:path w="1397000" h="182245">
                <a:moveTo>
                  <a:pt x="1108417" y="2285"/>
                </a:moveTo>
                <a:lnTo>
                  <a:pt x="1101432" y="2285"/>
                </a:lnTo>
                <a:lnTo>
                  <a:pt x="1098511" y="3428"/>
                </a:lnTo>
                <a:lnTo>
                  <a:pt x="1096098" y="5841"/>
                </a:lnTo>
                <a:lnTo>
                  <a:pt x="1093558" y="8254"/>
                </a:lnTo>
                <a:lnTo>
                  <a:pt x="1092415" y="11302"/>
                </a:lnTo>
                <a:lnTo>
                  <a:pt x="1092415" y="18541"/>
                </a:lnTo>
                <a:lnTo>
                  <a:pt x="1093558" y="21589"/>
                </a:lnTo>
                <a:lnTo>
                  <a:pt x="1096098" y="23875"/>
                </a:lnTo>
                <a:lnTo>
                  <a:pt x="1098511" y="26288"/>
                </a:lnTo>
                <a:lnTo>
                  <a:pt x="1101432" y="27431"/>
                </a:lnTo>
                <a:lnTo>
                  <a:pt x="1108417" y="27431"/>
                </a:lnTo>
                <a:lnTo>
                  <a:pt x="1111465" y="26288"/>
                </a:lnTo>
                <a:lnTo>
                  <a:pt x="1116418" y="21335"/>
                </a:lnTo>
                <a:lnTo>
                  <a:pt x="1117633" y="18541"/>
                </a:lnTo>
                <a:lnTo>
                  <a:pt x="1117688" y="11302"/>
                </a:lnTo>
                <a:lnTo>
                  <a:pt x="1116418" y="8254"/>
                </a:lnTo>
                <a:lnTo>
                  <a:pt x="1114005" y="5841"/>
                </a:lnTo>
                <a:lnTo>
                  <a:pt x="1111465" y="3428"/>
                </a:lnTo>
                <a:lnTo>
                  <a:pt x="1108417" y="2285"/>
                </a:lnTo>
                <a:close/>
              </a:path>
              <a:path w="1397000" h="182245">
                <a:moveTo>
                  <a:pt x="1114386" y="58292"/>
                </a:moveTo>
                <a:lnTo>
                  <a:pt x="1094955" y="58292"/>
                </a:lnTo>
                <a:lnTo>
                  <a:pt x="1094955" y="179450"/>
                </a:lnTo>
                <a:lnTo>
                  <a:pt x="1114386" y="179450"/>
                </a:lnTo>
                <a:lnTo>
                  <a:pt x="1114386" y="58292"/>
                </a:lnTo>
                <a:close/>
              </a:path>
              <a:path w="1397000" h="182245">
                <a:moveTo>
                  <a:pt x="1207858" y="55371"/>
                </a:moveTo>
                <a:lnTo>
                  <a:pt x="1162753" y="72542"/>
                </a:lnTo>
                <a:lnTo>
                  <a:pt x="1146136" y="120268"/>
                </a:lnTo>
                <a:lnTo>
                  <a:pt x="1147137" y="133580"/>
                </a:lnTo>
                <a:lnTo>
                  <a:pt x="1170828" y="172654"/>
                </a:lnTo>
                <a:lnTo>
                  <a:pt x="1205064" y="182244"/>
                </a:lnTo>
                <a:lnTo>
                  <a:pt x="1218163" y="181149"/>
                </a:lnTo>
                <a:lnTo>
                  <a:pt x="1229845" y="177863"/>
                </a:lnTo>
                <a:lnTo>
                  <a:pt x="1240122" y="172386"/>
                </a:lnTo>
                <a:lnTo>
                  <a:pt x="1247682" y="165861"/>
                </a:lnTo>
                <a:lnTo>
                  <a:pt x="1206461" y="165861"/>
                </a:lnTo>
                <a:lnTo>
                  <a:pt x="1197696" y="165098"/>
                </a:lnTo>
                <a:lnTo>
                  <a:pt x="1168711" y="138763"/>
                </a:lnTo>
                <a:lnTo>
                  <a:pt x="1166000" y="120268"/>
                </a:lnTo>
                <a:lnTo>
                  <a:pt x="1166023" y="118363"/>
                </a:lnTo>
                <a:lnTo>
                  <a:pt x="1182798" y="78880"/>
                </a:lnTo>
                <a:lnTo>
                  <a:pt x="1206461" y="71754"/>
                </a:lnTo>
                <a:lnTo>
                  <a:pt x="1249719" y="71754"/>
                </a:lnTo>
                <a:lnTo>
                  <a:pt x="1241863" y="64801"/>
                </a:lnTo>
                <a:lnTo>
                  <a:pt x="1232052" y="59562"/>
                </a:lnTo>
                <a:lnTo>
                  <a:pt x="1220717" y="56419"/>
                </a:lnTo>
                <a:lnTo>
                  <a:pt x="1207858" y="55371"/>
                </a:lnTo>
                <a:close/>
              </a:path>
              <a:path w="1397000" h="182245">
                <a:moveTo>
                  <a:pt x="1249719" y="71754"/>
                </a:moveTo>
                <a:lnTo>
                  <a:pt x="1206461" y="71754"/>
                </a:lnTo>
                <a:lnTo>
                  <a:pt x="1215320" y="72516"/>
                </a:lnTo>
                <a:lnTo>
                  <a:pt x="1223130" y="74818"/>
                </a:lnTo>
                <a:lnTo>
                  <a:pt x="1244936" y="108309"/>
                </a:lnTo>
                <a:lnTo>
                  <a:pt x="1245539" y="118363"/>
                </a:lnTo>
                <a:lnTo>
                  <a:pt x="1245501" y="120268"/>
                </a:lnTo>
                <a:lnTo>
                  <a:pt x="1229821" y="159003"/>
                </a:lnTo>
                <a:lnTo>
                  <a:pt x="1206461" y="165861"/>
                </a:lnTo>
                <a:lnTo>
                  <a:pt x="1247682" y="165861"/>
                </a:lnTo>
                <a:lnTo>
                  <a:pt x="1265389" y="118363"/>
                </a:lnTo>
                <a:lnTo>
                  <a:pt x="1264437" y="104390"/>
                </a:lnTo>
                <a:lnTo>
                  <a:pt x="1261579" y="92011"/>
                </a:lnTo>
                <a:lnTo>
                  <a:pt x="1256817" y="81252"/>
                </a:lnTo>
                <a:lnTo>
                  <a:pt x="1250149" y="72135"/>
                </a:lnTo>
                <a:lnTo>
                  <a:pt x="1249719" y="71754"/>
                </a:lnTo>
                <a:close/>
              </a:path>
              <a:path w="1397000" h="182245">
                <a:moveTo>
                  <a:pt x="1315554" y="58292"/>
                </a:moveTo>
                <a:lnTo>
                  <a:pt x="1296123" y="58292"/>
                </a:lnTo>
                <a:lnTo>
                  <a:pt x="1296123" y="179450"/>
                </a:lnTo>
                <a:lnTo>
                  <a:pt x="1315554" y="179450"/>
                </a:lnTo>
                <a:lnTo>
                  <a:pt x="1315554" y="110235"/>
                </a:lnTo>
                <a:lnTo>
                  <a:pt x="1316150" y="102286"/>
                </a:lnTo>
                <a:lnTo>
                  <a:pt x="1317936" y="95027"/>
                </a:lnTo>
                <a:lnTo>
                  <a:pt x="1320912" y="88483"/>
                </a:lnTo>
                <a:lnTo>
                  <a:pt x="1325079" y="82676"/>
                </a:lnTo>
                <a:lnTo>
                  <a:pt x="1329631" y="78358"/>
                </a:lnTo>
                <a:lnTo>
                  <a:pt x="1315554" y="78358"/>
                </a:lnTo>
                <a:lnTo>
                  <a:pt x="1315554" y="58292"/>
                </a:lnTo>
                <a:close/>
              </a:path>
              <a:path w="1397000" h="182245">
                <a:moveTo>
                  <a:pt x="1388445" y="71754"/>
                </a:moveTo>
                <a:lnTo>
                  <a:pt x="1349209" y="71754"/>
                </a:lnTo>
                <a:lnTo>
                  <a:pt x="1361471" y="74160"/>
                </a:lnTo>
                <a:lnTo>
                  <a:pt x="1370244" y="81375"/>
                </a:lnTo>
                <a:lnTo>
                  <a:pt x="1375516" y="93400"/>
                </a:lnTo>
                <a:lnTo>
                  <a:pt x="1377276" y="110235"/>
                </a:lnTo>
                <a:lnTo>
                  <a:pt x="1377276" y="179450"/>
                </a:lnTo>
                <a:lnTo>
                  <a:pt x="1396707" y="179450"/>
                </a:lnTo>
                <a:lnTo>
                  <a:pt x="1396707" y="105282"/>
                </a:lnTo>
                <a:lnTo>
                  <a:pt x="1396043" y="93898"/>
                </a:lnTo>
                <a:lnTo>
                  <a:pt x="1394056" y="83931"/>
                </a:lnTo>
                <a:lnTo>
                  <a:pt x="1390760" y="75368"/>
                </a:lnTo>
                <a:lnTo>
                  <a:pt x="1388445" y="71754"/>
                </a:lnTo>
                <a:close/>
              </a:path>
              <a:path w="1397000" h="182245">
                <a:moveTo>
                  <a:pt x="1355813" y="55371"/>
                </a:moveTo>
                <a:lnTo>
                  <a:pt x="1343548" y="56802"/>
                </a:lnTo>
                <a:lnTo>
                  <a:pt x="1332842" y="61102"/>
                </a:lnTo>
                <a:lnTo>
                  <a:pt x="1323684" y="68284"/>
                </a:lnTo>
                <a:lnTo>
                  <a:pt x="1316062" y="78358"/>
                </a:lnTo>
                <a:lnTo>
                  <a:pt x="1329631" y="78358"/>
                </a:lnTo>
                <a:lnTo>
                  <a:pt x="1330153" y="77862"/>
                </a:lnTo>
                <a:lnTo>
                  <a:pt x="1335859" y="74453"/>
                </a:lnTo>
                <a:lnTo>
                  <a:pt x="1342207" y="72425"/>
                </a:lnTo>
                <a:lnTo>
                  <a:pt x="1349209" y="71754"/>
                </a:lnTo>
                <a:lnTo>
                  <a:pt x="1388445" y="71754"/>
                </a:lnTo>
                <a:lnTo>
                  <a:pt x="1386166" y="68198"/>
                </a:lnTo>
                <a:lnTo>
                  <a:pt x="1380334" y="62605"/>
                </a:lnTo>
                <a:lnTo>
                  <a:pt x="1373324" y="58594"/>
                </a:lnTo>
                <a:lnTo>
                  <a:pt x="1365146" y="56179"/>
                </a:lnTo>
                <a:lnTo>
                  <a:pt x="1355813" y="55371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98517" y="2373291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89" h="429894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D73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1111944" y="2481574"/>
            <a:ext cx="337646" cy="169272"/>
          </a:xfrm>
          <a:custGeom>
            <a:avLst/>
            <a:gdLst/>
            <a:ahLst/>
            <a:cxnLst/>
            <a:rect l="l" t="t" r="r" b="b"/>
            <a:pathLst>
              <a:path w="459105" h="172719">
                <a:moveTo>
                  <a:pt x="46862" y="0"/>
                </a:moveTo>
                <a:lnTo>
                  <a:pt x="0" y="0"/>
                </a:lnTo>
                <a:lnTo>
                  <a:pt x="0" y="169672"/>
                </a:lnTo>
                <a:lnTo>
                  <a:pt x="44958" y="169672"/>
                </a:lnTo>
                <a:lnTo>
                  <a:pt x="64841" y="168173"/>
                </a:lnTo>
                <a:lnTo>
                  <a:pt x="82581" y="163687"/>
                </a:lnTo>
                <a:lnTo>
                  <a:pt x="98178" y="156223"/>
                </a:lnTo>
                <a:lnTo>
                  <a:pt x="104095" y="151637"/>
                </a:lnTo>
                <a:lnTo>
                  <a:pt x="19939" y="151637"/>
                </a:lnTo>
                <a:lnTo>
                  <a:pt x="19939" y="18034"/>
                </a:lnTo>
                <a:lnTo>
                  <a:pt x="109418" y="18034"/>
                </a:lnTo>
                <a:lnTo>
                  <a:pt x="86127" y="5167"/>
                </a:lnTo>
                <a:lnTo>
                  <a:pt x="46862" y="0"/>
                </a:lnTo>
                <a:close/>
              </a:path>
              <a:path w="459105" h="172719">
                <a:moveTo>
                  <a:pt x="109418" y="18034"/>
                </a:moveTo>
                <a:lnTo>
                  <a:pt x="46481" y="18034"/>
                </a:lnTo>
                <a:lnTo>
                  <a:pt x="76819" y="22105"/>
                </a:lnTo>
                <a:lnTo>
                  <a:pt x="98488" y="34321"/>
                </a:lnTo>
                <a:lnTo>
                  <a:pt x="111490" y="54681"/>
                </a:lnTo>
                <a:lnTo>
                  <a:pt x="115823" y="83185"/>
                </a:lnTo>
                <a:lnTo>
                  <a:pt x="114657" y="98639"/>
                </a:lnTo>
                <a:lnTo>
                  <a:pt x="97155" y="133858"/>
                </a:lnTo>
                <a:lnTo>
                  <a:pt x="60971" y="150538"/>
                </a:lnTo>
                <a:lnTo>
                  <a:pt x="45212" y="151637"/>
                </a:lnTo>
                <a:lnTo>
                  <a:pt x="104095" y="151637"/>
                </a:lnTo>
                <a:lnTo>
                  <a:pt x="130381" y="118094"/>
                </a:lnTo>
                <a:lnTo>
                  <a:pt x="136652" y="82676"/>
                </a:lnTo>
                <a:lnTo>
                  <a:pt x="131034" y="46505"/>
                </a:lnTo>
                <a:lnTo>
                  <a:pt x="114188" y="20669"/>
                </a:lnTo>
                <a:lnTo>
                  <a:pt x="109418" y="18034"/>
                </a:lnTo>
                <a:close/>
              </a:path>
              <a:path w="459105" h="172719">
                <a:moveTo>
                  <a:pt x="245509" y="61975"/>
                </a:moveTo>
                <a:lnTo>
                  <a:pt x="208915" y="61975"/>
                </a:lnTo>
                <a:lnTo>
                  <a:pt x="219896" y="63904"/>
                </a:lnTo>
                <a:lnTo>
                  <a:pt x="227710" y="69691"/>
                </a:lnTo>
                <a:lnTo>
                  <a:pt x="232382" y="79335"/>
                </a:lnTo>
                <a:lnTo>
                  <a:pt x="233934" y="92837"/>
                </a:lnTo>
                <a:lnTo>
                  <a:pt x="197612" y="97917"/>
                </a:lnTo>
                <a:lnTo>
                  <a:pt x="180109" y="102518"/>
                </a:lnTo>
                <a:lnTo>
                  <a:pt x="167608" y="110632"/>
                </a:lnTo>
                <a:lnTo>
                  <a:pt x="160106" y="122300"/>
                </a:lnTo>
                <a:lnTo>
                  <a:pt x="157607" y="137541"/>
                </a:lnTo>
                <a:lnTo>
                  <a:pt x="158249" y="145063"/>
                </a:lnTo>
                <a:lnTo>
                  <a:pt x="187646" y="171870"/>
                </a:lnTo>
                <a:lnTo>
                  <a:pt x="196215" y="172466"/>
                </a:lnTo>
                <a:lnTo>
                  <a:pt x="207762" y="171108"/>
                </a:lnTo>
                <a:lnTo>
                  <a:pt x="217820" y="167036"/>
                </a:lnTo>
                <a:lnTo>
                  <a:pt x="226379" y="160250"/>
                </a:lnTo>
                <a:lnTo>
                  <a:pt x="229375" y="156210"/>
                </a:lnTo>
                <a:lnTo>
                  <a:pt x="193675" y="156210"/>
                </a:lnTo>
                <a:lnTo>
                  <a:pt x="188087" y="154305"/>
                </a:lnTo>
                <a:lnTo>
                  <a:pt x="183769" y="150622"/>
                </a:lnTo>
                <a:lnTo>
                  <a:pt x="179578" y="146812"/>
                </a:lnTo>
                <a:lnTo>
                  <a:pt x="177546" y="141986"/>
                </a:lnTo>
                <a:lnTo>
                  <a:pt x="177561" y="127851"/>
                </a:lnTo>
                <a:lnTo>
                  <a:pt x="179840" y="122295"/>
                </a:lnTo>
                <a:lnTo>
                  <a:pt x="188976" y="115950"/>
                </a:lnTo>
                <a:lnTo>
                  <a:pt x="195707" y="113664"/>
                </a:lnTo>
                <a:lnTo>
                  <a:pt x="233934" y="108331"/>
                </a:lnTo>
                <a:lnTo>
                  <a:pt x="253365" y="108331"/>
                </a:lnTo>
                <a:lnTo>
                  <a:pt x="253365" y="90932"/>
                </a:lnTo>
                <a:lnTo>
                  <a:pt x="250696" y="71116"/>
                </a:lnTo>
                <a:lnTo>
                  <a:pt x="245509" y="61975"/>
                </a:lnTo>
                <a:close/>
              </a:path>
              <a:path w="459105" h="172719">
                <a:moveTo>
                  <a:pt x="253365" y="150749"/>
                </a:moveTo>
                <a:lnTo>
                  <a:pt x="233934" y="150749"/>
                </a:lnTo>
                <a:lnTo>
                  <a:pt x="233934" y="169672"/>
                </a:lnTo>
                <a:lnTo>
                  <a:pt x="253365" y="169672"/>
                </a:lnTo>
                <a:lnTo>
                  <a:pt x="253365" y="150749"/>
                </a:lnTo>
                <a:close/>
              </a:path>
              <a:path w="459105" h="172719">
                <a:moveTo>
                  <a:pt x="253365" y="108331"/>
                </a:moveTo>
                <a:lnTo>
                  <a:pt x="233934" y="108331"/>
                </a:lnTo>
                <a:lnTo>
                  <a:pt x="233934" y="120396"/>
                </a:lnTo>
                <a:lnTo>
                  <a:pt x="233330" y="127888"/>
                </a:lnTo>
                <a:lnTo>
                  <a:pt x="200659" y="156210"/>
                </a:lnTo>
                <a:lnTo>
                  <a:pt x="229375" y="156210"/>
                </a:lnTo>
                <a:lnTo>
                  <a:pt x="233426" y="150749"/>
                </a:lnTo>
                <a:lnTo>
                  <a:pt x="253365" y="150749"/>
                </a:lnTo>
                <a:lnTo>
                  <a:pt x="253365" y="108331"/>
                </a:lnTo>
                <a:close/>
              </a:path>
              <a:path w="459105" h="172719">
                <a:moveTo>
                  <a:pt x="210565" y="45720"/>
                </a:moveTo>
                <a:lnTo>
                  <a:pt x="169477" y="56991"/>
                </a:lnTo>
                <a:lnTo>
                  <a:pt x="169417" y="76962"/>
                </a:lnTo>
                <a:lnTo>
                  <a:pt x="178536" y="70387"/>
                </a:lnTo>
                <a:lnTo>
                  <a:pt x="188166" y="65706"/>
                </a:lnTo>
                <a:lnTo>
                  <a:pt x="198296" y="62906"/>
                </a:lnTo>
                <a:lnTo>
                  <a:pt x="208915" y="61975"/>
                </a:lnTo>
                <a:lnTo>
                  <a:pt x="245509" y="61975"/>
                </a:lnTo>
                <a:lnTo>
                  <a:pt x="242681" y="56991"/>
                </a:lnTo>
                <a:lnTo>
                  <a:pt x="229308" y="48533"/>
                </a:lnTo>
                <a:lnTo>
                  <a:pt x="210565" y="45720"/>
                </a:lnTo>
                <a:close/>
              </a:path>
              <a:path w="459105" h="172719">
                <a:moveTo>
                  <a:pt x="315722" y="65024"/>
                </a:moveTo>
                <a:lnTo>
                  <a:pt x="296291" y="65024"/>
                </a:lnTo>
                <a:lnTo>
                  <a:pt x="296291" y="136779"/>
                </a:lnTo>
                <a:lnTo>
                  <a:pt x="298289" y="152300"/>
                </a:lnTo>
                <a:lnTo>
                  <a:pt x="304276" y="163417"/>
                </a:lnTo>
                <a:lnTo>
                  <a:pt x="314239" y="170104"/>
                </a:lnTo>
                <a:lnTo>
                  <a:pt x="328167" y="172338"/>
                </a:lnTo>
                <a:lnTo>
                  <a:pt x="335660" y="172338"/>
                </a:lnTo>
                <a:lnTo>
                  <a:pt x="341629" y="171069"/>
                </a:lnTo>
                <a:lnTo>
                  <a:pt x="346202" y="168529"/>
                </a:lnTo>
                <a:lnTo>
                  <a:pt x="346202" y="155956"/>
                </a:lnTo>
                <a:lnTo>
                  <a:pt x="327152" y="155956"/>
                </a:lnTo>
                <a:lnTo>
                  <a:pt x="322579" y="154178"/>
                </a:lnTo>
                <a:lnTo>
                  <a:pt x="319913" y="150749"/>
                </a:lnTo>
                <a:lnTo>
                  <a:pt x="317119" y="147320"/>
                </a:lnTo>
                <a:lnTo>
                  <a:pt x="315722" y="141478"/>
                </a:lnTo>
                <a:lnTo>
                  <a:pt x="315722" y="65024"/>
                </a:lnTo>
                <a:close/>
              </a:path>
              <a:path w="459105" h="172719">
                <a:moveTo>
                  <a:pt x="346202" y="151892"/>
                </a:moveTo>
                <a:lnTo>
                  <a:pt x="342772" y="154559"/>
                </a:lnTo>
                <a:lnTo>
                  <a:pt x="338454" y="155956"/>
                </a:lnTo>
                <a:lnTo>
                  <a:pt x="346202" y="155956"/>
                </a:lnTo>
                <a:lnTo>
                  <a:pt x="346202" y="151892"/>
                </a:lnTo>
                <a:close/>
              </a:path>
              <a:path w="459105" h="172719">
                <a:moveTo>
                  <a:pt x="346202" y="48513"/>
                </a:moveTo>
                <a:lnTo>
                  <a:pt x="275463" y="48513"/>
                </a:lnTo>
                <a:lnTo>
                  <a:pt x="275463" y="65024"/>
                </a:lnTo>
                <a:lnTo>
                  <a:pt x="346202" y="65024"/>
                </a:lnTo>
                <a:lnTo>
                  <a:pt x="346202" y="48513"/>
                </a:lnTo>
                <a:close/>
              </a:path>
              <a:path w="459105" h="172719">
                <a:moveTo>
                  <a:pt x="315722" y="12700"/>
                </a:moveTo>
                <a:lnTo>
                  <a:pt x="296291" y="18923"/>
                </a:lnTo>
                <a:lnTo>
                  <a:pt x="296291" y="48513"/>
                </a:lnTo>
                <a:lnTo>
                  <a:pt x="315722" y="48513"/>
                </a:lnTo>
                <a:lnTo>
                  <a:pt x="315722" y="12700"/>
                </a:lnTo>
                <a:close/>
              </a:path>
              <a:path w="459105" h="172719">
                <a:moveTo>
                  <a:pt x="451249" y="61975"/>
                </a:moveTo>
                <a:lnTo>
                  <a:pt x="414654" y="61975"/>
                </a:lnTo>
                <a:lnTo>
                  <a:pt x="425636" y="63904"/>
                </a:lnTo>
                <a:lnTo>
                  <a:pt x="433451" y="69691"/>
                </a:lnTo>
                <a:lnTo>
                  <a:pt x="438122" y="79335"/>
                </a:lnTo>
                <a:lnTo>
                  <a:pt x="439673" y="92837"/>
                </a:lnTo>
                <a:lnTo>
                  <a:pt x="403352" y="97917"/>
                </a:lnTo>
                <a:lnTo>
                  <a:pt x="385849" y="102518"/>
                </a:lnTo>
                <a:lnTo>
                  <a:pt x="373348" y="110632"/>
                </a:lnTo>
                <a:lnTo>
                  <a:pt x="365846" y="122300"/>
                </a:lnTo>
                <a:lnTo>
                  <a:pt x="363347" y="137541"/>
                </a:lnTo>
                <a:lnTo>
                  <a:pt x="363989" y="145063"/>
                </a:lnTo>
                <a:lnTo>
                  <a:pt x="393386" y="171870"/>
                </a:lnTo>
                <a:lnTo>
                  <a:pt x="401954" y="172466"/>
                </a:lnTo>
                <a:lnTo>
                  <a:pt x="413502" y="171108"/>
                </a:lnTo>
                <a:lnTo>
                  <a:pt x="423560" y="167036"/>
                </a:lnTo>
                <a:lnTo>
                  <a:pt x="432119" y="160250"/>
                </a:lnTo>
                <a:lnTo>
                  <a:pt x="435115" y="156210"/>
                </a:lnTo>
                <a:lnTo>
                  <a:pt x="399415" y="156210"/>
                </a:lnTo>
                <a:lnTo>
                  <a:pt x="393827" y="154305"/>
                </a:lnTo>
                <a:lnTo>
                  <a:pt x="389509" y="150622"/>
                </a:lnTo>
                <a:lnTo>
                  <a:pt x="385317" y="146812"/>
                </a:lnTo>
                <a:lnTo>
                  <a:pt x="383285" y="141986"/>
                </a:lnTo>
                <a:lnTo>
                  <a:pt x="383301" y="127851"/>
                </a:lnTo>
                <a:lnTo>
                  <a:pt x="385580" y="122295"/>
                </a:lnTo>
                <a:lnTo>
                  <a:pt x="394716" y="115950"/>
                </a:lnTo>
                <a:lnTo>
                  <a:pt x="401447" y="113664"/>
                </a:lnTo>
                <a:lnTo>
                  <a:pt x="439673" y="108331"/>
                </a:lnTo>
                <a:lnTo>
                  <a:pt x="459104" y="108331"/>
                </a:lnTo>
                <a:lnTo>
                  <a:pt x="459104" y="90932"/>
                </a:lnTo>
                <a:lnTo>
                  <a:pt x="456436" y="71116"/>
                </a:lnTo>
                <a:lnTo>
                  <a:pt x="451249" y="61975"/>
                </a:lnTo>
                <a:close/>
              </a:path>
              <a:path w="459105" h="172719">
                <a:moveTo>
                  <a:pt x="459104" y="150749"/>
                </a:moveTo>
                <a:lnTo>
                  <a:pt x="439673" y="150749"/>
                </a:lnTo>
                <a:lnTo>
                  <a:pt x="439673" y="169672"/>
                </a:lnTo>
                <a:lnTo>
                  <a:pt x="459104" y="169672"/>
                </a:lnTo>
                <a:lnTo>
                  <a:pt x="459104" y="150749"/>
                </a:lnTo>
                <a:close/>
              </a:path>
              <a:path w="459105" h="172719">
                <a:moveTo>
                  <a:pt x="459104" y="108331"/>
                </a:moveTo>
                <a:lnTo>
                  <a:pt x="439673" y="108331"/>
                </a:lnTo>
                <a:lnTo>
                  <a:pt x="439673" y="120396"/>
                </a:lnTo>
                <a:lnTo>
                  <a:pt x="439070" y="127888"/>
                </a:lnTo>
                <a:lnTo>
                  <a:pt x="406400" y="156210"/>
                </a:lnTo>
                <a:lnTo>
                  <a:pt x="435115" y="156210"/>
                </a:lnTo>
                <a:lnTo>
                  <a:pt x="439166" y="150749"/>
                </a:lnTo>
                <a:lnTo>
                  <a:pt x="459104" y="150749"/>
                </a:lnTo>
                <a:lnTo>
                  <a:pt x="459104" y="108331"/>
                </a:lnTo>
                <a:close/>
              </a:path>
              <a:path w="459105" h="172719">
                <a:moveTo>
                  <a:pt x="416306" y="45720"/>
                </a:moveTo>
                <a:lnTo>
                  <a:pt x="375217" y="56991"/>
                </a:lnTo>
                <a:lnTo>
                  <a:pt x="375158" y="76962"/>
                </a:lnTo>
                <a:lnTo>
                  <a:pt x="384276" y="70387"/>
                </a:lnTo>
                <a:lnTo>
                  <a:pt x="393906" y="65706"/>
                </a:lnTo>
                <a:lnTo>
                  <a:pt x="404036" y="62906"/>
                </a:lnTo>
                <a:lnTo>
                  <a:pt x="414654" y="61975"/>
                </a:lnTo>
                <a:lnTo>
                  <a:pt x="451249" y="61975"/>
                </a:lnTo>
                <a:lnTo>
                  <a:pt x="448421" y="56991"/>
                </a:lnTo>
                <a:lnTo>
                  <a:pt x="435048" y="48533"/>
                </a:lnTo>
                <a:lnTo>
                  <a:pt x="416306" y="45720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98517" y="1869956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89" h="429894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D73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96061" y="1969030"/>
            <a:ext cx="959700" cy="230882"/>
          </a:xfrm>
          <a:custGeom>
            <a:avLst/>
            <a:gdLst/>
            <a:ahLst/>
            <a:cxnLst/>
            <a:rect l="l" t="t" r="r" b="b"/>
            <a:pathLst>
              <a:path w="1304925" h="235585">
                <a:moveTo>
                  <a:pt x="85661" y="9779"/>
                </a:moveTo>
                <a:lnTo>
                  <a:pt x="65074" y="9779"/>
                </a:lnTo>
                <a:lnTo>
                  <a:pt x="0" y="179450"/>
                </a:lnTo>
                <a:lnTo>
                  <a:pt x="22123" y="179450"/>
                </a:lnTo>
                <a:lnTo>
                  <a:pt x="39052" y="131825"/>
                </a:lnTo>
                <a:lnTo>
                  <a:pt x="132644" y="131825"/>
                </a:lnTo>
                <a:lnTo>
                  <a:pt x="125750" y="113919"/>
                </a:lnTo>
                <a:lnTo>
                  <a:pt x="45669" y="113919"/>
                </a:lnTo>
                <a:lnTo>
                  <a:pt x="73088" y="38862"/>
                </a:lnTo>
                <a:lnTo>
                  <a:pt x="73990" y="35179"/>
                </a:lnTo>
                <a:lnTo>
                  <a:pt x="74777" y="30353"/>
                </a:lnTo>
                <a:lnTo>
                  <a:pt x="93581" y="30353"/>
                </a:lnTo>
                <a:lnTo>
                  <a:pt x="85661" y="9779"/>
                </a:lnTo>
                <a:close/>
              </a:path>
              <a:path w="1304925" h="235585">
                <a:moveTo>
                  <a:pt x="132644" y="131825"/>
                </a:moveTo>
                <a:lnTo>
                  <a:pt x="110985" y="131825"/>
                </a:lnTo>
                <a:lnTo>
                  <a:pt x="128968" y="179450"/>
                </a:lnTo>
                <a:lnTo>
                  <a:pt x="150977" y="179450"/>
                </a:lnTo>
                <a:lnTo>
                  <a:pt x="132644" y="131825"/>
                </a:lnTo>
                <a:close/>
              </a:path>
              <a:path w="1304925" h="235585">
                <a:moveTo>
                  <a:pt x="93581" y="30353"/>
                </a:moveTo>
                <a:lnTo>
                  <a:pt x="75247" y="30353"/>
                </a:lnTo>
                <a:lnTo>
                  <a:pt x="76123" y="35560"/>
                </a:lnTo>
                <a:lnTo>
                  <a:pt x="76987" y="39370"/>
                </a:lnTo>
                <a:lnTo>
                  <a:pt x="77850" y="41656"/>
                </a:lnTo>
                <a:lnTo>
                  <a:pt x="104482" y="113919"/>
                </a:lnTo>
                <a:lnTo>
                  <a:pt x="125750" y="113919"/>
                </a:lnTo>
                <a:lnTo>
                  <a:pt x="93581" y="30353"/>
                </a:lnTo>
                <a:close/>
              </a:path>
              <a:path w="1304925" h="235585">
                <a:moveTo>
                  <a:pt x="193420" y="58293"/>
                </a:moveTo>
                <a:lnTo>
                  <a:pt x="174015" y="58293"/>
                </a:lnTo>
                <a:lnTo>
                  <a:pt x="174015" y="235077"/>
                </a:lnTo>
                <a:lnTo>
                  <a:pt x="193420" y="235077"/>
                </a:lnTo>
                <a:lnTo>
                  <a:pt x="193420" y="161925"/>
                </a:lnTo>
                <a:lnTo>
                  <a:pt x="211818" y="161925"/>
                </a:lnTo>
                <a:lnTo>
                  <a:pt x="193420" y="129921"/>
                </a:lnTo>
                <a:lnTo>
                  <a:pt x="193420" y="113030"/>
                </a:lnTo>
                <a:lnTo>
                  <a:pt x="208073" y="79502"/>
                </a:lnTo>
                <a:lnTo>
                  <a:pt x="193420" y="79502"/>
                </a:lnTo>
                <a:lnTo>
                  <a:pt x="193420" y="58293"/>
                </a:lnTo>
                <a:close/>
              </a:path>
              <a:path w="1304925" h="235585">
                <a:moveTo>
                  <a:pt x="211818" y="161925"/>
                </a:moveTo>
                <a:lnTo>
                  <a:pt x="193928" y="161925"/>
                </a:lnTo>
                <a:lnTo>
                  <a:pt x="200979" y="170832"/>
                </a:lnTo>
                <a:lnTo>
                  <a:pt x="209375" y="177180"/>
                </a:lnTo>
                <a:lnTo>
                  <a:pt x="219128" y="180980"/>
                </a:lnTo>
                <a:lnTo>
                  <a:pt x="230250" y="182245"/>
                </a:lnTo>
                <a:lnTo>
                  <a:pt x="242365" y="181101"/>
                </a:lnTo>
                <a:lnTo>
                  <a:pt x="253158" y="177673"/>
                </a:lnTo>
                <a:lnTo>
                  <a:pt x="262594" y="171958"/>
                </a:lnTo>
                <a:lnTo>
                  <a:pt x="268722" y="165862"/>
                </a:lnTo>
                <a:lnTo>
                  <a:pt x="227965" y="165862"/>
                </a:lnTo>
                <a:lnTo>
                  <a:pt x="220773" y="165217"/>
                </a:lnTo>
                <a:lnTo>
                  <a:pt x="214249" y="163274"/>
                </a:lnTo>
                <a:lnTo>
                  <a:pt x="211818" y="161925"/>
                </a:lnTo>
                <a:close/>
              </a:path>
              <a:path w="1304925" h="235585">
                <a:moveTo>
                  <a:pt x="272370" y="71755"/>
                </a:moveTo>
                <a:lnTo>
                  <a:pt x="230885" y="71755"/>
                </a:lnTo>
                <a:lnTo>
                  <a:pt x="238480" y="72469"/>
                </a:lnTo>
                <a:lnTo>
                  <a:pt x="245252" y="74612"/>
                </a:lnTo>
                <a:lnTo>
                  <a:pt x="265442" y="113030"/>
                </a:lnTo>
                <a:lnTo>
                  <a:pt x="265536" y="115316"/>
                </a:lnTo>
                <a:lnTo>
                  <a:pt x="264937" y="126271"/>
                </a:lnTo>
                <a:lnTo>
                  <a:pt x="243712" y="162512"/>
                </a:lnTo>
                <a:lnTo>
                  <a:pt x="227965" y="165862"/>
                </a:lnTo>
                <a:lnTo>
                  <a:pt x="268722" y="165862"/>
                </a:lnTo>
                <a:lnTo>
                  <a:pt x="284567" y="129720"/>
                </a:lnTo>
                <a:lnTo>
                  <a:pt x="285495" y="115316"/>
                </a:lnTo>
                <a:lnTo>
                  <a:pt x="284664" y="102310"/>
                </a:lnTo>
                <a:lnTo>
                  <a:pt x="282178" y="90709"/>
                </a:lnTo>
                <a:lnTo>
                  <a:pt x="278048" y="80490"/>
                </a:lnTo>
                <a:lnTo>
                  <a:pt x="272370" y="71755"/>
                </a:lnTo>
                <a:close/>
              </a:path>
              <a:path w="1304925" h="235585">
                <a:moveTo>
                  <a:pt x="235712" y="55372"/>
                </a:moveTo>
                <a:lnTo>
                  <a:pt x="222807" y="56892"/>
                </a:lnTo>
                <a:lnTo>
                  <a:pt x="211534" y="61436"/>
                </a:lnTo>
                <a:lnTo>
                  <a:pt x="201904" y="68980"/>
                </a:lnTo>
                <a:lnTo>
                  <a:pt x="193928" y="79502"/>
                </a:lnTo>
                <a:lnTo>
                  <a:pt x="208073" y="79502"/>
                </a:lnTo>
                <a:lnTo>
                  <a:pt x="209258" y="78398"/>
                </a:lnTo>
                <a:lnTo>
                  <a:pt x="215630" y="74707"/>
                </a:lnTo>
                <a:lnTo>
                  <a:pt x="222835" y="72493"/>
                </a:lnTo>
                <a:lnTo>
                  <a:pt x="230885" y="71755"/>
                </a:lnTo>
                <a:lnTo>
                  <a:pt x="272370" y="71755"/>
                </a:lnTo>
                <a:lnTo>
                  <a:pt x="265072" y="64533"/>
                </a:lnTo>
                <a:lnTo>
                  <a:pt x="256571" y="59451"/>
                </a:lnTo>
                <a:lnTo>
                  <a:pt x="246784" y="56393"/>
                </a:lnTo>
                <a:lnTo>
                  <a:pt x="235712" y="55372"/>
                </a:lnTo>
                <a:close/>
              </a:path>
              <a:path w="1304925" h="235585">
                <a:moveTo>
                  <a:pt x="335153" y="58293"/>
                </a:moveTo>
                <a:lnTo>
                  <a:pt x="315722" y="58293"/>
                </a:lnTo>
                <a:lnTo>
                  <a:pt x="315722" y="235077"/>
                </a:lnTo>
                <a:lnTo>
                  <a:pt x="335153" y="235077"/>
                </a:lnTo>
                <a:lnTo>
                  <a:pt x="335153" y="161925"/>
                </a:lnTo>
                <a:lnTo>
                  <a:pt x="353550" y="161925"/>
                </a:lnTo>
                <a:lnTo>
                  <a:pt x="335153" y="129921"/>
                </a:lnTo>
                <a:lnTo>
                  <a:pt x="335153" y="113030"/>
                </a:lnTo>
                <a:lnTo>
                  <a:pt x="349805" y="79502"/>
                </a:lnTo>
                <a:lnTo>
                  <a:pt x="335153" y="79502"/>
                </a:lnTo>
                <a:lnTo>
                  <a:pt x="335153" y="58293"/>
                </a:lnTo>
                <a:close/>
              </a:path>
              <a:path w="1304925" h="235585">
                <a:moveTo>
                  <a:pt x="353550" y="161925"/>
                </a:moveTo>
                <a:lnTo>
                  <a:pt x="335660" y="161925"/>
                </a:lnTo>
                <a:lnTo>
                  <a:pt x="342711" y="170832"/>
                </a:lnTo>
                <a:lnTo>
                  <a:pt x="351107" y="177180"/>
                </a:lnTo>
                <a:lnTo>
                  <a:pt x="360860" y="180980"/>
                </a:lnTo>
                <a:lnTo>
                  <a:pt x="371982" y="182245"/>
                </a:lnTo>
                <a:lnTo>
                  <a:pt x="384097" y="181101"/>
                </a:lnTo>
                <a:lnTo>
                  <a:pt x="394890" y="177673"/>
                </a:lnTo>
                <a:lnTo>
                  <a:pt x="404326" y="171958"/>
                </a:lnTo>
                <a:lnTo>
                  <a:pt x="410454" y="165862"/>
                </a:lnTo>
                <a:lnTo>
                  <a:pt x="369697" y="165862"/>
                </a:lnTo>
                <a:lnTo>
                  <a:pt x="362505" y="165217"/>
                </a:lnTo>
                <a:lnTo>
                  <a:pt x="355980" y="163274"/>
                </a:lnTo>
                <a:lnTo>
                  <a:pt x="353550" y="161925"/>
                </a:lnTo>
                <a:close/>
              </a:path>
              <a:path w="1304925" h="235585">
                <a:moveTo>
                  <a:pt x="414102" y="71755"/>
                </a:moveTo>
                <a:lnTo>
                  <a:pt x="372617" y="71755"/>
                </a:lnTo>
                <a:lnTo>
                  <a:pt x="380212" y="72469"/>
                </a:lnTo>
                <a:lnTo>
                  <a:pt x="386984" y="74612"/>
                </a:lnTo>
                <a:lnTo>
                  <a:pt x="407174" y="113030"/>
                </a:lnTo>
                <a:lnTo>
                  <a:pt x="407268" y="115316"/>
                </a:lnTo>
                <a:lnTo>
                  <a:pt x="406669" y="126271"/>
                </a:lnTo>
                <a:lnTo>
                  <a:pt x="385444" y="162512"/>
                </a:lnTo>
                <a:lnTo>
                  <a:pt x="369697" y="165862"/>
                </a:lnTo>
                <a:lnTo>
                  <a:pt x="410454" y="165862"/>
                </a:lnTo>
                <a:lnTo>
                  <a:pt x="426299" y="129720"/>
                </a:lnTo>
                <a:lnTo>
                  <a:pt x="427228" y="115316"/>
                </a:lnTo>
                <a:lnTo>
                  <a:pt x="426396" y="102310"/>
                </a:lnTo>
                <a:lnTo>
                  <a:pt x="423910" y="90709"/>
                </a:lnTo>
                <a:lnTo>
                  <a:pt x="419780" y="80490"/>
                </a:lnTo>
                <a:lnTo>
                  <a:pt x="414102" y="71755"/>
                </a:lnTo>
                <a:close/>
              </a:path>
              <a:path w="1304925" h="235585">
                <a:moveTo>
                  <a:pt x="377444" y="55372"/>
                </a:moveTo>
                <a:lnTo>
                  <a:pt x="364539" y="56892"/>
                </a:lnTo>
                <a:lnTo>
                  <a:pt x="353266" y="61436"/>
                </a:lnTo>
                <a:lnTo>
                  <a:pt x="343636" y="68980"/>
                </a:lnTo>
                <a:lnTo>
                  <a:pt x="335660" y="79502"/>
                </a:lnTo>
                <a:lnTo>
                  <a:pt x="349805" y="79502"/>
                </a:lnTo>
                <a:lnTo>
                  <a:pt x="350990" y="78398"/>
                </a:lnTo>
                <a:lnTo>
                  <a:pt x="357362" y="74707"/>
                </a:lnTo>
                <a:lnTo>
                  <a:pt x="364567" y="72493"/>
                </a:lnTo>
                <a:lnTo>
                  <a:pt x="372617" y="71755"/>
                </a:lnTo>
                <a:lnTo>
                  <a:pt x="414102" y="71755"/>
                </a:lnTo>
                <a:lnTo>
                  <a:pt x="406804" y="64533"/>
                </a:lnTo>
                <a:lnTo>
                  <a:pt x="398303" y="59451"/>
                </a:lnTo>
                <a:lnTo>
                  <a:pt x="388516" y="56393"/>
                </a:lnTo>
                <a:lnTo>
                  <a:pt x="377444" y="55372"/>
                </a:lnTo>
                <a:close/>
              </a:path>
              <a:path w="1304925" h="235585">
                <a:moveTo>
                  <a:pt x="476884" y="0"/>
                </a:moveTo>
                <a:lnTo>
                  <a:pt x="457453" y="0"/>
                </a:lnTo>
                <a:lnTo>
                  <a:pt x="457453" y="179450"/>
                </a:lnTo>
                <a:lnTo>
                  <a:pt x="476884" y="179450"/>
                </a:lnTo>
                <a:lnTo>
                  <a:pt x="476884" y="0"/>
                </a:lnTo>
                <a:close/>
              </a:path>
              <a:path w="1304925" h="235585">
                <a:moveTo>
                  <a:pt x="530351" y="2286"/>
                </a:moveTo>
                <a:lnTo>
                  <a:pt x="523366" y="2286"/>
                </a:lnTo>
                <a:lnTo>
                  <a:pt x="520445" y="3429"/>
                </a:lnTo>
                <a:lnTo>
                  <a:pt x="518032" y="5842"/>
                </a:lnTo>
                <a:lnTo>
                  <a:pt x="515492" y="8255"/>
                </a:lnTo>
                <a:lnTo>
                  <a:pt x="514350" y="11303"/>
                </a:lnTo>
                <a:lnTo>
                  <a:pt x="514350" y="18542"/>
                </a:lnTo>
                <a:lnTo>
                  <a:pt x="515492" y="21590"/>
                </a:lnTo>
                <a:lnTo>
                  <a:pt x="518032" y="23875"/>
                </a:lnTo>
                <a:lnTo>
                  <a:pt x="520445" y="26289"/>
                </a:lnTo>
                <a:lnTo>
                  <a:pt x="523366" y="27432"/>
                </a:lnTo>
                <a:lnTo>
                  <a:pt x="530351" y="27432"/>
                </a:lnTo>
                <a:lnTo>
                  <a:pt x="539622" y="11303"/>
                </a:lnTo>
                <a:lnTo>
                  <a:pt x="538353" y="8255"/>
                </a:lnTo>
                <a:lnTo>
                  <a:pt x="535940" y="5842"/>
                </a:lnTo>
                <a:lnTo>
                  <a:pt x="533400" y="3429"/>
                </a:lnTo>
                <a:lnTo>
                  <a:pt x="530351" y="2286"/>
                </a:lnTo>
                <a:close/>
              </a:path>
              <a:path w="1304925" h="235585">
                <a:moveTo>
                  <a:pt x="536320" y="58293"/>
                </a:moveTo>
                <a:lnTo>
                  <a:pt x="516890" y="58293"/>
                </a:lnTo>
                <a:lnTo>
                  <a:pt x="516890" y="179450"/>
                </a:lnTo>
                <a:lnTo>
                  <a:pt x="536320" y="179450"/>
                </a:lnTo>
                <a:lnTo>
                  <a:pt x="536320" y="58293"/>
                </a:lnTo>
                <a:close/>
              </a:path>
              <a:path w="1304925" h="235585">
                <a:moveTo>
                  <a:pt x="631062" y="55372"/>
                </a:moveTo>
                <a:lnTo>
                  <a:pt x="585216" y="73533"/>
                </a:lnTo>
                <a:lnTo>
                  <a:pt x="568071" y="121666"/>
                </a:lnTo>
                <a:lnTo>
                  <a:pt x="569069" y="134475"/>
                </a:lnTo>
                <a:lnTo>
                  <a:pt x="592566" y="172761"/>
                </a:lnTo>
                <a:lnTo>
                  <a:pt x="625855" y="182245"/>
                </a:lnTo>
                <a:lnTo>
                  <a:pt x="635069" y="181721"/>
                </a:lnTo>
                <a:lnTo>
                  <a:pt x="643651" y="180149"/>
                </a:lnTo>
                <a:lnTo>
                  <a:pt x="651591" y="177530"/>
                </a:lnTo>
                <a:lnTo>
                  <a:pt x="658876" y="173862"/>
                </a:lnTo>
                <a:lnTo>
                  <a:pt x="658876" y="165862"/>
                </a:lnTo>
                <a:lnTo>
                  <a:pt x="629158" y="165862"/>
                </a:lnTo>
                <a:lnTo>
                  <a:pt x="620206" y="165100"/>
                </a:lnTo>
                <a:lnTo>
                  <a:pt x="590724" y="139080"/>
                </a:lnTo>
                <a:lnTo>
                  <a:pt x="587883" y="120015"/>
                </a:lnTo>
                <a:lnTo>
                  <a:pt x="588641" y="109700"/>
                </a:lnTo>
                <a:lnTo>
                  <a:pt x="613394" y="75088"/>
                </a:lnTo>
                <a:lnTo>
                  <a:pt x="630301" y="71755"/>
                </a:lnTo>
                <a:lnTo>
                  <a:pt x="659129" y="71755"/>
                </a:lnTo>
                <a:lnTo>
                  <a:pt x="659129" y="61341"/>
                </a:lnTo>
                <a:lnTo>
                  <a:pt x="652797" y="58747"/>
                </a:lnTo>
                <a:lnTo>
                  <a:pt x="646001" y="56880"/>
                </a:lnTo>
                <a:lnTo>
                  <a:pt x="638752" y="55751"/>
                </a:lnTo>
                <a:lnTo>
                  <a:pt x="631062" y="55372"/>
                </a:lnTo>
                <a:close/>
              </a:path>
              <a:path w="1304925" h="235585">
                <a:moveTo>
                  <a:pt x="658876" y="155448"/>
                </a:moveTo>
                <a:lnTo>
                  <a:pt x="651803" y="160021"/>
                </a:lnTo>
                <a:lnTo>
                  <a:pt x="644493" y="163274"/>
                </a:lnTo>
                <a:lnTo>
                  <a:pt x="636944" y="165217"/>
                </a:lnTo>
                <a:lnTo>
                  <a:pt x="629158" y="165862"/>
                </a:lnTo>
                <a:lnTo>
                  <a:pt x="658876" y="165862"/>
                </a:lnTo>
                <a:lnTo>
                  <a:pt x="658876" y="155448"/>
                </a:lnTo>
                <a:close/>
              </a:path>
              <a:path w="1304925" h="235585">
                <a:moveTo>
                  <a:pt x="659129" y="71755"/>
                </a:moveTo>
                <a:lnTo>
                  <a:pt x="630301" y="71755"/>
                </a:lnTo>
                <a:lnTo>
                  <a:pt x="637895" y="72348"/>
                </a:lnTo>
                <a:lnTo>
                  <a:pt x="645239" y="74120"/>
                </a:lnTo>
                <a:lnTo>
                  <a:pt x="652321" y="77059"/>
                </a:lnTo>
                <a:lnTo>
                  <a:pt x="659129" y="81153"/>
                </a:lnTo>
                <a:lnTo>
                  <a:pt x="659129" y="71755"/>
                </a:lnTo>
                <a:close/>
              </a:path>
              <a:path w="1304925" h="235585">
                <a:moveTo>
                  <a:pt x="766518" y="71755"/>
                </a:moveTo>
                <a:lnTo>
                  <a:pt x="729996" y="71755"/>
                </a:lnTo>
                <a:lnTo>
                  <a:pt x="740904" y="73683"/>
                </a:lnTo>
                <a:lnTo>
                  <a:pt x="748680" y="79470"/>
                </a:lnTo>
                <a:lnTo>
                  <a:pt x="753338" y="89114"/>
                </a:lnTo>
                <a:lnTo>
                  <a:pt x="754887" y="102616"/>
                </a:lnTo>
                <a:lnTo>
                  <a:pt x="718566" y="107696"/>
                </a:lnTo>
                <a:lnTo>
                  <a:pt x="701063" y="112242"/>
                </a:lnTo>
                <a:lnTo>
                  <a:pt x="688562" y="120348"/>
                </a:lnTo>
                <a:lnTo>
                  <a:pt x="681061" y="132002"/>
                </a:lnTo>
                <a:lnTo>
                  <a:pt x="678560" y="147193"/>
                </a:lnTo>
                <a:lnTo>
                  <a:pt x="679203" y="154717"/>
                </a:lnTo>
                <a:lnTo>
                  <a:pt x="708618" y="181649"/>
                </a:lnTo>
                <a:lnTo>
                  <a:pt x="717168" y="182245"/>
                </a:lnTo>
                <a:lnTo>
                  <a:pt x="728718" y="180887"/>
                </a:lnTo>
                <a:lnTo>
                  <a:pt x="738790" y="176815"/>
                </a:lnTo>
                <a:lnTo>
                  <a:pt x="747387" y="170029"/>
                </a:lnTo>
                <a:lnTo>
                  <a:pt x="750509" y="165862"/>
                </a:lnTo>
                <a:lnTo>
                  <a:pt x="714629" y="165862"/>
                </a:lnTo>
                <a:lnTo>
                  <a:pt x="709041" y="164084"/>
                </a:lnTo>
                <a:lnTo>
                  <a:pt x="704807" y="160236"/>
                </a:lnTo>
                <a:lnTo>
                  <a:pt x="700659" y="156591"/>
                </a:lnTo>
                <a:lnTo>
                  <a:pt x="698499" y="151765"/>
                </a:lnTo>
                <a:lnTo>
                  <a:pt x="754887" y="118110"/>
                </a:lnTo>
                <a:lnTo>
                  <a:pt x="774318" y="118110"/>
                </a:lnTo>
                <a:lnTo>
                  <a:pt x="774318" y="100584"/>
                </a:lnTo>
                <a:lnTo>
                  <a:pt x="771651" y="80821"/>
                </a:lnTo>
                <a:lnTo>
                  <a:pt x="766518" y="71755"/>
                </a:lnTo>
                <a:close/>
              </a:path>
              <a:path w="1304925" h="235585">
                <a:moveTo>
                  <a:pt x="774318" y="160528"/>
                </a:moveTo>
                <a:lnTo>
                  <a:pt x="754887" y="160528"/>
                </a:lnTo>
                <a:lnTo>
                  <a:pt x="754887" y="179450"/>
                </a:lnTo>
                <a:lnTo>
                  <a:pt x="774318" y="179450"/>
                </a:lnTo>
                <a:lnTo>
                  <a:pt x="774318" y="160528"/>
                </a:lnTo>
                <a:close/>
              </a:path>
              <a:path w="1304925" h="235585">
                <a:moveTo>
                  <a:pt x="774318" y="118110"/>
                </a:moveTo>
                <a:lnTo>
                  <a:pt x="754887" y="118110"/>
                </a:lnTo>
                <a:lnTo>
                  <a:pt x="754887" y="130175"/>
                </a:lnTo>
                <a:lnTo>
                  <a:pt x="754312" y="137576"/>
                </a:lnTo>
                <a:lnTo>
                  <a:pt x="721614" y="165862"/>
                </a:lnTo>
                <a:lnTo>
                  <a:pt x="750509" y="165862"/>
                </a:lnTo>
                <a:lnTo>
                  <a:pt x="754506" y="160528"/>
                </a:lnTo>
                <a:lnTo>
                  <a:pt x="774318" y="160528"/>
                </a:lnTo>
                <a:lnTo>
                  <a:pt x="774318" y="118110"/>
                </a:lnTo>
                <a:close/>
              </a:path>
              <a:path w="1304925" h="235585">
                <a:moveTo>
                  <a:pt x="731647" y="55372"/>
                </a:moveTo>
                <a:lnTo>
                  <a:pt x="720288" y="56086"/>
                </a:lnTo>
                <a:lnTo>
                  <a:pt x="709644" y="58229"/>
                </a:lnTo>
                <a:lnTo>
                  <a:pt x="699714" y="61801"/>
                </a:lnTo>
                <a:lnTo>
                  <a:pt x="690498" y="66802"/>
                </a:lnTo>
                <a:lnTo>
                  <a:pt x="690498" y="86614"/>
                </a:lnTo>
                <a:lnTo>
                  <a:pt x="699545" y="80113"/>
                </a:lnTo>
                <a:lnTo>
                  <a:pt x="709152" y="75469"/>
                </a:lnTo>
                <a:lnTo>
                  <a:pt x="719306" y="72683"/>
                </a:lnTo>
                <a:lnTo>
                  <a:pt x="729996" y="71755"/>
                </a:lnTo>
                <a:lnTo>
                  <a:pt x="766518" y="71755"/>
                </a:lnTo>
                <a:lnTo>
                  <a:pt x="763650" y="66690"/>
                </a:lnTo>
                <a:lnTo>
                  <a:pt x="750316" y="58203"/>
                </a:lnTo>
                <a:lnTo>
                  <a:pt x="731647" y="55372"/>
                </a:lnTo>
                <a:close/>
              </a:path>
              <a:path w="1304925" h="235585">
                <a:moveTo>
                  <a:pt x="836676" y="74803"/>
                </a:moveTo>
                <a:lnTo>
                  <a:pt x="817372" y="74803"/>
                </a:lnTo>
                <a:lnTo>
                  <a:pt x="817372" y="146558"/>
                </a:lnTo>
                <a:lnTo>
                  <a:pt x="819350" y="162059"/>
                </a:lnTo>
                <a:lnTo>
                  <a:pt x="825293" y="173132"/>
                </a:lnTo>
                <a:lnTo>
                  <a:pt x="835213" y="179776"/>
                </a:lnTo>
                <a:lnTo>
                  <a:pt x="849122" y="181991"/>
                </a:lnTo>
                <a:lnTo>
                  <a:pt x="856615" y="181991"/>
                </a:lnTo>
                <a:lnTo>
                  <a:pt x="862710" y="180721"/>
                </a:lnTo>
                <a:lnTo>
                  <a:pt x="867283" y="178181"/>
                </a:lnTo>
                <a:lnTo>
                  <a:pt x="867283" y="165735"/>
                </a:lnTo>
                <a:lnTo>
                  <a:pt x="848233" y="165735"/>
                </a:lnTo>
                <a:lnTo>
                  <a:pt x="843660" y="163957"/>
                </a:lnTo>
                <a:lnTo>
                  <a:pt x="840866" y="160528"/>
                </a:lnTo>
                <a:lnTo>
                  <a:pt x="838072" y="156972"/>
                </a:lnTo>
                <a:lnTo>
                  <a:pt x="836676" y="151257"/>
                </a:lnTo>
                <a:lnTo>
                  <a:pt x="836676" y="74803"/>
                </a:lnTo>
                <a:close/>
              </a:path>
              <a:path w="1304925" h="235585">
                <a:moveTo>
                  <a:pt x="867283" y="161671"/>
                </a:moveTo>
                <a:lnTo>
                  <a:pt x="863727" y="164337"/>
                </a:lnTo>
                <a:lnTo>
                  <a:pt x="859535" y="165735"/>
                </a:lnTo>
                <a:lnTo>
                  <a:pt x="867283" y="165735"/>
                </a:lnTo>
                <a:lnTo>
                  <a:pt x="867283" y="161671"/>
                </a:lnTo>
                <a:close/>
              </a:path>
              <a:path w="1304925" h="235585">
                <a:moveTo>
                  <a:pt x="867283" y="58293"/>
                </a:moveTo>
                <a:lnTo>
                  <a:pt x="796543" y="58293"/>
                </a:lnTo>
                <a:lnTo>
                  <a:pt x="796543" y="74803"/>
                </a:lnTo>
                <a:lnTo>
                  <a:pt x="867283" y="74803"/>
                </a:lnTo>
                <a:lnTo>
                  <a:pt x="867283" y="58293"/>
                </a:lnTo>
                <a:close/>
              </a:path>
              <a:path w="1304925" h="235585">
                <a:moveTo>
                  <a:pt x="836676" y="22352"/>
                </a:moveTo>
                <a:lnTo>
                  <a:pt x="817372" y="28702"/>
                </a:lnTo>
                <a:lnTo>
                  <a:pt x="817372" y="58293"/>
                </a:lnTo>
                <a:lnTo>
                  <a:pt x="836676" y="58293"/>
                </a:lnTo>
                <a:lnTo>
                  <a:pt x="836676" y="22352"/>
                </a:lnTo>
                <a:close/>
              </a:path>
              <a:path w="1304925" h="235585">
                <a:moveTo>
                  <a:pt x="906779" y="2286"/>
                </a:moveTo>
                <a:lnTo>
                  <a:pt x="899795" y="2286"/>
                </a:lnTo>
                <a:lnTo>
                  <a:pt x="896873" y="3429"/>
                </a:lnTo>
                <a:lnTo>
                  <a:pt x="894460" y="5842"/>
                </a:lnTo>
                <a:lnTo>
                  <a:pt x="891921" y="8255"/>
                </a:lnTo>
                <a:lnTo>
                  <a:pt x="890778" y="11303"/>
                </a:lnTo>
                <a:lnTo>
                  <a:pt x="890778" y="18542"/>
                </a:lnTo>
                <a:lnTo>
                  <a:pt x="891921" y="21590"/>
                </a:lnTo>
                <a:lnTo>
                  <a:pt x="894460" y="23875"/>
                </a:lnTo>
                <a:lnTo>
                  <a:pt x="896873" y="26289"/>
                </a:lnTo>
                <a:lnTo>
                  <a:pt x="899795" y="27432"/>
                </a:lnTo>
                <a:lnTo>
                  <a:pt x="906779" y="27432"/>
                </a:lnTo>
                <a:lnTo>
                  <a:pt x="916051" y="11303"/>
                </a:lnTo>
                <a:lnTo>
                  <a:pt x="914780" y="8255"/>
                </a:lnTo>
                <a:lnTo>
                  <a:pt x="912367" y="5842"/>
                </a:lnTo>
                <a:lnTo>
                  <a:pt x="909828" y="3429"/>
                </a:lnTo>
                <a:lnTo>
                  <a:pt x="906779" y="2286"/>
                </a:lnTo>
                <a:close/>
              </a:path>
              <a:path w="1304925" h="235585">
                <a:moveTo>
                  <a:pt x="912748" y="58293"/>
                </a:moveTo>
                <a:lnTo>
                  <a:pt x="893317" y="58293"/>
                </a:lnTo>
                <a:lnTo>
                  <a:pt x="893317" y="179450"/>
                </a:lnTo>
                <a:lnTo>
                  <a:pt x="912748" y="179450"/>
                </a:lnTo>
                <a:lnTo>
                  <a:pt x="912748" y="58293"/>
                </a:lnTo>
                <a:close/>
              </a:path>
              <a:path w="1304925" h="235585">
                <a:moveTo>
                  <a:pt x="1006221" y="55372"/>
                </a:moveTo>
                <a:lnTo>
                  <a:pt x="961116" y="72542"/>
                </a:lnTo>
                <a:lnTo>
                  <a:pt x="944498" y="120269"/>
                </a:lnTo>
                <a:lnTo>
                  <a:pt x="945499" y="133580"/>
                </a:lnTo>
                <a:lnTo>
                  <a:pt x="969190" y="172654"/>
                </a:lnTo>
                <a:lnTo>
                  <a:pt x="1003427" y="182245"/>
                </a:lnTo>
                <a:lnTo>
                  <a:pt x="1016525" y="181151"/>
                </a:lnTo>
                <a:lnTo>
                  <a:pt x="1028207" y="177879"/>
                </a:lnTo>
                <a:lnTo>
                  <a:pt x="1038484" y="172440"/>
                </a:lnTo>
                <a:lnTo>
                  <a:pt x="1046180" y="165862"/>
                </a:lnTo>
                <a:lnTo>
                  <a:pt x="1004823" y="165862"/>
                </a:lnTo>
                <a:lnTo>
                  <a:pt x="996059" y="165098"/>
                </a:lnTo>
                <a:lnTo>
                  <a:pt x="967073" y="138763"/>
                </a:lnTo>
                <a:lnTo>
                  <a:pt x="964362" y="120269"/>
                </a:lnTo>
                <a:lnTo>
                  <a:pt x="964385" y="118364"/>
                </a:lnTo>
                <a:lnTo>
                  <a:pt x="981160" y="78880"/>
                </a:lnTo>
                <a:lnTo>
                  <a:pt x="1004823" y="71755"/>
                </a:lnTo>
                <a:lnTo>
                  <a:pt x="1048081" y="71755"/>
                </a:lnTo>
                <a:lnTo>
                  <a:pt x="1040225" y="64801"/>
                </a:lnTo>
                <a:lnTo>
                  <a:pt x="1030414" y="59562"/>
                </a:lnTo>
                <a:lnTo>
                  <a:pt x="1019079" y="56419"/>
                </a:lnTo>
                <a:lnTo>
                  <a:pt x="1006221" y="55372"/>
                </a:lnTo>
                <a:close/>
              </a:path>
              <a:path w="1304925" h="235585">
                <a:moveTo>
                  <a:pt x="1048081" y="71755"/>
                </a:moveTo>
                <a:lnTo>
                  <a:pt x="1004823" y="71755"/>
                </a:lnTo>
                <a:lnTo>
                  <a:pt x="1013682" y="72517"/>
                </a:lnTo>
                <a:lnTo>
                  <a:pt x="1021492" y="74818"/>
                </a:lnTo>
                <a:lnTo>
                  <a:pt x="1043299" y="108309"/>
                </a:lnTo>
                <a:lnTo>
                  <a:pt x="1043901" y="118364"/>
                </a:lnTo>
                <a:lnTo>
                  <a:pt x="1043863" y="120269"/>
                </a:lnTo>
                <a:lnTo>
                  <a:pt x="1028184" y="159003"/>
                </a:lnTo>
                <a:lnTo>
                  <a:pt x="1004823" y="165862"/>
                </a:lnTo>
                <a:lnTo>
                  <a:pt x="1046180" y="165862"/>
                </a:lnTo>
                <a:lnTo>
                  <a:pt x="1063752" y="118364"/>
                </a:lnTo>
                <a:lnTo>
                  <a:pt x="1062799" y="104390"/>
                </a:lnTo>
                <a:lnTo>
                  <a:pt x="1059942" y="92011"/>
                </a:lnTo>
                <a:lnTo>
                  <a:pt x="1055179" y="81252"/>
                </a:lnTo>
                <a:lnTo>
                  <a:pt x="1048511" y="72136"/>
                </a:lnTo>
                <a:lnTo>
                  <a:pt x="1048081" y="71755"/>
                </a:lnTo>
                <a:close/>
              </a:path>
              <a:path w="1304925" h="235585">
                <a:moveTo>
                  <a:pt x="1113917" y="58293"/>
                </a:moveTo>
                <a:lnTo>
                  <a:pt x="1094486" y="58293"/>
                </a:lnTo>
                <a:lnTo>
                  <a:pt x="1094486" y="179450"/>
                </a:lnTo>
                <a:lnTo>
                  <a:pt x="1113917" y="179450"/>
                </a:lnTo>
                <a:lnTo>
                  <a:pt x="1113917" y="110362"/>
                </a:lnTo>
                <a:lnTo>
                  <a:pt x="1114512" y="102340"/>
                </a:lnTo>
                <a:lnTo>
                  <a:pt x="1116298" y="95043"/>
                </a:lnTo>
                <a:lnTo>
                  <a:pt x="1119274" y="88485"/>
                </a:lnTo>
                <a:lnTo>
                  <a:pt x="1123442" y="82677"/>
                </a:lnTo>
                <a:lnTo>
                  <a:pt x="1128044" y="78359"/>
                </a:lnTo>
                <a:lnTo>
                  <a:pt x="1113917" y="78359"/>
                </a:lnTo>
                <a:lnTo>
                  <a:pt x="1113917" y="58293"/>
                </a:lnTo>
                <a:close/>
              </a:path>
              <a:path w="1304925" h="235585">
                <a:moveTo>
                  <a:pt x="1186807" y="71755"/>
                </a:moveTo>
                <a:lnTo>
                  <a:pt x="1147572" y="71755"/>
                </a:lnTo>
                <a:lnTo>
                  <a:pt x="1159833" y="74162"/>
                </a:lnTo>
                <a:lnTo>
                  <a:pt x="1168606" y="81391"/>
                </a:lnTo>
                <a:lnTo>
                  <a:pt x="1173878" y="93454"/>
                </a:lnTo>
                <a:lnTo>
                  <a:pt x="1175639" y="110362"/>
                </a:lnTo>
                <a:lnTo>
                  <a:pt x="1175639" y="179450"/>
                </a:lnTo>
                <a:lnTo>
                  <a:pt x="1195070" y="179450"/>
                </a:lnTo>
                <a:lnTo>
                  <a:pt x="1195070" y="105283"/>
                </a:lnTo>
                <a:lnTo>
                  <a:pt x="1194405" y="93898"/>
                </a:lnTo>
                <a:lnTo>
                  <a:pt x="1192418" y="83931"/>
                </a:lnTo>
                <a:lnTo>
                  <a:pt x="1189122" y="75368"/>
                </a:lnTo>
                <a:lnTo>
                  <a:pt x="1186807" y="71755"/>
                </a:lnTo>
                <a:close/>
              </a:path>
              <a:path w="1304925" h="235585">
                <a:moveTo>
                  <a:pt x="1154176" y="55372"/>
                </a:moveTo>
                <a:lnTo>
                  <a:pt x="1141910" y="56820"/>
                </a:lnTo>
                <a:lnTo>
                  <a:pt x="1131204" y="61150"/>
                </a:lnTo>
                <a:lnTo>
                  <a:pt x="1122046" y="68337"/>
                </a:lnTo>
                <a:lnTo>
                  <a:pt x="1114424" y="78359"/>
                </a:lnTo>
                <a:lnTo>
                  <a:pt x="1128044" y="78359"/>
                </a:lnTo>
                <a:lnTo>
                  <a:pt x="1128516" y="77916"/>
                </a:lnTo>
                <a:lnTo>
                  <a:pt x="1134221" y="74501"/>
                </a:lnTo>
                <a:lnTo>
                  <a:pt x="1140569" y="72443"/>
                </a:lnTo>
                <a:lnTo>
                  <a:pt x="1147572" y="71755"/>
                </a:lnTo>
                <a:lnTo>
                  <a:pt x="1186807" y="71755"/>
                </a:lnTo>
                <a:lnTo>
                  <a:pt x="1184529" y="68199"/>
                </a:lnTo>
                <a:lnTo>
                  <a:pt x="1178696" y="62605"/>
                </a:lnTo>
                <a:lnTo>
                  <a:pt x="1171686" y="58594"/>
                </a:lnTo>
                <a:lnTo>
                  <a:pt x="1163508" y="56179"/>
                </a:lnTo>
                <a:lnTo>
                  <a:pt x="1154176" y="55372"/>
                </a:lnTo>
                <a:close/>
              </a:path>
              <a:path w="1304925" h="235585">
                <a:moveTo>
                  <a:pt x="1224280" y="154178"/>
                </a:moveTo>
                <a:lnTo>
                  <a:pt x="1224280" y="175006"/>
                </a:lnTo>
                <a:lnTo>
                  <a:pt x="1231467" y="178173"/>
                </a:lnTo>
                <a:lnTo>
                  <a:pt x="1239297" y="180435"/>
                </a:lnTo>
                <a:lnTo>
                  <a:pt x="1247747" y="181792"/>
                </a:lnTo>
                <a:lnTo>
                  <a:pt x="1256792" y="182245"/>
                </a:lnTo>
                <a:lnTo>
                  <a:pt x="1263015" y="182245"/>
                </a:lnTo>
                <a:lnTo>
                  <a:pt x="1269111" y="181483"/>
                </a:lnTo>
                <a:lnTo>
                  <a:pt x="1280667" y="178689"/>
                </a:lnTo>
                <a:lnTo>
                  <a:pt x="1285748" y="176530"/>
                </a:lnTo>
                <a:lnTo>
                  <a:pt x="1290066" y="173609"/>
                </a:lnTo>
                <a:lnTo>
                  <a:pt x="1294511" y="170687"/>
                </a:lnTo>
                <a:lnTo>
                  <a:pt x="1298067" y="167005"/>
                </a:lnTo>
                <a:lnTo>
                  <a:pt x="1298752" y="165862"/>
                </a:lnTo>
                <a:lnTo>
                  <a:pt x="1259205" y="165862"/>
                </a:lnTo>
                <a:lnTo>
                  <a:pt x="1249890" y="165143"/>
                </a:lnTo>
                <a:lnTo>
                  <a:pt x="1240980" y="162972"/>
                </a:lnTo>
                <a:lnTo>
                  <a:pt x="1232451" y="159325"/>
                </a:lnTo>
                <a:lnTo>
                  <a:pt x="1224280" y="154178"/>
                </a:lnTo>
                <a:close/>
              </a:path>
              <a:path w="1304925" h="235585">
                <a:moveTo>
                  <a:pt x="1270889" y="55372"/>
                </a:moveTo>
                <a:lnTo>
                  <a:pt x="1265047" y="55372"/>
                </a:lnTo>
                <a:lnTo>
                  <a:pt x="1259331" y="56134"/>
                </a:lnTo>
                <a:lnTo>
                  <a:pt x="1248155" y="59182"/>
                </a:lnTo>
                <a:lnTo>
                  <a:pt x="1243203" y="61341"/>
                </a:lnTo>
                <a:lnTo>
                  <a:pt x="1238885" y="64389"/>
                </a:lnTo>
                <a:lnTo>
                  <a:pt x="1234567" y="67310"/>
                </a:lnTo>
                <a:lnTo>
                  <a:pt x="1231137" y="70993"/>
                </a:lnTo>
                <a:lnTo>
                  <a:pt x="1228471" y="75311"/>
                </a:lnTo>
                <a:lnTo>
                  <a:pt x="1225930" y="79756"/>
                </a:lnTo>
                <a:lnTo>
                  <a:pt x="1224534" y="84709"/>
                </a:lnTo>
                <a:lnTo>
                  <a:pt x="1224534" y="95123"/>
                </a:lnTo>
                <a:lnTo>
                  <a:pt x="1225296" y="99187"/>
                </a:lnTo>
                <a:lnTo>
                  <a:pt x="1226692" y="102616"/>
                </a:lnTo>
                <a:lnTo>
                  <a:pt x="1227962" y="106045"/>
                </a:lnTo>
                <a:lnTo>
                  <a:pt x="1230122" y="109220"/>
                </a:lnTo>
                <a:lnTo>
                  <a:pt x="1232789" y="111887"/>
                </a:lnTo>
                <a:lnTo>
                  <a:pt x="1235455" y="114681"/>
                </a:lnTo>
                <a:lnTo>
                  <a:pt x="1260983" y="127127"/>
                </a:lnTo>
                <a:lnTo>
                  <a:pt x="1264539" y="128650"/>
                </a:lnTo>
                <a:lnTo>
                  <a:pt x="1282573" y="140716"/>
                </a:lnTo>
                <a:lnTo>
                  <a:pt x="1284097" y="142875"/>
                </a:lnTo>
                <a:lnTo>
                  <a:pt x="1284731" y="145669"/>
                </a:lnTo>
                <a:lnTo>
                  <a:pt x="1284731" y="148844"/>
                </a:lnTo>
                <a:lnTo>
                  <a:pt x="1283136" y="156325"/>
                </a:lnTo>
                <a:lnTo>
                  <a:pt x="1278350" y="161639"/>
                </a:lnTo>
                <a:lnTo>
                  <a:pt x="1270373" y="164810"/>
                </a:lnTo>
                <a:lnTo>
                  <a:pt x="1259205" y="165862"/>
                </a:lnTo>
                <a:lnTo>
                  <a:pt x="1298752" y="165862"/>
                </a:lnTo>
                <a:lnTo>
                  <a:pt x="1300734" y="162560"/>
                </a:lnTo>
                <a:lnTo>
                  <a:pt x="1303401" y="158242"/>
                </a:lnTo>
                <a:lnTo>
                  <a:pt x="1304671" y="153035"/>
                </a:lnTo>
                <a:lnTo>
                  <a:pt x="1304671" y="142112"/>
                </a:lnTo>
                <a:lnTo>
                  <a:pt x="1303909" y="137922"/>
                </a:lnTo>
                <a:lnTo>
                  <a:pt x="1300606" y="130810"/>
                </a:lnTo>
                <a:lnTo>
                  <a:pt x="1298321" y="127635"/>
                </a:lnTo>
                <a:lnTo>
                  <a:pt x="1295273" y="124968"/>
                </a:lnTo>
                <a:lnTo>
                  <a:pt x="1292352" y="122174"/>
                </a:lnTo>
                <a:lnTo>
                  <a:pt x="1265936" y="109728"/>
                </a:lnTo>
                <a:lnTo>
                  <a:pt x="1262380" y="108204"/>
                </a:lnTo>
                <a:lnTo>
                  <a:pt x="1246123" y="96647"/>
                </a:lnTo>
                <a:lnTo>
                  <a:pt x="1244980" y="94615"/>
                </a:lnTo>
                <a:lnTo>
                  <a:pt x="1244473" y="91948"/>
                </a:lnTo>
                <a:lnTo>
                  <a:pt x="1244473" y="86233"/>
                </a:lnTo>
                <a:lnTo>
                  <a:pt x="1258570" y="73025"/>
                </a:lnTo>
                <a:lnTo>
                  <a:pt x="1261491" y="72136"/>
                </a:lnTo>
                <a:lnTo>
                  <a:pt x="1264666" y="71755"/>
                </a:lnTo>
                <a:lnTo>
                  <a:pt x="1299083" y="71755"/>
                </a:lnTo>
                <a:lnTo>
                  <a:pt x="1299083" y="60833"/>
                </a:lnTo>
                <a:lnTo>
                  <a:pt x="1292677" y="58479"/>
                </a:lnTo>
                <a:lnTo>
                  <a:pt x="1285843" y="56769"/>
                </a:lnTo>
                <a:lnTo>
                  <a:pt x="1278580" y="55725"/>
                </a:lnTo>
                <a:lnTo>
                  <a:pt x="1270889" y="55372"/>
                </a:lnTo>
                <a:close/>
              </a:path>
              <a:path w="1304925" h="235585">
                <a:moveTo>
                  <a:pt x="1299083" y="71755"/>
                </a:moveTo>
                <a:lnTo>
                  <a:pt x="1268348" y="71755"/>
                </a:lnTo>
                <a:lnTo>
                  <a:pt x="1276776" y="72302"/>
                </a:lnTo>
                <a:lnTo>
                  <a:pt x="1284716" y="73945"/>
                </a:lnTo>
                <a:lnTo>
                  <a:pt x="1292155" y="76684"/>
                </a:lnTo>
                <a:lnTo>
                  <a:pt x="1299083" y="80518"/>
                </a:lnTo>
                <a:lnTo>
                  <a:pt x="1299083" y="71755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98517" y="2876625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89" h="429895">
                <a:moveTo>
                  <a:pt x="0" y="429767"/>
                </a:moveTo>
                <a:lnTo>
                  <a:pt x="1850136" y="429767"/>
                </a:lnTo>
                <a:lnTo>
                  <a:pt x="1850136" y="0"/>
                </a:lnTo>
                <a:lnTo>
                  <a:pt x="0" y="0"/>
                </a:lnTo>
                <a:lnTo>
                  <a:pt x="0" y="429767"/>
                </a:lnTo>
                <a:close/>
              </a:path>
            </a:pathLst>
          </a:custGeom>
          <a:solidFill>
            <a:srgbClr val="D73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965117" y="2977317"/>
            <a:ext cx="636063" cy="176740"/>
          </a:xfrm>
          <a:custGeom>
            <a:avLst/>
            <a:gdLst/>
            <a:ahLst/>
            <a:cxnLst/>
            <a:rect l="l" t="t" r="r" b="b"/>
            <a:pathLst>
              <a:path w="864869" h="180339">
                <a:moveTo>
                  <a:pt x="58165" y="7365"/>
                </a:moveTo>
                <a:lnTo>
                  <a:pt x="0" y="7365"/>
                </a:lnTo>
                <a:lnTo>
                  <a:pt x="0" y="177037"/>
                </a:lnTo>
                <a:lnTo>
                  <a:pt x="19939" y="177037"/>
                </a:lnTo>
                <a:lnTo>
                  <a:pt x="19939" y="104901"/>
                </a:lnTo>
                <a:lnTo>
                  <a:pt x="74422" y="104901"/>
                </a:lnTo>
                <a:lnTo>
                  <a:pt x="74168" y="104647"/>
                </a:lnTo>
                <a:lnTo>
                  <a:pt x="72009" y="103123"/>
                </a:lnTo>
                <a:lnTo>
                  <a:pt x="69977" y="101472"/>
                </a:lnTo>
                <a:lnTo>
                  <a:pt x="67437" y="100075"/>
                </a:lnTo>
                <a:lnTo>
                  <a:pt x="64643" y="98805"/>
                </a:lnTo>
                <a:lnTo>
                  <a:pt x="64643" y="98297"/>
                </a:lnTo>
                <a:lnTo>
                  <a:pt x="70358" y="96773"/>
                </a:lnTo>
                <a:lnTo>
                  <a:pt x="75565" y="94741"/>
                </a:lnTo>
                <a:lnTo>
                  <a:pt x="80264" y="91947"/>
                </a:lnTo>
                <a:lnTo>
                  <a:pt x="84836" y="89280"/>
                </a:lnTo>
                <a:lnTo>
                  <a:pt x="87713" y="86867"/>
                </a:lnTo>
                <a:lnTo>
                  <a:pt x="19939" y="86867"/>
                </a:lnTo>
                <a:lnTo>
                  <a:pt x="19939" y="25400"/>
                </a:lnTo>
                <a:lnTo>
                  <a:pt x="94412" y="25400"/>
                </a:lnTo>
                <a:lnTo>
                  <a:pt x="92202" y="22478"/>
                </a:lnTo>
                <a:lnTo>
                  <a:pt x="87503" y="18668"/>
                </a:lnTo>
                <a:lnTo>
                  <a:pt x="82931" y="14858"/>
                </a:lnTo>
                <a:lnTo>
                  <a:pt x="77470" y="12064"/>
                </a:lnTo>
                <a:lnTo>
                  <a:pt x="71247" y="10159"/>
                </a:lnTo>
                <a:lnTo>
                  <a:pt x="64896" y="8381"/>
                </a:lnTo>
                <a:lnTo>
                  <a:pt x="58165" y="7365"/>
                </a:lnTo>
                <a:close/>
              </a:path>
              <a:path w="864869" h="180339">
                <a:moveTo>
                  <a:pt x="74422" y="104901"/>
                </a:moveTo>
                <a:lnTo>
                  <a:pt x="40005" y="104901"/>
                </a:lnTo>
                <a:lnTo>
                  <a:pt x="43306" y="105409"/>
                </a:lnTo>
                <a:lnTo>
                  <a:pt x="46228" y="106298"/>
                </a:lnTo>
                <a:lnTo>
                  <a:pt x="49275" y="107187"/>
                </a:lnTo>
                <a:lnTo>
                  <a:pt x="51943" y="108584"/>
                </a:lnTo>
                <a:lnTo>
                  <a:pt x="54483" y="110616"/>
                </a:lnTo>
                <a:lnTo>
                  <a:pt x="57150" y="112521"/>
                </a:lnTo>
                <a:lnTo>
                  <a:pt x="59562" y="115062"/>
                </a:lnTo>
                <a:lnTo>
                  <a:pt x="64515" y="121284"/>
                </a:lnTo>
                <a:lnTo>
                  <a:pt x="67056" y="125094"/>
                </a:lnTo>
                <a:lnTo>
                  <a:pt x="69596" y="129539"/>
                </a:lnTo>
                <a:lnTo>
                  <a:pt x="98043" y="177037"/>
                </a:lnTo>
                <a:lnTo>
                  <a:pt x="121665" y="177037"/>
                </a:lnTo>
                <a:lnTo>
                  <a:pt x="87630" y="122427"/>
                </a:lnTo>
                <a:lnTo>
                  <a:pt x="85471" y="119125"/>
                </a:lnTo>
                <a:lnTo>
                  <a:pt x="83693" y="116331"/>
                </a:lnTo>
                <a:lnTo>
                  <a:pt x="81787" y="113537"/>
                </a:lnTo>
                <a:lnTo>
                  <a:pt x="79883" y="110997"/>
                </a:lnTo>
                <a:lnTo>
                  <a:pt x="77978" y="108838"/>
                </a:lnTo>
                <a:lnTo>
                  <a:pt x="76072" y="106552"/>
                </a:lnTo>
                <a:lnTo>
                  <a:pt x="74422" y="104901"/>
                </a:lnTo>
                <a:close/>
              </a:path>
              <a:path w="864869" h="180339">
                <a:moveTo>
                  <a:pt x="94412" y="25400"/>
                </a:moveTo>
                <a:lnTo>
                  <a:pt x="47117" y="25400"/>
                </a:lnTo>
                <a:lnTo>
                  <a:pt x="54998" y="25876"/>
                </a:lnTo>
                <a:lnTo>
                  <a:pt x="61880" y="27304"/>
                </a:lnTo>
                <a:lnTo>
                  <a:pt x="81406" y="59308"/>
                </a:lnTo>
                <a:lnTo>
                  <a:pt x="80645" y="63880"/>
                </a:lnTo>
                <a:lnTo>
                  <a:pt x="51815" y="86867"/>
                </a:lnTo>
                <a:lnTo>
                  <a:pt x="87713" y="86867"/>
                </a:lnTo>
                <a:lnTo>
                  <a:pt x="88772" y="85978"/>
                </a:lnTo>
                <a:lnTo>
                  <a:pt x="92075" y="82041"/>
                </a:lnTo>
                <a:lnTo>
                  <a:pt x="95377" y="78231"/>
                </a:lnTo>
                <a:lnTo>
                  <a:pt x="97790" y="73787"/>
                </a:lnTo>
                <a:lnTo>
                  <a:pt x="99568" y="68833"/>
                </a:lnTo>
                <a:lnTo>
                  <a:pt x="101346" y="64007"/>
                </a:lnTo>
                <a:lnTo>
                  <a:pt x="102110" y="59308"/>
                </a:lnTo>
                <a:lnTo>
                  <a:pt x="102234" y="45084"/>
                </a:lnTo>
                <a:lnTo>
                  <a:pt x="100965" y="38480"/>
                </a:lnTo>
                <a:lnTo>
                  <a:pt x="98425" y="32765"/>
                </a:lnTo>
                <a:lnTo>
                  <a:pt x="95758" y="27177"/>
                </a:lnTo>
                <a:lnTo>
                  <a:pt x="94412" y="25400"/>
                </a:lnTo>
                <a:close/>
              </a:path>
              <a:path w="864869" h="180339">
                <a:moveTo>
                  <a:pt x="158877" y="55879"/>
                </a:moveTo>
                <a:lnTo>
                  <a:pt x="139572" y="55879"/>
                </a:lnTo>
                <a:lnTo>
                  <a:pt x="139572" y="128396"/>
                </a:lnTo>
                <a:lnTo>
                  <a:pt x="142285" y="150919"/>
                </a:lnTo>
                <a:lnTo>
                  <a:pt x="150415" y="167036"/>
                </a:lnTo>
                <a:lnTo>
                  <a:pt x="163951" y="176724"/>
                </a:lnTo>
                <a:lnTo>
                  <a:pt x="182880" y="179958"/>
                </a:lnTo>
                <a:lnTo>
                  <a:pt x="194716" y="178577"/>
                </a:lnTo>
                <a:lnTo>
                  <a:pt x="204898" y="174434"/>
                </a:lnTo>
                <a:lnTo>
                  <a:pt x="213437" y="167528"/>
                </a:lnTo>
                <a:lnTo>
                  <a:pt x="216261" y="163575"/>
                </a:lnTo>
                <a:lnTo>
                  <a:pt x="188214" y="163575"/>
                </a:lnTo>
                <a:lnTo>
                  <a:pt x="175379" y="161190"/>
                </a:lnTo>
                <a:lnTo>
                  <a:pt x="166211" y="154019"/>
                </a:lnTo>
                <a:lnTo>
                  <a:pt x="160710" y="142037"/>
                </a:lnTo>
                <a:lnTo>
                  <a:pt x="158932" y="125729"/>
                </a:lnTo>
                <a:lnTo>
                  <a:pt x="158877" y="55879"/>
                </a:lnTo>
                <a:close/>
              </a:path>
              <a:path w="864869" h="180339">
                <a:moveTo>
                  <a:pt x="240156" y="157860"/>
                </a:moveTo>
                <a:lnTo>
                  <a:pt x="220853" y="157860"/>
                </a:lnTo>
                <a:lnTo>
                  <a:pt x="220853" y="177037"/>
                </a:lnTo>
                <a:lnTo>
                  <a:pt x="240156" y="177037"/>
                </a:lnTo>
                <a:lnTo>
                  <a:pt x="240156" y="157860"/>
                </a:lnTo>
                <a:close/>
              </a:path>
              <a:path w="864869" h="180339">
                <a:moveTo>
                  <a:pt x="240156" y="55879"/>
                </a:moveTo>
                <a:lnTo>
                  <a:pt x="220853" y="55879"/>
                </a:lnTo>
                <a:lnTo>
                  <a:pt x="220853" y="125729"/>
                </a:lnTo>
                <a:lnTo>
                  <a:pt x="220261" y="133802"/>
                </a:lnTo>
                <a:lnTo>
                  <a:pt x="195026" y="162931"/>
                </a:lnTo>
                <a:lnTo>
                  <a:pt x="188214" y="163575"/>
                </a:lnTo>
                <a:lnTo>
                  <a:pt x="216261" y="163575"/>
                </a:lnTo>
                <a:lnTo>
                  <a:pt x="220345" y="157860"/>
                </a:lnTo>
                <a:lnTo>
                  <a:pt x="240156" y="157860"/>
                </a:lnTo>
                <a:lnTo>
                  <a:pt x="240156" y="55879"/>
                </a:lnTo>
                <a:close/>
              </a:path>
              <a:path w="864869" h="180339">
                <a:moveTo>
                  <a:pt x="298831" y="55879"/>
                </a:moveTo>
                <a:lnTo>
                  <a:pt x="279400" y="55879"/>
                </a:lnTo>
                <a:lnTo>
                  <a:pt x="279400" y="177037"/>
                </a:lnTo>
                <a:lnTo>
                  <a:pt x="298831" y="177037"/>
                </a:lnTo>
                <a:lnTo>
                  <a:pt x="298831" y="107950"/>
                </a:lnTo>
                <a:lnTo>
                  <a:pt x="299426" y="100000"/>
                </a:lnTo>
                <a:lnTo>
                  <a:pt x="301212" y="92741"/>
                </a:lnTo>
                <a:lnTo>
                  <a:pt x="304188" y="86197"/>
                </a:lnTo>
                <a:lnTo>
                  <a:pt x="308356" y="80390"/>
                </a:lnTo>
                <a:lnTo>
                  <a:pt x="312905" y="76072"/>
                </a:lnTo>
                <a:lnTo>
                  <a:pt x="298831" y="76072"/>
                </a:lnTo>
                <a:lnTo>
                  <a:pt x="298831" y="55879"/>
                </a:lnTo>
                <a:close/>
              </a:path>
              <a:path w="864869" h="180339">
                <a:moveTo>
                  <a:pt x="371721" y="69468"/>
                </a:moveTo>
                <a:lnTo>
                  <a:pt x="332359" y="69468"/>
                </a:lnTo>
                <a:lnTo>
                  <a:pt x="344693" y="71874"/>
                </a:lnTo>
                <a:lnTo>
                  <a:pt x="353504" y="79089"/>
                </a:lnTo>
                <a:lnTo>
                  <a:pt x="358790" y="91114"/>
                </a:lnTo>
                <a:lnTo>
                  <a:pt x="360553" y="107950"/>
                </a:lnTo>
                <a:lnTo>
                  <a:pt x="360553" y="177037"/>
                </a:lnTo>
                <a:lnTo>
                  <a:pt x="379984" y="177037"/>
                </a:lnTo>
                <a:lnTo>
                  <a:pt x="379984" y="102996"/>
                </a:lnTo>
                <a:lnTo>
                  <a:pt x="379319" y="91612"/>
                </a:lnTo>
                <a:lnTo>
                  <a:pt x="377332" y="81645"/>
                </a:lnTo>
                <a:lnTo>
                  <a:pt x="374036" y="73082"/>
                </a:lnTo>
                <a:lnTo>
                  <a:pt x="371721" y="69468"/>
                </a:lnTo>
                <a:close/>
              </a:path>
              <a:path w="864869" h="180339">
                <a:moveTo>
                  <a:pt x="338963" y="53085"/>
                </a:moveTo>
                <a:lnTo>
                  <a:pt x="326751" y="54516"/>
                </a:lnTo>
                <a:lnTo>
                  <a:pt x="316039" y="58816"/>
                </a:lnTo>
                <a:lnTo>
                  <a:pt x="306851" y="65998"/>
                </a:lnTo>
                <a:lnTo>
                  <a:pt x="299212" y="76072"/>
                </a:lnTo>
                <a:lnTo>
                  <a:pt x="312905" y="76072"/>
                </a:lnTo>
                <a:lnTo>
                  <a:pt x="313428" y="75576"/>
                </a:lnTo>
                <a:lnTo>
                  <a:pt x="319119" y="72167"/>
                </a:lnTo>
                <a:lnTo>
                  <a:pt x="325429" y="70139"/>
                </a:lnTo>
                <a:lnTo>
                  <a:pt x="332359" y="69468"/>
                </a:lnTo>
                <a:lnTo>
                  <a:pt x="371721" y="69468"/>
                </a:lnTo>
                <a:lnTo>
                  <a:pt x="369442" y="65912"/>
                </a:lnTo>
                <a:lnTo>
                  <a:pt x="363608" y="60319"/>
                </a:lnTo>
                <a:lnTo>
                  <a:pt x="356584" y="56308"/>
                </a:lnTo>
                <a:lnTo>
                  <a:pt x="348368" y="53893"/>
                </a:lnTo>
                <a:lnTo>
                  <a:pt x="338963" y="53085"/>
                </a:lnTo>
                <a:close/>
              </a:path>
              <a:path w="864869" h="180339">
                <a:moveTo>
                  <a:pt x="442214" y="72516"/>
                </a:moveTo>
                <a:lnTo>
                  <a:pt x="422783" y="72516"/>
                </a:lnTo>
                <a:lnTo>
                  <a:pt x="422783" y="144144"/>
                </a:lnTo>
                <a:lnTo>
                  <a:pt x="424781" y="159720"/>
                </a:lnTo>
                <a:lnTo>
                  <a:pt x="430768" y="170830"/>
                </a:lnTo>
                <a:lnTo>
                  <a:pt x="440731" y="177488"/>
                </a:lnTo>
                <a:lnTo>
                  <a:pt x="454659" y="179704"/>
                </a:lnTo>
                <a:lnTo>
                  <a:pt x="462153" y="179704"/>
                </a:lnTo>
                <a:lnTo>
                  <a:pt x="468122" y="178434"/>
                </a:lnTo>
                <a:lnTo>
                  <a:pt x="472694" y="175894"/>
                </a:lnTo>
                <a:lnTo>
                  <a:pt x="472694" y="163321"/>
                </a:lnTo>
                <a:lnTo>
                  <a:pt x="453644" y="163321"/>
                </a:lnTo>
                <a:lnTo>
                  <a:pt x="449072" y="161670"/>
                </a:lnTo>
                <a:lnTo>
                  <a:pt x="446404" y="158114"/>
                </a:lnTo>
                <a:lnTo>
                  <a:pt x="443610" y="154685"/>
                </a:lnTo>
                <a:lnTo>
                  <a:pt x="442214" y="148843"/>
                </a:lnTo>
                <a:lnTo>
                  <a:pt x="442214" y="72516"/>
                </a:lnTo>
                <a:close/>
              </a:path>
              <a:path w="864869" h="180339">
                <a:moveTo>
                  <a:pt x="472694" y="159384"/>
                </a:moveTo>
                <a:lnTo>
                  <a:pt x="469265" y="162051"/>
                </a:lnTo>
                <a:lnTo>
                  <a:pt x="464947" y="163321"/>
                </a:lnTo>
                <a:lnTo>
                  <a:pt x="472694" y="163321"/>
                </a:lnTo>
                <a:lnTo>
                  <a:pt x="472694" y="159384"/>
                </a:lnTo>
                <a:close/>
              </a:path>
              <a:path w="864869" h="180339">
                <a:moveTo>
                  <a:pt x="472694" y="55879"/>
                </a:moveTo>
                <a:lnTo>
                  <a:pt x="401954" y="55879"/>
                </a:lnTo>
                <a:lnTo>
                  <a:pt x="401954" y="72516"/>
                </a:lnTo>
                <a:lnTo>
                  <a:pt x="472694" y="72516"/>
                </a:lnTo>
                <a:lnTo>
                  <a:pt x="472694" y="55879"/>
                </a:lnTo>
                <a:close/>
              </a:path>
              <a:path w="864869" h="180339">
                <a:moveTo>
                  <a:pt x="442214" y="20065"/>
                </a:moveTo>
                <a:lnTo>
                  <a:pt x="422783" y="26288"/>
                </a:lnTo>
                <a:lnTo>
                  <a:pt x="422783" y="55879"/>
                </a:lnTo>
                <a:lnTo>
                  <a:pt x="442214" y="55879"/>
                </a:lnTo>
                <a:lnTo>
                  <a:pt x="442214" y="20065"/>
                </a:lnTo>
                <a:close/>
              </a:path>
              <a:path w="864869" h="180339">
                <a:moveTo>
                  <a:pt x="512317" y="0"/>
                </a:moveTo>
                <a:lnTo>
                  <a:pt x="505333" y="0"/>
                </a:lnTo>
                <a:lnTo>
                  <a:pt x="502411" y="1142"/>
                </a:lnTo>
                <a:lnTo>
                  <a:pt x="499872" y="3555"/>
                </a:lnTo>
                <a:lnTo>
                  <a:pt x="497459" y="5968"/>
                </a:lnTo>
                <a:lnTo>
                  <a:pt x="496189" y="9016"/>
                </a:lnTo>
                <a:lnTo>
                  <a:pt x="496189" y="16255"/>
                </a:lnTo>
                <a:lnTo>
                  <a:pt x="497459" y="19303"/>
                </a:lnTo>
                <a:lnTo>
                  <a:pt x="502411" y="24002"/>
                </a:lnTo>
                <a:lnTo>
                  <a:pt x="505333" y="25145"/>
                </a:lnTo>
                <a:lnTo>
                  <a:pt x="512317" y="25145"/>
                </a:lnTo>
                <a:lnTo>
                  <a:pt x="515366" y="24002"/>
                </a:lnTo>
                <a:lnTo>
                  <a:pt x="517778" y="21462"/>
                </a:lnTo>
                <a:lnTo>
                  <a:pt x="520319" y="19050"/>
                </a:lnTo>
                <a:lnTo>
                  <a:pt x="521533" y="16255"/>
                </a:lnTo>
                <a:lnTo>
                  <a:pt x="521589" y="9016"/>
                </a:lnTo>
                <a:lnTo>
                  <a:pt x="520319" y="5968"/>
                </a:lnTo>
                <a:lnTo>
                  <a:pt x="517778" y="3555"/>
                </a:lnTo>
                <a:lnTo>
                  <a:pt x="515366" y="1142"/>
                </a:lnTo>
                <a:lnTo>
                  <a:pt x="512317" y="0"/>
                </a:lnTo>
                <a:close/>
              </a:path>
              <a:path w="864869" h="180339">
                <a:moveTo>
                  <a:pt x="518286" y="55879"/>
                </a:moveTo>
                <a:lnTo>
                  <a:pt x="498856" y="55879"/>
                </a:lnTo>
                <a:lnTo>
                  <a:pt x="498856" y="177037"/>
                </a:lnTo>
                <a:lnTo>
                  <a:pt x="518286" y="177037"/>
                </a:lnTo>
                <a:lnTo>
                  <a:pt x="518286" y="55879"/>
                </a:lnTo>
                <a:close/>
              </a:path>
              <a:path w="864869" h="180339">
                <a:moveTo>
                  <a:pt x="577722" y="55879"/>
                </a:moveTo>
                <a:lnTo>
                  <a:pt x="558291" y="55879"/>
                </a:lnTo>
                <a:lnTo>
                  <a:pt x="558291" y="177037"/>
                </a:lnTo>
                <a:lnTo>
                  <a:pt x="577722" y="177037"/>
                </a:lnTo>
                <a:lnTo>
                  <a:pt x="577746" y="107568"/>
                </a:lnTo>
                <a:lnTo>
                  <a:pt x="578227" y="99782"/>
                </a:lnTo>
                <a:lnTo>
                  <a:pt x="579755" y="92424"/>
                </a:lnTo>
                <a:lnTo>
                  <a:pt x="582330" y="85875"/>
                </a:lnTo>
                <a:lnTo>
                  <a:pt x="585978" y="80137"/>
                </a:lnTo>
                <a:lnTo>
                  <a:pt x="589878" y="75056"/>
                </a:lnTo>
                <a:lnTo>
                  <a:pt x="577722" y="75056"/>
                </a:lnTo>
                <a:lnTo>
                  <a:pt x="577722" y="55879"/>
                </a:lnTo>
                <a:close/>
              </a:path>
              <a:path w="864869" h="180339">
                <a:moveTo>
                  <a:pt x="646953" y="69468"/>
                </a:moveTo>
                <a:lnTo>
                  <a:pt x="607060" y="69468"/>
                </a:lnTo>
                <a:lnTo>
                  <a:pt x="619081" y="71687"/>
                </a:lnTo>
                <a:lnTo>
                  <a:pt x="627697" y="78358"/>
                </a:lnTo>
                <a:lnTo>
                  <a:pt x="632884" y="89507"/>
                </a:lnTo>
                <a:lnTo>
                  <a:pt x="634619" y="105155"/>
                </a:lnTo>
                <a:lnTo>
                  <a:pt x="634619" y="177037"/>
                </a:lnTo>
                <a:lnTo>
                  <a:pt x="654050" y="177037"/>
                </a:lnTo>
                <a:lnTo>
                  <a:pt x="654076" y="107568"/>
                </a:lnTo>
                <a:lnTo>
                  <a:pt x="664633" y="78231"/>
                </a:lnTo>
                <a:lnTo>
                  <a:pt x="650113" y="78231"/>
                </a:lnTo>
                <a:lnTo>
                  <a:pt x="647827" y="70738"/>
                </a:lnTo>
                <a:lnTo>
                  <a:pt x="646953" y="69468"/>
                </a:lnTo>
                <a:close/>
              </a:path>
              <a:path w="864869" h="180339">
                <a:moveTo>
                  <a:pt x="722326" y="69468"/>
                </a:moveTo>
                <a:lnTo>
                  <a:pt x="693547" y="69468"/>
                </a:lnTo>
                <a:lnTo>
                  <a:pt x="700532" y="72389"/>
                </a:lnTo>
                <a:lnTo>
                  <a:pt x="704722" y="78358"/>
                </a:lnTo>
                <a:lnTo>
                  <a:pt x="710946" y="177037"/>
                </a:lnTo>
                <a:lnTo>
                  <a:pt x="730377" y="177037"/>
                </a:lnTo>
                <a:lnTo>
                  <a:pt x="730377" y="102488"/>
                </a:lnTo>
                <a:lnTo>
                  <a:pt x="727876" y="80893"/>
                </a:lnTo>
                <a:lnTo>
                  <a:pt x="722326" y="69468"/>
                </a:lnTo>
                <a:close/>
              </a:path>
              <a:path w="864869" h="180339">
                <a:moveTo>
                  <a:pt x="690372" y="53085"/>
                </a:moveTo>
                <a:lnTo>
                  <a:pt x="677795" y="54657"/>
                </a:lnTo>
                <a:lnTo>
                  <a:pt x="666908" y="59372"/>
                </a:lnTo>
                <a:lnTo>
                  <a:pt x="657689" y="67230"/>
                </a:lnTo>
                <a:lnTo>
                  <a:pt x="650113" y="78231"/>
                </a:lnTo>
                <a:lnTo>
                  <a:pt x="664633" y="78231"/>
                </a:lnTo>
                <a:lnTo>
                  <a:pt x="668528" y="73151"/>
                </a:lnTo>
                <a:lnTo>
                  <a:pt x="675513" y="69468"/>
                </a:lnTo>
                <a:lnTo>
                  <a:pt x="722326" y="69468"/>
                </a:lnTo>
                <a:lnTo>
                  <a:pt x="720375" y="65452"/>
                </a:lnTo>
                <a:lnTo>
                  <a:pt x="707874" y="56179"/>
                </a:lnTo>
                <a:lnTo>
                  <a:pt x="690372" y="53085"/>
                </a:lnTo>
                <a:close/>
              </a:path>
              <a:path w="864869" h="180339">
                <a:moveTo>
                  <a:pt x="624078" y="53085"/>
                </a:moveTo>
                <a:lnTo>
                  <a:pt x="615822" y="53085"/>
                </a:lnTo>
                <a:lnTo>
                  <a:pt x="604178" y="54465"/>
                </a:lnTo>
                <a:lnTo>
                  <a:pt x="594010" y="58594"/>
                </a:lnTo>
                <a:lnTo>
                  <a:pt x="585319" y="65462"/>
                </a:lnTo>
                <a:lnTo>
                  <a:pt x="578104" y="75056"/>
                </a:lnTo>
                <a:lnTo>
                  <a:pt x="589878" y="75056"/>
                </a:lnTo>
                <a:lnTo>
                  <a:pt x="591439" y="73025"/>
                </a:lnTo>
                <a:lnTo>
                  <a:pt x="598551" y="69468"/>
                </a:lnTo>
                <a:lnTo>
                  <a:pt x="646953" y="69468"/>
                </a:lnTo>
                <a:lnTo>
                  <a:pt x="643635" y="64642"/>
                </a:lnTo>
                <a:lnTo>
                  <a:pt x="637413" y="60070"/>
                </a:lnTo>
                <a:lnTo>
                  <a:pt x="631316" y="55371"/>
                </a:lnTo>
                <a:lnTo>
                  <a:pt x="624078" y="53085"/>
                </a:lnTo>
                <a:close/>
              </a:path>
              <a:path w="864869" h="180339">
                <a:moveTo>
                  <a:pt x="814578" y="53085"/>
                </a:moveTo>
                <a:lnTo>
                  <a:pt x="774827" y="70865"/>
                </a:lnTo>
                <a:lnTo>
                  <a:pt x="758825" y="116966"/>
                </a:lnTo>
                <a:lnTo>
                  <a:pt x="759731" y="131087"/>
                </a:lnTo>
                <a:lnTo>
                  <a:pt x="781454" y="170636"/>
                </a:lnTo>
                <a:lnTo>
                  <a:pt x="813816" y="179958"/>
                </a:lnTo>
                <a:lnTo>
                  <a:pt x="826317" y="179222"/>
                </a:lnTo>
                <a:lnTo>
                  <a:pt x="837533" y="177022"/>
                </a:lnTo>
                <a:lnTo>
                  <a:pt x="847463" y="173368"/>
                </a:lnTo>
                <a:lnTo>
                  <a:pt x="856107" y="168275"/>
                </a:lnTo>
                <a:lnTo>
                  <a:pt x="856107" y="163575"/>
                </a:lnTo>
                <a:lnTo>
                  <a:pt x="818388" y="163575"/>
                </a:lnTo>
                <a:lnTo>
                  <a:pt x="809797" y="162887"/>
                </a:lnTo>
                <a:lnTo>
                  <a:pt x="779776" y="130937"/>
                </a:lnTo>
                <a:lnTo>
                  <a:pt x="778891" y="121412"/>
                </a:lnTo>
                <a:lnTo>
                  <a:pt x="864489" y="121412"/>
                </a:lnTo>
                <a:lnTo>
                  <a:pt x="864489" y="111125"/>
                </a:lnTo>
                <a:lnTo>
                  <a:pt x="864096" y="104901"/>
                </a:lnTo>
                <a:lnTo>
                  <a:pt x="779145" y="104901"/>
                </a:lnTo>
                <a:lnTo>
                  <a:pt x="780740" y="97357"/>
                </a:lnTo>
                <a:lnTo>
                  <a:pt x="805179" y="69468"/>
                </a:lnTo>
                <a:lnTo>
                  <a:pt x="852097" y="69468"/>
                </a:lnTo>
                <a:lnTo>
                  <a:pt x="851408" y="68452"/>
                </a:lnTo>
                <a:lnTo>
                  <a:pt x="844242" y="61712"/>
                </a:lnTo>
                <a:lnTo>
                  <a:pt x="835707" y="56911"/>
                </a:lnTo>
                <a:lnTo>
                  <a:pt x="825815" y="54040"/>
                </a:lnTo>
                <a:lnTo>
                  <a:pt x="814578" y="53085"/>
                </a:lnTo>
                <a:close/>
              </a:path>
              <a:path w="864869" h="180339">
                <a:moveTo>
                  <a:pt x="856107" y="150113"/>
                </a:moveTo>
                <a:lnTo>
                  <a:pt x="847266" y="156021"/>
                </a:lnTo>
                <a:lnTo>
                  <a:pt x="838057" y="160226"/>
                </a:lnTo>
                <a:lnTo>
                  <a:pt x="828442" y="162740"/>
                </a:lnTo>
                <a:lnTo>
                  <a:pt x="818388" y="163575"/>
                </a:lnTo>
                <a:lnTo>
                  <a:pt x="856107" y="163575"/>
                </a:lnTo>
                <a:lnTo>
                  <a:pt x="856107" y="150113"/>
                </a:lnTo>
                <a:close/>
              </a:path>
              <a:path w="864869" h="180339">
                <a:moveTo>
                  <a:pt x="852097" y="69468"/>
                </a:moveTo>
                <a:lnTo>
                  <a:pt x="823722" y="69468"/>
                </a:lnTo>
                <a:lnTo>
                  <a:pt x="831088" y="72516"/>
                </a:lnTo>
                <a:lnTo>
                  <a:pt x="836422" y="78739"/>
                </a:lnTo>
                <a:lnTo>
                  <a:pt x="839942" y="83881"/>
                </a:lnTo>
                <a:lnTo>
                  <a:pt x="842486" y="89963"/>
                </a:lnTo>
                <a:lnTo>
                  <a:pt x="844030" y="96974"/>
                </a:lnTo>
                <a:lnTo>
                  <a:pt x="844550" y="104901"/>
                </a:lnTo>
                <a:lnTo>
                  <a:pt x="864096" y="104901"/>
                </a:lnTo>
                <a:lnTo>
                  <a:pt x="863677" y="98242"/>
                </a:lnTo>
                <a:lnTo>
                  <a:pt x="861234" y="86836"/>
                </a:lnTo>
                <a:lnTo>
                  <a:pt x="857148" y="76906"/>
                </a:lnTo>
                <a:lnTo>
                  <a:pt x="852097" y="69468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85248" y="1870702"/>
            <a:ext cx="306356" cy="4445254"/>
          </a:xfrm>
          <a:custGeom>
            <a:avLst/>
            <a:gdLst/>
            <a:ahLst/>
            <a:cxnLst/>
            <a:rect l="l" t="t" r="r" b="b"/>
            <a:pathLst>
              <a:path w="416559" h="4535805">
                <a:moveTo>
                  <a:pt x="416052" y="4535424"/>
                </a:moveTo>
                <a:lnTo>
                  <a:pt x="335075" y="4535424"/>
                </a:lnTo>
                <a:lnTo>
                  <a:pt x="268952" y="4535424"/>
                </a:lnTo>
                <a:lnTo>
                  <a:pt x="224372" y="4535424"/>
                </a:lnTo>
                <a:lnTo>
                  <a:pt x="208026" y="4535424"/>
                </a:lnTo>
                <a:lnTo>
                  <a:pt x="208026" y="2267712"/>
                </a:lnTo>
                <a:lnTo>
                  <a:pt x="152390" y="2267712"/>
                </a:lnTo>
                <a:lnTo>
                  <a:pt x="112175" y="2267712"/>
                </a:lnTo>
                <a:lnTo>
                  <a:pt x="67879" y="2267712"/>
                </a:lnTo>
                <a:lnTo>
                  <a:pt x="0" y="2267712"/>
                </a:lnTo>
                <a:lnTo>
                  <a:pt x="80976" y="2267712"/>
                </a:lnTo>
                <a:lnTo>
                  <a:pt x="147099" y="2267712"/>
                </a:lnTo>
                <a:lnTo>
                  <a:pt x="191679" y="2267712"/>
                </a:lnTo>
                <a:lnTo>
                  <a:pt x="208026" y="2267712"/>
                </a:lnTo>
                <a:lnTo>
                  <a:pt x="208026" y="0"/>
                </a:lnTo>
                <a:lnTo>
                  <a:pt x="263668" y="0"/>
                </a:lnTo>
                <a:lnTo>
                  <a:pt x="303885" y="0"/>
                </a:lnTo>
                <a:lnTo>
                  <a:pt x="348179" y="0"/>
                </a:lnTo>
                <a:lnTo>
                  <a:pt x="416052" y="0"/>
                </a:lnTo>
              </a:path>
            </a:pathLst>
          </a:custGeom>
          <a:ln w="19812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27091" y="3490609"/>
            <a:ext cx="154579" cy="1188637"/>
          </a:xfrm>
          <a:custGeom>
            <a:avLst/>
            <a:gdLst/>
            <a:ahLst/>
            <a:cxnLst/>
            <a:rect l="l" t="t" r="r" b="b"/>
            <a:pathLst>
              <a:path w="210185" h="1212850">
                <a:moveTo>
                  <a:pt x="0" y="1092073"/>
                </a:moveTo>
                <a:lnTo>
                  <a:pt x="0" y="1111631"/>
                </a:lnTo>
                <a:lnTo>
                  <a:pt x="74828" y="1150366"/>
                </a:lnTo>
                <a:lnTo>
                  <a:pt x="78028" y="1151763"/>
                </a:lnTo>
                <a:lnTo>
                  <a:pt x="80518" y="1152525"/>
                </a:lnTo>
                <a:lnTo>
                  <a:pt x="80518" y="1152779"/>
                </a:lnTo>
                <a:lnTo>
                  <a:pt x="71767" y="1156208"/>
                </a:lnTo>
                <a:lnTo>
                  <a:pt x="70891" y="1156716"/>
                </a:lnTo>
                <a:lnTo>
                  <a:pt x="0" y="1191768"/>
                </a:lnTo>
                <a:lnTo>
                  <a:pt x="0" y="1212723"/>
                </a:lnTo>
                <a:lnTo>
                  <a:pt x="99326" y="1162304"/>
                </a:lnTo>
                <a:lnTo>
                  <a:pt x="156870" y="1162304"/>
                </a:lnTo>
                <a:lnTo>
                  <a:pt x="156870" y="1143889"/>
                </a:lnTo>
                <a:lnTo>
                  <a:pt x="98894" y="1143889"/>
                </a:lnTo>
                <a:lnTo>
                  <a:pt x="0" y="1092073"/>
                </a:lnTo>
                <a:close/>
              </a:path>
              <a:path w="210185" h="1212850">
                <a:moveTo>
                  <a:pt x="100418" y="990219"/>
                </a:moveTo>
                <a:lnTo>
                  <a:pt x="57645" y="1004316"/>
                </a:lnTo>
                <a:lnTo>
                  <a:pt x="42227" y="1043432"/>
                </a:lnTo>
                <a:lnTo>
                  <a:pt x="43218" y="1055887"/>
                </a:lnTo>
                <a:lnTo>
                  <a:pt x="66790" y="1091828"/>
                </a:lnTo>
                <a:lnTo>
                  <a:pt x="102171" y="1100455"/>
                </a:lnTo>
                <a:lnTo>
                  <a:pt x="114494" y="1099546"/>
                </a:lnTo>
                <a:lnTo>
                  <a:pt x="125537" y="1096803"/>
                </a:lnTo>
                <a:lnTo>
                  <a:pt x="135302" y="1092203"/>
                </a:lnTo>
                <a:lnTo>
                  <a:pt x="143789" y="1085723"/>
                </a:lnTo>
                <a:lnTo>
                  <a:pt x="146823" y="1082167"/>
                </a:lnTo>
                <a:lnTo>
                  <a:pt x="101511" y="1082167"/>
                </a:lnTo>
                <a:lnTo>
                  <a:pt x="91724" y="1081526"/>
                </a:lnTo>
                <a:lnTo>
                  <a:pt x="58061" y="1052917"/>
                </a:lnTo>
                <a:lnTo>
                  <a:pt x="57438" y="1043432"/>
                </a:lnTo>
                <a:lnTo>
                  <a:pt x="58037" y="1036534"/>
                </a:lnTo>
                <a:lnTo>
                  <a:pt x="91177" y="1009209"/>
                </a:lnTo>
                <a:lnTo>
                  <a:pt x="101079" y="1008634"/>
                </a:lnTo>
                <a:lnTo>
                  <a:pt x="146094" y="1008634"/>
                </a:lnTo>
                <a:lnTo>
                  <a:pt x="143357" y="1005459"/>
                </a:lnTo>
                <a:lnTo>
                  <a:pt x="134623" y="998791"/>
                </a:lnTo>
                <a:lnTo>
                  <a:pt x="124555" y="994029"/>
                </a:lnTo>
                <a:lnTo>
                  <a:pt x="113153" y="991171"/>
                </a:lnTo>
                <a:lnTo>
                  <a:pt x="100418" y="990219"/>
                </a:lnTo>
                <a:close/>
              </a:path>
              <a:path w="210185" h="1212850">
                <a:moveTo>
                  <a:pt x="146094" y="1008634"/>
                </a:moveTo>
                <a:lnTo>
                  <a:pt x="101079" y="1008634"/>
                </a:lnTo>
                <a:lnTo>
                  <a:pt x="110875" y="1009209"/>
                </a:lnTo>
                <a:lnTo>
                  <a:pt x="119483" y="1010951"/>
                </a:lnTo>
                <a:lnTo>
                  <a:pt x="144289" y="1043432"/>
                </a:lnTo>
                <a:lnTo>
                  <a:pt x="144275" y="1046099"/>
                </a:lnTo>
                <a:lnTo>
                  <a:pt x="119313" y="1079611"/>
                </a:lnTo>
                <a:lnTo>
                  <a:pt x="101511" y="1082167"/>
                </a:lnTo>
                <a:lnTo>
                  <a:pt x="146823" y="1082167"/>
                </a:lnTo>
                <a:lnTo>
                  <a:pt x="150656" y="1077674"/>
                </a:lnTo>
                <a:lnTo>
                  <a:pt x="155562" y="1068387"/>
                </a:lnTo>
                <a:lnTo>
                  <a:pt x="158505" y="1057862"/>
                </a:lnTo>
                <a:lnTo>
                  <a:pt x="159486" y="1046099"/>
                </a:lnTo>
                <a:lnTo>
                  <a:pt x="158479" y="1033980"/>
                </a:lnTo>
                <a:lnTo>
                  <a:pt x="155455" y="1023159"/>
                </a:lnTo>
                <a:lnTo>
                  <a:pt x="150415" y="1013648"/>
                </a:lnTo>
                <a:lnTo>
                  <a:pt x="146094" y="1008634"/>
                </a:lnTo>
                <a:close/>
              </a:path>
              <a:path w="210185" h="1212850">
                <a:moveTo>
                  <a:pt x="139141" y="889127"/>
                </a:moveTo>
                <a:lnTo>
                  <a:pt x="109385" y="889127"/>
                </a:lnTo>
                <a:lnTo>
                  <a:pt x="116838" y="889652"/>
                </a:lnTo>
                <a:lnTo>
                  <a:pt x="123542" y="891238"/>
                </a:lnTo>
                <a:lnTo>
                  <a:pt x="129498" y="893895"/>
                </a:lnTo>
                <a:lnTo>
                  <a:pt x="134708" y="897636"/>
                </a:lnTo>
                <a:lnTo>
                  <a:pt x="141173" y="903224"/>
                </a:lnTo>
                <a:lnTo>
                  <a:pt x="144399" y="910463"/>
                </a:lnTo>
                <a:lnTo>
                  <a:pt x="144399" y="919226"/>
                </a:lnTo>
                <a:lnTo>
                  <a:pt x="142184" y="931134"/>
                </a:lnTo>
                <a:lnTo>
                  <a:pt x="135539" y="939625"/>
                </a:lnTo>
                <a:lnTo>
                  <a:pt x="124462" y="944711"/>
                </a:lnTo>
                <a:lnTo>
                  <a:pt x="108953" y="946404"/>
                </a:lnTo>
                <a:lnTo>
                  <a:pt x="44856" y="946404"/>
                </a:lnTo>
                <a:lnTo>
                  <a:pt x="44856" y="964184"/>
                </a:lnTo>
                <a:lnTo>
                  <a:pt x="111798" y="964184"/>
                </a:lnTo>
                <a:lnTo>
                  <a:pt x="132665" y="961683"/>
                </a:lnTo>
                <a:lnTo>
                  <a:pt x="147567" y="954182"/>
                </a:lnTo>
                <a:lnTo>
                  <a:pt x="156507" y="941681"/>
                </a:lnTo>
                <a:lnTo>
                  <a:pt x="159486" y="924179"/>
                </a:lnTo>
                <a:lnTo>
                  <a:pt x="158215" y="913227"/>
                </a:lnTo>
                <a:lnTo>
                  <a:pt x="154400" y="903811"/>
                </a:lnTo>
                <a:lnTo>
                  <a:pt x="148042" y="895943"/>
                </a:lnTo>
                <a:lnTo>
                  <a:pt x="139166" y="889652"/>
                </a:lnTo>
                <a:lnTo>
                  <a:pt x="139141" y="889127"/>
                </a:lnTo>
                <a:close/>
              </a:path>
              <a:path w="210185" h="1212850">
                <a:moveTo>
                  <a:pt x="156870" y="871220"/>
                </a:moveTo>
                <a:lnTo>
                  <a:pt x="44856" y="871220"/>
                </a:lnTo>
                <a:lnTo>
                  <a:pt x="44856" y="889127"/>
                </a:lnTo>
                <a:lnTo>
                  <a:pt x="156870" y="889127"/>
                </a:lnTo>
                <a:lnTo>
                  <a:pt x="156870" y="871220"/>
                </a:lnTo>
                <a:close/>
              </a:path>
              <a:path w="210185" h="1212850">
                <a:moveTo>
                  <a:pt x="156870" y="753364"/>
                </a:moveTo>
                <a:lnTo>
                  <a:pt x="44856" y="753364"/>
                </a:lnTo>
                <a:lnTo>
                  <a:pt x="44856" y="771271"/>
                </a:lnTo>
                <a:lnTo>
                  <a:pt x="156870" y="771271"/>
                </a:lnTo>
                <a:lnTo>
                  <a:pt x="156870" y="753364"/>
                </a:lnTo>
                <a:close/>
              </a:path>
              <a:path w="210185" h="1212850">
                <a:moveTo>
                  <a:pt x="156870" y="612267"/>
                </a:moveTo>
                <a:lnTo>
                  <a:pt x="87845" y="612267"/>
                </a:lnTo>
                <a:lnTo>
                  <a:pt x="67886" y="614576"/>
                </a:lnTo>
                <a:lnTo>
                  <a:pt x="53630" y="621506"/>
                </a:lnTo>
                <a:lnTo>
                  <a:pt x="45078" y="633055"/>
                </a:lnTo>
                <a:lnTo>
                  <a:pt x="42227" y="649224"/>
                </a:lnTo>
                <a:lnTo>
                  <a:pt x="43677" y="660824"/>
                </a:lnTo>
                <a:lnTo>
                  <a:pt x="48026" y="670877"/>
                </a:lnTo>
                <a:lnTo>
                  <a:pt x="55273" y="679406"/>
                </a:lnTo>
                <a:lnTo>
                  <a:pt x="65417" y="686435"/>
                </a:lnTo>
                <a:lnTo>
                  <a:pt x="58483" y="688467"/>
                </a:lnTo>
                <a:lnTo>
                  <a:pt x="52895" y="692404"/>
                </a:lnTo>
                <a:lnTo>
                  <a:pt x="44361" y="703834"/>
                </a:lnTo>
                <a:lnTo>
                  <a:pt x="42227" y="710438"/>
                </a:lnTo>
                <a:lnTo>
                  <a:pt x="42227" y="718185"/>
                </a:lnTo>
                <a:lnTo>
                  <a:pt x="43499" y="728924"/>
                </a:lnTo>
                <a:lnTo>
                  <a:pt x="47313" y="738282"/>
                </a:lnTo>
                <a:lnTo>
                  <a:pt x="53671" y="746259"/>
                </a:lnTo>
                <a:lnTo>
                  <a:pt x="62572" y="752856"/>
                </a:lnTo>
                <a:lnTo>
                  <a:pt x="62572" y="753364"/>
                </a:lnTo>
                <a:lnTo>
                  <a:pt x="92989" y="753364"/>
                </a:lnTo>
                <a:lnTo>
                  <a:pt x="85428" y="752887"/>
                </a:lnTo>
                <a:lnTo>
                  <a:pt x="78614" y="751459"/>
                </a:lnTo>
                <a:lnTo>
                  <a:pt x="72545" y="749077"/>
                </a:lnTo>
                <a:lnTo>
                  <a:pt x="67221" y="745744"/>
                </a:lnTo>
                <a:lnTo>
                  <a:pt x="60617" y="740537"/>
                </a:lnTo>
                <a:lnTo>
                  <a:pt x="57327" y="734060"/>
                </a:lnTo>
                <a:lnTo>
                  <a:pt x="57327" y="726186"/>
                </a:lnTo>
                <a:lnTo>
                  <a:pt x="59392" y="715091"/>
                </a:lnTo>
                <a:lnTo>
                  <a:pt x="65585" y="707151"/>
                </a:lnTo>
                <a:lnTo>
                  <a:pt x="75908" y="702379"/>
                </a:lnTo>
                <a:lnTo>
                  <a:pt x="90360" y="700786"/>
                </a:lnTo>
                <a:lnTo>
                  <a:pt x="156870" y="700786"/>
                </a:lnTo>
                <a:lnTo>
                  <a:pt x="156870" y="682752"/>
                </a:lnTo>
                <a:lnTo>
                  <a:pt x="92989" y="682752"/>
                </a:lnTo>
                <a:lnTo>
                  <a:pt x="85916" y="682251"/>
                </a:lnTo>
                <a:lnTo>
                  <a:pt x="57327" y="662940"/>
                </a:lnTo>
                <a:lnTo>
                  <a:pt x="57327" y="646176"/>
                </a:lnTo>
                <a:lnTo>
                  <a:pt x="92544" y="630174"/>
                </a:lnTo>
                <a:lnTo>
                  <a:pt x="156870" y="630174"/>
                </a:lnTo>
                <a:lnTo>
                  <a:pt x="156870" y="612267"/>
                </a:lnTo>
                <a:close/>
              </a:path>
              <a:path w="210185" h="1212850">
                <a:moveTo>
                  <a:pt x="100203" y="515493"/>
                </a:moveTo>
                <a:lnTo>
                  <a:pt x="85877" y="515493"/>
                </a:lnTo>
                <a:lnTo>
                  <a:pt x="90576" y="549021"/>
                </a:lnTo>
                <a:lnTo>
                  <a:pt x="94788" y="565263"/>
                </a:lnTo>
                <a:lnTo>
                  <a:pt x="102282" y="576849"/>
                </a:lnTo>
                <a:lnTo>
                  <a:pt x="113057" y="583793"/>
                </a:lnTo>
                <a:lnTo>
                  <a:pt x="127114" y="586105"/>
                </a:lnTo>
                <a:lnTo>
                  <a:pt x="136880" y="586105"/>
                </a:lnTo>
                <a:lnTo>
                  <a:pt x="144729" y="582930"/>
                </a:lnTo>
                <a:lnTo>
                  <a:pt x="150634" y="576580"/>
                </a:lnTo>
                <a:lnTo>
                  <a:pt x="154509" y="571384"/>
                </a:lnTo>
                <a:lnTo>
                  <a:pt x="156191" y="567690"/>
                </a:lnTo>
                <a:lnTo>
                  <a:pt x="118287" y="567690"/>
                </a:lnTo>
                <a:lnTo>
                  <a:pt x="113055" y="565531"/>
                </a:lnTo>
                <a:lnTo>
                  <a:pt x="107149" y="557149"/>
                </a:lnTo>
                <a:lnTo>
                  <a:pt x="105092" y="550799"/>
                </a:lnTo>
                <a:lnTo>
                  <a:pt x="102194" y="529971"/>
                </a:lnTo>
                <a:lnTo>
                  <a:pt x="100203" y="515493"/>
                </a:lnTo>
                <a:close/>
              </a:path>
              <a:path w="210185" h="1212850">
                <a:moveTo>
                  <a:pt x="156870" y="497586"/>
                </a:moveTo>
                <a:lnTo>
                  <a:pt x="84010" y="497586"/>
                </a:lnTo>
                <a:lnTo>
                  <a:pt x="65732" y="500042"/>
                </a:lnTo>
                <a:lnTo>
                  <a:pt x="52674" y="507428"/>
                </a:lnTo>
                <a:lnTo>
                  <a:pt x="44839" y="519767"/>
                </a:lnTo>
                <a:lnTo>
                  <a:pt x="42227" y="537083"/>
                </a:lnTo>
                <a:lnTo>
                  <a:pt x="42884" y="547534"/>
                </a:lnTo>
                <a:lnTo>
                  <a:pt x="44854" y="557355"/>
                </a:lnTo>
                <a:lnTo>
                  <a:pt x="48137" y="566533"/>
                </a:lnTo>
                <a:lnTo>
                  <a:pt x="52730" y="575056"/>
                </a:lnTo>
                <a:lnTo>
                  <a:pt x="71107" y="575056"/>
                </a:lnTo>
                <a:lnTo>
                  <a:pt x="65075" y="566699"/>
                </a:lnTo>
                <a:lnTo>
                  <a:pt x="60769" y="557831"/>
                </a:lnTo>
                <a:lnTo>
                  <a:pt x="58187" y="548463"/>
                </a:lnTo>
                <a:lnTo>
                  <a:pt x="57327" y="538607"/>
                </a:lnTo>
                <a:lnTo>
                  <a:pt x="59111" y="528512"/>
                </a:lnTo>
                <a:lnTo>
                  <a:pt x="64463" y="521287"/>
                </a:lnTo>
                <a:lnTo>
                  <a:pt x="73385" y="516943"/>
                </a:lnTo>
                <a:lnTo>
                  <a:pt x="85877" y="515493"/>
                </a:lnTo>
                <a:lnTo>
                  <a:pt x="156870" y="515493"/>
                </a:lnTo>
                <a:lnTo>
                  <a:pt x="156870" y="497586"/>
                </a:lnTo>
                <a:close/>
              </a:path>
              <a:path w="210185" h="1212850">
                <a:moveTo>
                  <a:pt x="139369" y="515493"/>
                </a:moveTo>
                <a:lnTo>
                  <a:pt x="120916" y="515493"/>
                </a:lnTo>
                <a:lnTo>
                  <a:pt x="128803" y="518414"/>
                </a:lnTo>
                <a:lnTo>
                  <a:pt x="135039" y="524256"/>
                </a:lnTo>
                <a:lnTo>
                  <a:pt x="141274" y="529971"/>
                </a:lnTo>
                <a:lnTo>
                  <a:pt x="144291" y="537083"/>
                </a:lnTo>
                <a:lnTo>
                  <a:pt x="144399" y="552704"/>
                </a:lnTo>
                <a:lnTo>
                  <a:pt x="142659" y="557911"/>
                </a:lnTo>
                <a:lnTo>
                  <a:pt x="135737" y="565785"/>
                </a:lnTo>
                <a:lnTo>
                  <a:pt x="131267" y="567690"/>
                </a:lnTo>
                <a:lnTo>
                  <a:pt x="156191" y="567690"/>
                </a:lnTo>
                <a:lnTo>
                  <a:pt x="157286" y="565263"/>
                </a:lnTo>
                <a:lnTo>
                  <a:pt x="158933" y="558327"/>
                </a:lnTo>
                <a:lnTo>
                  <a:pt x="159486" y="550418"/>
                </a:lnTo>
                <a:lnTo>
                  <a:pt x="158229" y="539700"/>
                </a:lnTo>
                <a:lnTo>
                  <a:pt x="154457" y="530399"/>
                </a:lnTo>
                <a:lnTo>
                  <a:pt x="148170" y="522503"/>
                </a:lnTo>
                <a:lnTo>
                  <a:pt x="139369" y="516001"/>
                </a:lnTo>
                <a:lnTo>
                  <a:pt x="139369" y="515493"/>
                </a:lnTo>
                <a:close/>
              </a:path>
              <a:path w="210185" h="1212850">
                <a:moveTo>
                  <a:pt x="156870" y="445516"/>
                </a:moveTo>
                <a:lnTo>
                  <a:pt x="44856" y="445516"/>
                </a:lnTo>
                <a:lnTo>
                  <a:pt x="44856" y="463423"/>
                </a:lnTo>
                <a:lnTo>
                  <a:pt x="156870" y="463423"/>
                </a:lnTo>
                <a:lnTo>
                  <a:pt x="156870" y="445516"/>
                </a:lnTo>
                <a:close/>
              </a:path>
              <a:path w="210185" h="1212850">
                <a:moveTo>
                  <a:pt x="156870" y="370459"/>
                </a:moveTo>
                <a:lnTo>
                  <a:pt x="88392" y="370459"/>
                </a:lnTo>
                <a:lnTo>
                  <a:pt x="77840" y="371076"/>
                </a:lnTo>
                <a:lnTo>
                  <a:pt x="45191" y="392128"/>
                </a:lnTo>
                <a:lnTo>
                  <a:pt x="42227" y="408305"/>
                </a:lnTo>
                <a:lnTo>
                  <a:pt x="43553" y="419611"/>
                </a:lnTo>
                <a:lnTo>
                  <a:pt x="47532" y="429514"/>
                </a:lnTo>
                <a:lnTo>
                  <a:pt x="54164" y="437987"/>
                </a:lnTo>
                <a:lnTo>
                  <a:pt x="63396" y="444968"/>
                </a:lnTo>
                <a:lnTo>
                  <a:pt x="63449" y="445516"/>
                </a:lnTo>
                <a:lnTo>
                  <a:pt x="92989" y="445516"/>
                </a:lnTo>
                <a:lnTo>
                  <a:pt x="85605" y="444968"/>
                </a:lnTo>
                <a:lnTo>
                  <a:pt x="78884" y="443325"/>
                </a:lnTo>
                <a:lnTo>
                  <a:pt x="72827" y="440586"/>
                </a:lnTo>
                <a:lnTo>
                  <a:pt x="67437" y="436753"/>
                </a:lnTo>
                <a:lnTo>
                  <a:pt x="60693" y="430784"/>
                </a:lnTo>
                <a:lnTo>
                  <a:pt x="57327" y="423418"/>
                </a:lnTo>
                <a:lnTo>
                  <a:pt x="57327" y="414401"/>
                </a:lnTo>
                <a:lnTo>
                  <a:pt x="59556" y="403046"/>
                </a:lnTo>
                <a:lnTo>
                  <a:pt x="66243" y="394906"/>
                </a:lnTo>
                <a:lnTo>
                  <a:pt x="77387" y="390005"/>
                </a:lnTo>
                <a:lnTo>
                  <a:pt x="92989" y="388366"/>
                </a:lnTo>
                <a:lnTo>
                  <a:pt x="156870" y="388366"/>
                </a:lnTo>
                <a:lnTo>
                  <a:pt x="156870" y="370459"/>
                </a:lnTo>
                <a:close/>
              </a:path>
              <a:path w="210185" h="1212850">
                <a:moveTo>
                  <a:pt x="100203" y="274701"/>
                </a:moveTo>
                <a:lnTo>
                  <a:pt x="85877" y="274701"/>
                </a:lnTo>
                <a:lnTo>
                  <a:pt x="90576" y="308229"/>
                </a:lnTo>
                <a:lnTo>
                  <a:pt x="94788" y="324471"/>
                </a:lnTo>
                <a:lnTo>
                  <a:pt x="102282" y="336057"/>
                </a:lnTo>
                <a:lnTo>
                  <a:pt x="113057" y="343001"/>
                </a:lnTo>
                <a:lnTo>
                  <a:pt x="127114" y="345313"/>
                </a:lnTo>
                <a:lnTo>
                  <a:pt x="136880" y="345313"/>
                </a:lnTo>
                <a:lnTo>
                  <a:pt x="144729" y="342138"/>
                </a:lnTo>
                <a:lnTo>
                  <a:pt x="150634" y="335788"/>
                </a:lnTo>
                <a:lnTo>
                  <a:pt x="154509" y="330592"/>
                </a:lnTo>
                <a:lnTo>
                  <a:pt x="156191" y="326898"/>
                </a:lnTo>
                <a:lnTo>
                  <a:pt x="118287" y="326898"/>
                </a:lnTo>
                <a:lnTo>
                  <a:pt x="113055" y="324739"/>
                </a:lnTo>
                <a:lnTo>
                  <a:pt x="107149" y="316357"/>
                </a:lnTo>
                <a:lnTo>
                  <a:pt x="105092" y="310007"/>
                </a:lnTo>
                <a:lnTo>
                  <a:pt x="102194" y="289179"/>
                </a:lnTo>
                <a:lnTo>
                  <a:pt x="100203" y="274701"/>
                </a:lnTo>
                <a:close/>
              </a:path>
              <a:path w="210185" h="1212850">
                <a:moveTo>
                  <a:pt x="156870" y="256794"/>
                </a:moveTo>
                <a:lnTo>
                  <a:pt x="84010" y="256794"/>
                </a:lnTo>
                <a:lnTo>
                  <a:pt x="65732" y="259250"/>
                </a:lnTo>
                <a:lnTo>
                  <a:pt x="52674" y="266636"/>
                </a:lnTo>
                <a:lnTo>
                  <a:pt x="44839" y="278975"/>
                </a:lnTo>
                <a:lnTo>
                  <a:pt x="42227" y="296291"/>
                </a:lnTo>
                <a:lnTo>
                  <a:pt x="42884" y="306742"/>
                </a:lnTo>
                <a:lnTo>
                  <a:pt x="44854" y="316563"/>
                </a:lnTo>
                <a:lnTo>
                  <a:pt x="48137" y="325741"/>
                </a:lnTo>
                <a:lnTo>
                  <a:pt x="52730" y="334264"/>
                </a:lnTo>
                <a:lnTo>
                  <a:pt x="71107" y="334264"/>
                </a:lnTo>
                <a:lnTo>
                  <a:pt x="65075" y="325907"/>
                </a:lnTo>
                <a:lnTo>
                  <a:pt x="60769" y="317039"/>
                </a:lnTo>
                <a:lnTo>
                  <a:pt x="58187" y="307671"/>
                </a:lnTo>
                <a:lnTo>
                  <a:pt x="57327" y="297815"/>
                </a:lnTo>
                <a:lnTo>
                  <a:pt x="59111" y="287720"/>
                </a:lnTo>
                <a:lnTo>
                  <a:pt x="64463" y="280495"/>
                </a:lnTo>
                <a:lnTo>
                  <a:pt x="73385" y="276151"/>
                </a:lnTo>
                <a:lnTo>
                  <a:pt x="85877" y="274701"/>
                </a:lnTo>
                <a:lnTo>
                  <a:pt x="156870" y="274701"/>
                </a:lnTo>
                <a:lnTo>
                  <a:pt x="156870" y="256794"/>
                </a:lnTo>
                <a:close/>
              </a:path>
              <a:path w="210185" h="1212850">
                <a:moveTo>
                  <a:pt x="139369" y="274701"/>
                </a:moveTo>
                <a:lnTo>
                  <a:pt x="120916" y="274701"/>
                </a:lnTo>
                <a:lnTo>
                  <a:pt x="128803" y="277622"/>
                </a:lnTo>
                <a:lnTo>
                  <a:pt x="135039" y="283464"/>
                </a:lnTo>
                <a:lnTo>
                  <a:pt x="141274" y="289179"/>
                </a:lnTo>
                <a:lnTo>
                  <a:pt x="144291" y="296291"/>
                </a:lnTo>
                <a:lnTo>
                  <a:pt x="144399" y="311912"/>
                </a:lnTo>
                <a:lnTo>
                  <a:pt x="142659" y="317119"/>
                </a:lnTo>
                <a:lnTo>
                  <a:pt x="135737" y="324993"/>
                </a:lnTo>
                <a:lnTo>
                  <a:pt x="131267" y="326898"/>
                </a:lnTo>
                <a:lnTo>
                  <a:pt x="156191" y="326898"/>
                </a:lnTo>
                <a:lnTo>
                  <a:pt x="157286" y="324471"/>
                </a:lnTo>
                <a:lnTo>
                  <a:pt x="158933" y="317535"/>
                </a:lnTo>
                <a:lnTo>
                  <a:pt x="159486" y="309626"/>
                </a:lnTo>
                <a:lnTo>
                  <a:pt x="158229" y="298908"/>
                </a:lnTo>
                <a:lnTo>
                  <a:pt x="154457" y="289607"/>
                </a:lnTo>
                <a:lnTo>
                  <a:pt x="148170" y="281711"/>
                </a:lnTo>
                <a:lnTo>
                  <a:pt x="139369" y="275209"/>
                </a:lnTo>
                <a:lnTo>
                  <a:pt x="139369" y="274701"/>
                </a:lnTo>
                <a:close/>
              </a:path>
              <a:path w="210185" h="1212850">
                <a:moveTo>
                  <a:pt x="80810" y="145034"/>
                </a:moveTo>
                <a:lnTo>
                  <a:pt x="60388" y="145034"/>
                </a:lnTo>
                <a:lnTo>
                  <a:pt x="60388" y="145415"/>
                </a:lnTo>
                <a:lnTo>
                  <a:pt x="52444" y="151600"/>
                </a:lnTo>
                <a:lnTo>
                  <a:pt x="46769" y="159273"/>
                </a:lnTo>
                <a:lnTo>
                  <a:pt x="43363" y="168400"/>
                </a:lnTo>
                <a:lnTo>
                  <a:pt x="42227" y="178943"/>
                </a:lnTo>
                <a:lnTo>
                  <a:pt x="43280" y="190281"/>
                </a:lnTo>
                <a:lnTo>
                  <a:pt x="68226" y="222535"/>
                </a:lnTo>
                <a:lnTo>
                  <a:pt x="104470" y="230251"/>
                </a:lnTo>
                <a:lnTo>
                  <a:pt x="116412" y="229463"/>
                </a:lnTo>
                <a:lnTo>
                  <a:pt x="127074" y="227091"/>
                </a:lnTo>
                <a:lnTo>
                  <a:pt x="136458" y="223125"/>
                </a:lnTo>
                <a:lnTo>
                  <a:pt x="144564" y="217551"/>
                </a:lnTo>
                <a:lnTo>
                  <a:pt x="149862" y="211963"/>
                </a:lnTo>
                <a:lnTo>
                  <a:pt x="103263" y="211963"/>
                </a:lnTo>
                <a:lnTo>
                  <a:pt x="92983" y="211369"/>
                </a:lnTo>
                <a:lnTo>
                  <a:pt x="60347" y="191309"/>
                </a:lnTo>
                <a:lnTo>
                  <a:pt x="57327" y="176530"/>
                </a:lnTo>
                <a:lnTo>
                  <a:pt x="57327" y="167512"/>
                </a:lnTo>
                <a:lnTo>
                  <a:pt x="60490" y="160020"/>
                </a:lnTo>
                <a:lnTo>
                  <a:pt x="66840" y="154050"/>
                </a:lnTo>
                <a:lnTo>
                  <a:pt x="73177" y="147955"/>
                </a:lnTo>
                <a:lnTo>
                  <a:pt x="80810" y="145034"/>
                </a:lnTo>
                <a:close/>
              </a:path>
              <a:path w="210185" h="1212850">
                <a:moveTo>
                  <a:pt x="147891" y="127000"/>
                </a:moveTo>
                <a:lnTo>
                  <a:pt x="44856" y="127000"/>
                </a:lnTo>
                <a:lnTo>
                  <a:pt x="44856" y="145034"/>
                </a:lnTo>
                <a:lnTo>
                  <a:pt x="150304" y="145034"/>
                </a:lnTo>
                <a:lnTo>
                  <a:pt x="169540" y="147607"/>
                </a:lnTo>
                <a:lnTo>
                  <a:pt x="183280" y="155336"/>
                </a:lnTo>
                <a:lnTo>
                  <a:pt x="191523" y="168233"/>
                </a:lnTo>
                <a:lnTo>
                  <a:pt x="194271" y="186309"/>
                </a:lnTo>
                <a:lnTo>
                  <a:pt x="193616" y="194998"/>
                </a:lnTo>
                <a:lnTo>
                  <a:pt x="191650" y="203914"/>
                </a:lnTo>
                <a:lnTo>
                  <a:pt x="188372" y="213044"/>
                </a:lnTo>
                <a:lnTo>
                  <a:pt x="183781" y="222377"/>
                </a:lnTo>
                <a:lnTo>
                  <a:pt x="201714" y="222377"/>
                </a:lnTo>
                <a:lnTo>
                  <a:pt x="205162" y="214326"/>
                </a:lnTo>
                <a:lnTo>
                  <a:pt x="207622" y="205597"/>
                </a:lnTo>
                <a:lnTo>
                  <a:pt x="209097" y="196177"/>
                </a:lnTo>
                <a:lnTo>
                  <a:pt x="209588" y="186055"/>
                </a:lnTo>
                <a:lnTo>
                  <a:pt x="205732" y="160218"/>
                </a:lnTo>
                <a:lnTo>
                  <a:pt x="194165" y="141763"/>
                </a:lnTo>
                <a:lnTo>
                  <a:pt x="174885" y="130690"/>
                </a:lnTo>
                <a:lnTo>
                  <a:pt x="147891" y="127000"/>
                </a:lnTo>
                <a:close/>
              </a:path>
              <a:path w="210185" h="1212850">
                <a:moveTo>
                  <a:pt x="138049" y="145034"/>
                </a:moveTo>
                <a:lnTo>
                  <a:pt x="106222" y="145034"/>
                </a:lnTo>
                <a:lnTo>
                  <a:pt x="114211" y="145609"/>
                </a:lnTo>
                <a:lnTo>
                  <a:pt x="121451" y="147351"/>
                </a:lnTo>
                <a:lnTo>
                  <a:pt x="144399" y="178943"/>
                </a:lnTo>
                <a:lnTo>
                  <a:pt x="143698" y="186055"/>
                </a:lnTo>
                <a:lnTo>
                  <a:pt x="112148" y="211393"/>
                </a:lnTo>
                <a:lnTo>
                  <a:pt x="103263" y="211963"/>
                </a:lnTo>
                <a:lnTo>
                  <a:pt x="149862" y="211963"/>
                </a:lnTo>
                <a:lnTo>
                  <a:pt x="151090" y="210667"/>
                </a:lnTo>
                <a:lnTo>
                  <a:pt x="155754" y="202771"/>
                </a:lnTo>
                <a:lnTo>
                  <a:pt x="158553" y="193851"/>
                </a:lnTo>
                <a:lnTo>
                  <a:pt x="159486" y="183896"/>
                </a:lnTo>
                <a:lnTo>
                  <a:pt x="158147" y="171846"/>
                </a:lnTo>
                <a:lnTo>
                  <a:pt x="154130" y="161416"/>
                </a:lnTo>
                <a:lnTo>
                  <a:pt x="147431" y="152606"/>
                </a:lnTo>
                <a:lnTo>
                  <a:pt x="138049" y="145415"/>
                </a:lnTo>
                <a:lnTo>
                  <a:pt x="138049" y="145034"/>
                </a:lnTo>
                <a:close/>
              </a:path>
              <a:path w="210185" h="1212850">
                <a:moveTo>
                  <a:pt x="105346" y="0"/>
                </a:moveTo>
                <a:lnTo>
                  <a:pt x="95935" y="0"/>
                </a:lnTo>
                <a:lnTo>
                  <a:pt x="83994" y="760"/>
                </a:lnTo>
                <a:lnTo>
                  <a:pt x="50226" y="18686"/>
                </a:lnTo>
                <a:lnTo>
                  <a:pt x="42227" y="46100"/>
                </a:lnTo>
                <a:lnTo>
                  <a:pt x="43256" y="56624"/>
                </a:lnTo>
                <a:lnTo>
                  <a:pt x="67523" y="89411"/>
                </a:lnTo>
                <a:lnTo>
                  <a:pt x="101295" y="97662"/>
                </a:lnTo>
                <a:lnTo>
                  <a:pt x="114358" y="96827"/>
                </a:lnTo>
                <a:lnTo>
                  <a:pt x="125869" y="94313"/>
                </a:lnTo>
                <a:lnTo>
                  <a:pt x="135828" y="90108"/>
                </a:lnTo>
                <a:lnTo>
                  <a:pt x="144233" y="84200"/>
                </a:lnTo>
                <a:lnTo>
                  <a:pt x="148779" y="79121"/>
                </a:lnTo>
                <a:lnTo>
                  <a:pt x="105346" y="79121"/>
                </a:lnTo>
                <a:lnTo>
                  <a:pt x="105346" y="78867"/>
                </a:lnTo>
                <a:lnTo>
                  <a:pt x="90144" y="78867"/>
                </a:lnTo>
                <a:lnTo>
                  <a:pt x="83160" y="77410"/>
                </a:lnTo>
                <a:lnTo>
                  <a:pt x="57327" y="54864"/>
                </a:lnTo>
                <a:lnTo>
                  <a:pt x="57327" y="37719"/>
                </a:lnTo>
                <a:lnTo>
                  <a:pt x="60198" y="30861"/>
                </a:lnTo>
                <a:lnTo>
                  <a:pt x="71729" y="20955"/>
                </a:lnTo>
                <a:lnTo>
                  <a:pt x="79781" y="18542"/>
                </a:lnTo>
                <a:lnTo>
                  <a:pt x="90144" y="18415"/>
                </a:lnTo>
                <a:lnTo>
                  <a:pt x="105346" y="18415"/>
                </a:lnTo>
                <a:lnTo>
                  <a:pt x="105346" y="0"/>
                </a:lnTo>
                <a:close/>
              </a:path>
              <a:path w="210185" h="1212850">
                <a:moveTo>
                  <a:pt x="148767" y="7747"/>
                </a:moveTo>
                <a:lnTo>
                  <a:pt x="131927" y="7747"/>
                </a:lnTo>
                <a:lnTo>
                  <a:pt x="137380" y="15916"/>
                </a:lnTo>
                <a:lnTo>
                  <a:pt x="141277" y="24431"/>
                </a:lnTo>
                <a:lnTo>
                  <a:pt x="143618" y="33303"/>
                </a:lnTo>
                <a:lnTo>
                  <a:pt x="144399" y="42545"/>
                </a:lnTo>
                <a:lnTo>
                  <a:pt x="143763" y="50549"/>
                </a:lnTo>
                <a:lnTo>
                  <a:pt x="114166" y="78339"/>
                </a:lnTo>
                <a:lnTo>
                  <a:pt x="105346" y="79121"/>
                </a:lnTo>
                <a:lnTo>
                  <a:pt x="148779" y="79121"/>
                </a:lnTo>
                <a:lnTo>
                  <a:pt x="150908" y="76741"/>
                </a:lnTo>
                <a:lnTo>
                  <a:pt x="155675" y="68056"/>
                </a:lnTo>
                <a:lnTo>
                  <a:pt x="158533" y="58108"/>
                </a:lnTo>
                <a:lnTo>
                  <a:pt x="159486" y="46862"/>
                </a:lnTo>
                <a:lnTo>
                  <a:pt x="158817" y="35286"/>
                </a:lnTo>
                <a:lnTo>
                  <a:pt x="156808" y="24923"/>
                </a:lnTo>
                <a:lnTo>
                  <a:pt x="153459" y="15751"/>
                </a:lnTo>
                <a:lnTo>
                  <a:pt x="148767" y="7747"/>
                </a:lnTo>
                <a:close/>
              </a:path>
              <a:path w="210185" h="1212850">
                <a:moveTo>
                  <a:pt x="105346" y="18415"/>
                </a:moveTo>
                <a:lnTo>
                  <a:pt x="90144" y="18415"/>
                </a:lnTo>
                <a:lnTo>
                  <a:pt x="90144" y="78867"/>
                </a:lnTo>
                <a:lnTo>
                  <a:pt x="105346" y="78867"/>
                </a:lnTo>
                <a:lnTo>
                  <a:pt x="105346" y="18415"/>
                </a:lnTo>
                <a:close/>
              </a:path>
            </a:pathLst>
          </a:custGeom>
          <a:solidFill>
            <a:srgbClr val="585858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750298" y="1213405"/>
            <a:ext cx="1317894" cy="23237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905159" y="1567382"/>
            <a:ext cx="996966" cy="21134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729190" y="5391806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89" h="429895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3118393" y="5496854"/>
            <a:ext cx="585627" cy="225281"/>
          </a:xfrm>
          <a:custGeom>
            <a:avLst/>
            <a:gdLst/>
            <a:ahLst/>
            <a:cxnLst/>
            <a:rect l="l" t="t" r="r" b="b"/>
            <a:pathLst>
              <a:path w="796289" h="229870">
                <a:moveTo>
                  <a:pt x="0" y="142227"/>
                </a:moveTo>
                <a:lnTo>
                  <a:pt x="0" y="165646"/>
                </a:lnTo>
                <a:lnTo>
                  <a:pt x="2159" y="167144"/>
                </a:lnTo>
                <a:lnTo>
                  <a:pt x="39750" y="175348"/>
                </a:lnTo>
                <a:lnTo>
                  <a:pt x="50418" y="175348"/>
                </a:lnTo>
                <a:lnTo>
                  <a:pt x="90170" y="161429"/>
                </a:lnTo>
                <a:lnTo>
                  <a:pt x="93896" y="157479"/>
                </a:lnTo>
                <a:lnTo>
                  <a:pt x="41910" y="157479"/>
                </a:lnTo>
                <a:lnTo>
                  <a:pt x="38100" y="157124"/>
                </a:lnTo>
                <a:lnTo>
                  <a:pt x="2666" y="144589"/>
                </a:lnTo>
                <a:lnTo>
                  <a:pt x="0" y="142227"/>
                </a:lnTo>
                <a:close/>
              </a:path>
              <a:path w="796289" h="229870">
                <a:moveTo>
                  <a:pt x="59054" y="0"/>
                </a:moveTo>
                <a:lnTo>
                  <a:pt x="51815" y="0"/>
                </a:lnTo>
                <a:lnTo>
                  <a:pt x="44576" y="888"/>
                </a:lnTo>
                <a:lnTo>
                  <a:pt x="37464" y="2666"/>
                </a:lnTo>
                <a:lnTo>
                  <a:pt x="30479" y="4571"/>
                </a:lnTo>
                <a:lnTo>
                  <a:pt x="24129" y="7238"/>
                </a:lnTo>
                <a:lnTo>
                  <a:pt x="18668" y="11048"/>
                </a:lnTo>
                <a:lnTo>
                  <a:pt x="13080" y="14731"/>
                </a:lnTo>
                <a:lnTo>
                  <a:pt x="8636" y="19430"/>
                </a:lnTo>
                <a:lnTo>
                  <a:pt x="5206" y="25145"/>
                </a:lnTo>
                <a:lnTo>
                  <a:pt x="1904" y="30860"/>
                </a:lnTo>
                <a:lnTo>
                  <a:pt x="126" y="37591"/>
                </a:lnTo>
                <a:lnTo>
                  <a:pt x="126" y="51688"/>
                </a:lnTo>
                <a:lnTo>
                  <a:pt x="25780" y="84581"/>
                </a:lnTo>
                <a:lnTo>
                  <a:pt x="30861" y="87629"/>
                </a:lnTo>
                <a:lnTo>
                  <a:pt x="36449" y="90677"/>
                </a:lnTo>
                <a:lnTo>
                  <a:pt x="42290" y="93725"/>
                </a:lnTo>
                <a:lnTo>
                  <a:pt x="47878" y="96519"/>
                </a:lnTo>
                <a:lnTo>
                  <a:pt x="53086" y="99313"/>
                </a:lnTo>
                <a:lnTo>
                  <a:pt x="78866" y="119151"/>
                </a:lnTo>
                <a:lnTo>
                  <a:pt x="80899" y="122542"/>
                </a:lnTo>
                <a:lnTo>
                  <a:pt x="81914" y="126530"/>
                </a:lnTo>
                <a:lnTo>
                  <a:pt x="81914" y="139623"/>
                </a:lnTo>
                <a:lnTo>
                  <a:pt x="45465" y="157479"/>
                </a:lnTo>
                <a:lnTo>
                  <a:pt x="93896" y="157479"/>
                </a:lnTo>
                <a:lnTo>
                  <a:pt x="94614" y="156717"/>
                </a:lnTo>
                <a:lnTo>
                  <a:pt x="98021" y="150507"/>
                </a:lnTo>
                <a:lnTo>
                  <a:pt x="101091" y="145122"/>
                </a:lnTo>
                <a:lnTo>
                  <a:pt x="102742" y="138036"/>
                </a:lnTo>
                <a:lnTo>
                  <a:pt x="102742" y="123367"/>
                </a:lnTo>
                <a:lnTo>
                  <a:pt x="101600" y="117767"/>
                </a:lnTo>
                <a:lnTo>
                  <a:pt x="99063" y="112648"/>
                </a:lnTo>
                <a:lnTo>
                  <a:pt x="96774" y="107949"/>
                </a:lnTo>
                <a:lnTo>
                  <a:pt x="93472" y="103504"/>
                </a:lnTo>
                <a:lnTo>
                  <a:pt x="89408" y="99567"/>
                </a:lnTo>
                <a:lnTo>
                  <a:pt x="85343" y="95503"/>
                </a:lnTo>
                <a:lnTo>
                  <a:pt x="80517" y="91820"/>
                </a:lnTo>
                <a:lnTo>
                  <a:pt x="69596" y="85216"/>
                </a:lnTo>
                <a:lnTo>
                  <a:pt x="63880" y="82041"/>
                </a:lnTo>
                <a:lnTo>
                  <a:pt x="46609" y="73405"/>
                </a:lnTo>
                <a:lnTo>
                  <a:pt x="42163" y="70992"/>
                </a:lnTo>
                <a:lnTo>
                  <a:pt x="37591" y="68579"/>
                </a:lnTo>
                <a:lnTo>
                  <a:pt x="33781" y="66039"/>
                </a:lnTo>
                <a:lnTo>
                  <a:pt x="30606" y="63372"/>
                </a:lnTo>
                <a:lnTo>
                  <a:pt x="27431" y="60832"/>
                </a:lnTo>
                <a:lnTo>
                  <a:pt x="25018" y="57911"/>
                </a:lnTo>
                <a:lnTo>
                  <a:pt x="23367" y="54736"/>
                </a:lnTo>
                <a:lnTo>
                  <a:pt x="21843" y="51688"/>
                </a:lnTo>
                <a:lnTo>
                  <a:pt x="20954" y="47878"/>
                </a:lnTo>
                <a:lnTo>
                  <a:pt x="20954" y="38861"/>
                </a:lnTo>
                <a:lnTo>
                  <a:pt x="22098" y="34924"/>
                </a:lnTo>
                <a:lnTo>
                  <a:pt x="24256" y="31749"/>
                </a:lnTo>
                <a:lnTo>
                  <a:pt x="26288" y="28447"/>
                </a:lnTo>
                <a:lnTo>
                  <a:pt x="29083" y="25780"/>
                </a:lnTo>
                <a:lnTo>
                  <a:pt x="32512" y="23748"/>
                </a:lnTo>
                <a:lnTo>
                  <a:pt x="35813" y="21716"/>
                </a:lnTo>
                <a:lnTo>
                  <a:pt x="39750" y="20192"/>
                </a:lnTo>
                <a:lnTo>
                  <a:pt x="48387" y="18414"/>
                </a:lnTo>
                <a:lnTo>
                  <a:pt x="52704" y="18033"/>
                </a:lnTo>
                <a:lnTo>
                  <a:pt x="95630" y="18033"/>
                </a:lnTo>
                <a:lnTo>
                  <a:pt x="95630" y="6095"/>
                </a:lnTo>
                <a:lnTo>
                  <a:pt x="89058" y="3428"/>
                </a:lnTo>
                <a:lnTo>
                  <a:pt x="80772" y="1523"/>
                </a:lnTo>
                <a:lnTo>
                  <a:pt x="70770" y="380"/>
                </a:lnTo>
                <a:lnTo>
                  <a:pt x="59054" y="0"/>
                </a:lnTo>
                <a:close/>
              </a:path>
              <a:path w="796289" h="229870">
                <a:moveTo>
                  <a:pt x="95630" y="18033"/>
                </a:moveTo>
                <a:lnTo>
                  <a:pt x="57150" y="18033"/>
                </a:lnTo>
                <a:lnTo>
                  <a:pt x="68341" y="18678"/>
                </a:lnTo>
                <a:lnTo>
                  <a:pt x="78486" y="20621"/>
                </a:lnTo>
                <a:lnTo>
                  <a:pt x="87582" y="23874"/>
                </a:lnTo>
                <a:lnTo>
                  <a:pt x="95630" y="28447"/>
                </a:lnTo>
                <a:lnTo>
                  <a:pt x="95630" y="18033"/>
                </a:lnTo>
                <a:close/>
              </a:path>
              <a:path w="796289" h="229870">
                <a:moveTo>
                  <a:pt x="151384" y="67944"/>
                </a:moveTo>
                <a:lnTo>
                  <a:pt x="131952" y="67944"/>
                </a:lnTo>
                <a:lnTo>
                  <a:pt x="131952" y="139623"/>
                </a:lnTo>
                <a:lnTo>
                  <a:pt x="133931" y="155149"/>
                </a:lnTo>
                <a:lnTo>
                  <a:pt x="139874" y="166238"/>
                </a:lnTo>
                <a:lnTo>
                  <a:pt x="149794" y="172890"/>
                </a:lnTo>
                <a:lnTo>
                  <a:pt x="163702" y="175107"/>
                </a:lnTo>
                <a:lnTo>
                  <a:pt x="171196" y="175107"/>
                </a:lnTo>
                <a:lnTo>
                  <a:pt x="177291" y="173850"/>
                </a:lnTo>
                <a:lnTo>
                  <a:pt x="181863" y="171322"/>
                </a:lnTo>
                <a:lnTo>
                  <a:pt x="181863" y="158788"/>
                </a:lnTo>
                <a:lnTo>
                  <a:pt x="162813" y="158788"/>
                </a:lnTo>
                <a:lnTo>
                  <a:pt x="158241" y="157048"/>
                </a:lnTo>
                <a:lnTo>
                  <a:pt x="155448" y="153581"/>
                </a:lnTo>
                <a:lnTo>
                  <a:pt x="152780" y="150113"/>
                </a:lnTo>
                <a:lnTo>
                  <a:pt x="151384" y="144310"/>
                </a:lnTo>
                <a:lnTo>
                  <a:pt x="151384" y="67944"/>
                </a:lnTo>
                <a:close/>
              </a:path>
              <a:path w="796289" h="229870">
                <a:moveTo>
                  <a:pt x="181863" y="154762"/>
                </a:moveTo>
                <a:lnTo>
                  <a:pt x="178308" y="157441"/>
                </a:lnTo>
                <a:lnTo>
                  <a:pt x="174116" y="158788"/>
                </a:lnTo>
                <a:lnTo>
                  <a:pt x="181863" y="158788"/>
                </a:lnTo>
                <a:lnTo>
                  <a:pt x="181863" y="154762"/>
                </a:lnTo>
                <a:close/>
              </a:path>
              <a:path w="796289" h="229870">
                <a:moveTo>
                  <a:pt x="181863" y="51307"/>
                </a:moveTo>
                <a:lnTo>
                  <a:pt x="111125" y="51307"/>
                </a:lnTo>
                <a:lnTo>
                  <a:pt x="111125" y="67944"/>
                </a:lnTo>
                <a:lnTo>
                  <a:pt x="181863" y="67944"/>
                </a:lnTo>
                <a:lnTo>
                  <a:pt x="181863" y="51307"/>
                </a:lnTo>
                <a:close/>
              </a:path>
              <a:path w="796289" h="229870">
                <a:moveTo>
                  <a:pt x="151384" y="15493"/>
                </a:moveTo>
                <a:lnTo>
                  <a:pt x="131952" y="21716"/>
                </a:lnTo>
                <a:lnTo>
                  <a:pt x="131952" y="51307"/>
                </a:lnTo>
                <a:lnTo>
                  <a:pt x="151384" y="51307"/>
                </a:lnTo>
                <a:lnTo>
                  <a:pt x="151384" y="15493"/>
                </a:lnTo>
                <a:close/>
              </a:path>
              <a:path w="796289" h="229870">
                <a:moveTo>
                  <a:pt x="259968" y="48513"/>
                </a:moveTo>
                <a:lnTo>
                  <a:pt x="214863" y="65684"/>
                </a:lnTo>
                <a:lnTo>
                  <a:pt x="198120" y="113410"/>
                </a:lnTo>
                <a:lnTo>
                  <a:pt x="199122" y="126704"/>
                </a:lnTo>
                <a:lnTo>
                  <a:pt x="222918" y="165795"/>
                </a:lnTo>
                <a:lnTo>
                  <a:pt x="257048" y="175348"/>
                </a:lnTo>
                <a:lnTo>
                  <a:pt x="270146" y="174258"/>
                </a:lnTo>
                <a:lnTo>
                  <a:pt x="281828" y="170986"/>
                </a:lnTo>
                <a:lnTo>
                  <a:pt x="292105" y="165533"/>
                </a:lnTo>
                <a:lnTo>
                  <a:pt x="299689" y="159016"/>
                </a:lnTo>
                <a:lnTo>
                  <a:pt x="258445" y="159016"/>
                </a:lnTo>
                <a:lnTo>
                  <a:pt x="249733" y="158240"/>
                </a:lnTo>
                <a:lnTo>
                  <a:pt x="220805" y="131899"/>
                </a:lnTo>
                <a:lnTo>
                  <a:pt x="218110" y="113410"/>
                </a:lnTo>
                <a:lnTo>
                  <a:pt x="218131" y="111505"/>
                </a:lnTo>
                <a:lnTo>
                  <a:pt x="234834" y="72022"/>
                </a:lnTo>
                <a:lnTo>
                  <a:pt x="258445" y="64896"/>
                </a:lnTo>
                <a:lnTo>
                  <a:pt x="301967" y="64896"/>
                </a:lnTo>
                <a:lnTo>
                  <a:pt x="293901" y="57890"/>
                </a:lnTo>
                <a:lnTo>
                  <a:pt x="284067" y="52689"/>
                </a:lnTo>
                <a:lnTo>
                  <a:pt x="272756" y="49559"/>
                </a:lnTo>
                <a:lnTo>
                  <a:pt x="259968" y="48513"/>
                </a:lnTo>
                <a:close/>
              </a:path>
              <a:path w="796289" h="229870">
                <a:moveTo>
                  <a:pt x="301967" y="64896"/>
                </a:moveTo>
                <a:lnTo>
                  <a:pt x="258445" y="64896"/>
                </a:lnTo>
                <a:lnTo>
                  <a:pt x="267327" y="65658"/>
                </a:lnTo>
                <a:lnTo>
                  <a:pt x="275113" y="67944"/>
                </a:lnTo>
                <a:lnTo>
                  <a:pt x="296920" y="101449"/>
                </a:lnTo>
                <a:lnTo>
                  <a:pt x="297522" y="111505"/>
                </a:lnTo>
                <a:lnTo>
                  <a:pt x="297484" y="113410"/>
                </a:lnTo>
                <a:lnTo>
                  <a:pt x="281805" y="152169"/>
                </a:lnTo>
                <a:lnTo>
                  <a:pt x="258445" y="159016"/>
                </a:lnTo>
                <a:lnTo>
                  <a:pt x="299689" y="159016"/>
                </a:lnTo>
                <a:lnTo>
                  <a:pt x="317373" y="111505"/>
                </a:lnTo>
                <a:lnTo>
                  <a:pt x="316422" y="97476"/>
                </a:lnTo>
                <a:lnTo>
                  <a:pt x="313578" y="85089"/>
                </a:lnTo>
                <a:lnTo>
                  <a:pt x="308854" y="74322"/>
                </a:lnTo>
                <a:lnTo>
                  <a:pt x="302260" y="65150"/>
                </a:lnTo>
                <a:lnTo>
                  <a:pt x="301967" y="64896"/>
                </a:lnTo>
                <a:close/>
              </a:path>
              <a:path w="796289" h="229870">
                <a:moveTo>
                  <a:pt x="367538" y="51307"/>
                </a:moveTo>
                <a:lnTo>
                  <a:pt x="348106" y="51307"/>
                </a:lnTo>
                <a:lnTo>
                  <a:pt x="348106" y="172516"/>
                </a:lnTo>
                <a:lnTo>
                  <a:pt x="367538" y="172516"/>
                </a:lnTo>
                <a:lnTo>
                  <a:pt x="367538" y="110743"/>
                </a:lnTo>
                <a:lnTo>
                  <a:pt x="368061" y="101171"/>
                </a:lnTo>
                <a:lnTo>
                  <a:pt x="369633" y="92646"/>
                </a:lnTo>
                <a:lnTo>
                  <a:pt x="372252" y="85169"/>
                </a:lnTo>
                <a:lnTo>
                  <a:pt x="375920" y="78739"/>
                </a:lnTo>
                <a:lnTo>
                  <a:pt x="377660" y="76326"/>
                </a:lnTo>
                <a:lnTo>
                  <a:pt x="367538" y="76326"/>
                </a:lnTo>
                <a:lnTo>
                  <a:pt x="367538" y="51307"/>
                </a:lnTo>
                <a:close/>
              </a:path>
              <a:path w="796289" h="229870">
                <a:moveTo>
                  <a:pt x="404749" y="49275"/>
                </a:moveTo>
                <a:lnTo>
                  <a:pt x="392684" y="49275"/>
                </a:lnTo>
                <a:lnTo>
                  <a:pt x="386334" y="51561"/>
                </a:lnTo>
                <a:lnTo>
                  <a:pt x="380746" y="56387"/>
                </a:lnTo>
                <a:lnTo>
                  <a:pt x="375030" y="61213"/>
                </a:lnTo>
                <a:lnTo>
                  <a:pt x="370839" y="67817"/>
                </a:lnTo>
                <a:lnTo>
                  <a:pt x="368046" y="76326"/>
                </a:lnTo>
                <a:lnTo>
                  <a:pt x="377660" y="76326"/>
                </a:lnTo>
                <a:lnTo>
                  <a:pt x="381508" y="70992"/>
                </a:lnTo>
                <a:lnTo>
                  <a:pt x="388365" y="67055"/>
                </a:lnTo>
                <a:lnTo>
                  <a:pt x="411352" y="67055"/>
                </a:lnTo>
                <a:lnTo>
                  <a:pt x="411352" y="50926"/>
                </a:lnTo>
                <a:lnTo>
                  <a:pt x="408686" y="49783"/>
                </a:lnTo>
                <a:lnTo>
                  <a:pt x="404749" y="49275"/>
                </a:lnTo>
                <a:close/>
              </a:path>
              <a:path w="796289" h="229870">
                <a:moveTo>
                  <a:pt x="411352" y="67055"/>
                </a:moveTo>
                <a:lnTo>
                  <a:pt x="403098" y="67055"/>
                </a:lnTo>
                <a:lnTo>
                  <a:pt x="407924" y="68452"/>
                </a:lnTo>
                <a:lnTo>
                  <a:pt x="411352" y="70992"/>
                </a:lnTo>
                <a:lnTo>
                  <a:pt x="411352" y="67055"/>
                </a:lnTo>
                <a:close/>
              </a:path>
              <a:path w="796289" h="229870">
                <a:moveTo>
                  <a:pt x="510867" y="64896"/>
                </a:moveTo>
                <a:lnTo>
                  <a:pt x="474345" y="64896"/>
                </a:lnTo>
                <a:lnTo>
                  <a:pt x="485272" y="66825"/>
                </a:lnTo>
                <a:lnTo>
                  <a:pt x="493093" y="72612"/>
                </a:lnTo>
                <a:lnTo>
                  <a:pt x="497794" y="82256"/>
                </a:lnTo>
                <a:lnTo>
                  <a:pt x="499363" y="95757"/>
                </a:lnTo>
                <a:lnTo>
                  <a:pt x="463041" y="100837"/>
                </a:lnTo>
                <a:lnTo>
                  <a:pt x="445539" y="105378"/>
                </a:lnTo>
                <a:lnTo>
                  <a:pt x="433038" y="113474"/>
                </a:lnTo>
                <a:lnTo>
                  <a:pt x="425537" y="125123"/>
                </a:lnTo>
                <a:lnTo>
                  <a:pt x="423037" y="140322"/>
                </a:lnTo>
                <a:lnTo>
                  <a:pt x="423677" y="147861"/>
                </a:lnTo>
                <a:lnTo>
                  <a:pt x="452967" y="174750"/>
                </a:lnTo>
                <a:lnTo>
                  <a:pt x="461517" y="175348"/>
                </a:lnTo>
                <a:lnTo>
                  <a:pt x="473120" y="173989"/>
                </a:lnTo>
                <a:lnTo>
                  <a:pt x="483187" y="169908"/>
                </a:lnTo>
                <a:lnTo>
                  <a:pt x="491753" y="163106"/>
                </a:lnTo>
                <a:lnTo>
                  <a:pt x="494803" y="159016"/>
                </a:lnTo>
                <a:lnTo>
                  <a:pt x="459104" y="159016"/>
                </a:lnTo>
                <a:lnTo>
                  <a:pt x="453389" y="157149"/>
                </a:lnTo>
                <a:lnTo>
                  <a:pt x="445008" y="149656"/>
                </a:lnTo>
                <a:lnTo>
                  <a:pt x="442849" y="144818"/>
                </a:lnTo>
                <a:lnTo>
                  <a:pt x="442880" y="130707"/>
                </a:lnTo>
                <a:lnTo>
                  <a:pt x="499363" y="111251"/>
                </a:lnTo>
                <a:lnTo>
                  <a:pt x="518667" y="111251"/>
                </a:lnTo>
                <a:lnTo>
                  <a:pt x="518667" y="93725"/>
                </a:lnTo>
                <a:lnTo>
                  <a:pt x="516000" y="73963"/>
                </a:lnTo>
                <a:lnTo>
                  <a:pt x="510867" y="64896"/>
                </a:lnTo>
                <a:close/>
              </a:path>
              <a:path w="796289" h="229870">
                <a:moveTo>
                  <a:pt x="518667" y="153581"/>
                </a:moveTo>
                <a:lnTo>
                  <a:pt x="499363" y="153581"/>
                </a:lnTo>
                <a:lnTo>
                  <a:pt x="499363" y="172516"/>
                </a:lnTo>
                <a:lnTo>
                  <a:pt x="518667" y="172516"/>
                </a:lnTo>
                <a:lnTo>
                  <a:pt x="518667" y="153581"/>
                </a:lnTo>
                <a:close/>
              </a:path>
              <a:path w="796289" h="229870">
                <a:moveTo>
                  <a:pt x="518667" y="111251"/>
                </a:moveTo>
                <a:lnTo>
                  <a:pt x="499363" y="111251"/>
                </a:lnTo>
                <a:lnTo>
                  <a:pt x="499363" y="123291"/>
                </a:lnTo>
                <a:lnTo>
                  <a:pt x="498770" y="130707"/>
                </a:lnTo>
                <a:lnTo>
                  <a:pt x="466089" y="159016"/>
                </a:lnTo>
                <a:lnTo>
                  <a:pt x="494803" y="159016"/>
                </a:lnTo>
                <a:lnTo>
                  <a:pt x="498855" y="153581"/>
                </a:lnTo>
                <a:lnTo>
                  <a:pt x="518667" y="153581"/>
                </a:lnTo>
                <a:lnTo>
                  <a:pt x="518667" y="111251"/>
                </a:lnTo>
                <a:close/>
              </a:path>
              <a:path w="796289" h="229870">
                <a:moveTo>
                  <a:pt x="475996" y="48513"/>
                </a:moveTo>
                <a:lnTo>
                  <a:pt x="464708" y="49226"/>
                </a:lnTo>
                <a:lnTo>
                  <a:pt x="454088" y="51355"/>
                </a:lnTo>
                <a:lnTo>
                  <a:pt x="444134" y="54889"/>
                </a:lnTo>
                <a:lnTo>
                  <a:pt x="434848" y="59816"/>
                </a:lnTo>
                <a:lnTo>
                  <a:pt x="434848" y="79755"/>
                </a:lnTo>
                <a:lnTo>
                  <a:pt x="443894" y="73255"/>
                </a:lnTo>
                <a:lnTo>
                  <a:pt x="453501" y="68611"/>
                </a:lnTo>
                <a:lnTo>
                  <a:pt x="463655" y="65825"/>
                </a:lnTo>
                <a:lnTo>
                  <a:pt x="474345" y="64896"/>
                </a:lnTo>
                <a:lnTo>
                  <a:pt x="510867" y="64896"/>
                </a:lnTo>
                <a:lnTo>
                  <a:pt x="508000" y="59832"/>
                </a:lnTo>
                <a:lnTo>
                  <a:pt x="494664" y="51345"/>
                </a:lnTo>
                <a:lnTo>
                  <a:pt x="475996" y="48513"/>
                </a:lnTo>
                <a:close/>
              </a:path>
              <a:path w="796289" h="229870">
                <a:moveTo>
                  <a:pt x="555625" y="201612"/>
                </a:moveTo>
                <a:lnTo>
                  <a:pt x="555625" y="221018"/>
                </a:lnTo>
                <a:lnTo>
                  <a:pt x="564437" y="224744"/>
                </a:lnTo>
                <a:lnTo>
                  <a:pt x="573928" y="227407"/>
                </a:lnTo>
                <a:lnTo>
                  <a:pt x="584110" y="229006"/>
                </a:lnTo>
                <a:lnTo>
                  <a:pt x="594995" y="229539"/>
                </a:lnTo>
                <a:lnTo>
                  <a:pt x="622925" y="225370"/>
                </a:lnTo>
                <a:lnTo>
                  <a:pt x="642699" y="212978"/>
                </a:lnTo>
                <a:lnTo>
                  <a:pt x="594740" y="212978"/>
                </a:lnTo>
                <a:lnTo>
                  <a:pt x="585307" y="212269"/>
                </a:lnTo>
                <a:lnTo>
                  <a:pt x="575659" y="210138"/>
                </a:lnTo>
                <a:lnTo>
                  <a:pt x="565773" y="206587"/>
                </a:lnTo>
                <a:lnTo>
                  <a:pt x="555625" y="201612"/>
                </a:lnTo>
                <a:close/>
              </a:path>
              <a:path w="796289" h="229870">
                <a:moveTo>
                  <a:pt x="658876" y="152158"/>
                </a:moveTo>
                <a:lnTo>
                  <a:pt x="639445" y="152158"/>
                </a:lnTo>
                <a:lnTo>
                  <a:pt x="639331" y="166262"/>
                </a:lnTo>
                <a:lnTo>
                  <a:pt x="636656" y="186222"/>
                </a:lnTo>
                <a:lnTo>
                  <a:pt x="628284" y="201085"/>
                </a:lnTo>
                <a:lnTo>
                  <a:pt x="614316" y="210005"/>
                </a:lnTo>
                <a:lnTo>
                  <a:pt x="594740" y="212978"/>
                </a:lnTo>
                <a:lnTo>
                  <a:pt x="642699" y="212978"/>
                </a:lnTo>
                <a:lnTo>
                  <a:pt x="642889" y="212859"/>
                </a:lnTo>
                <a:lnTo>
                  <a:pt x="654877" y="192008"/>
                </a:lnTo>
                <a:lnTo>
                  <a:pt x="658876" y="162813"/>
                </a:lnTo>
                <a:lnTo>
                  <a:pt x="658876" y="152158"/>
                </a:lnTo>
                <a:close/>
              </a:path>
              <a:path w="796289" h="229870">
                <a:moveTo>
                  <a:pt x="602614" y="48513"/>
                </a:moveTo>
                <a:lnTo>
                  <a:pt x="561975" y="66674"/>
                </a:lnTo>
                <a:lnTo>
                  <a:pt x="547196" y="114553"/>
                </a:lnTo>
                <a:lnTo>
                  <a:pt x="547242" y="117728"/>
                </a:lnTo>
                <a:lnTo>
                  <a:pt x="560959" y="159194"/>
                </a:lnTo>
                <a:lnTo>
                  <a:pt x="597280" y="175348"/>
                </a:lnTo>
                <a:lnTo>
                  <a:pt x="610326" y="173898"/>
                </a:lnTo>
                <a:lnTo>
                  <a:pt x="621633" y="169549"/>
                </a:lnTo>
                <a:lnTo>
                  <a:pt x="631178" y="162302"/>
                </a:lnTo>
                <a:lnTo>
                  <a:pt x="633691" y="159016"/>
                </a:lnTo>
                <a:lnTo>
                  <a:pt x="602614" y="159016"/>
                </a:lnTo>
                <a:lnTo>
                  <a:pt x="594996" y="158259"/>
                </a:lnTo>
                <a:lnTo>
                  <a:pt x="567654" y="124155"/>
                </a:lnTo>
                <a:lnTo>
                  <a:pt x="567054" y="114553"/>
                </a:lnTo>
                <a:lnTo>
                  <a:pt x="567678" y="103409"/>
                </a:lnTo>
                <a:lnTo>
                  <a:pt x="589311" y="68151"/>
                </a:lnTo>
                <a:lnTo>
                  <a:pt x="605409" y="64896"/>
                </a:lnTo>
                <a:lnTo>
                  <a:pt x="636365" y="64896"/>
                </a:lnTo>
                <a:lnTo>
                  <a:pt x="632243" y="59604"/>
                </a:lnTo>
                <a:lnTo>
                  <a:pt x="623966" y="53451"/>
                </a:lnTo>
                <a:lnTo>
                  <a:pt x="614094" y="49750"/>
                </a:lnTo>
                <a:lnTo>
                  <a:pt x="602614" y="48513"/>
                </a:lnTo>
                <a:close/>
              </a:path>
              <a:path w="796289" h="229870">
                <a:moveTo>
                  <a:pt x="636365" y="64896"/>
                </a:moveTo>
                <a:lnTo>
                  <a:pt x="605409" y="64896"/>
                </a:lnTo>
                <a:lnTo>
                  <a:pt x="612360" y="65539"/>
                </a:lnTo>
                <a:lnTo>
                  <a:pt x="618728" y="67468"/>
                </a:lnTo>
                <a:lnTo>
                  <a:pt x="639445" y="99821"/>
                </a:lnTo>
                <a:lnTo>
                  <a:pt x="639445" y="117728"/>
                </a:lnTo>
                <a:lnTo>
                  <a:pt x="623706" y="152496"/>
                </a:lnTo>
                <a:lnTo>
                  <a:pt x="602614" y="159016"/>
                </a:lnTo>
                <a:lnTo>
                  <a:pt x="633691" y="159016"/>
                </a:lnTo>
                <a:lnTo>
                  <a:pt x="638937" y="152158"/>
                </a:lnTo>
                <a:lnTo>
                  <a:pt x="658876" y="152158"/>
                </a:lnTo>
                <a:lnTo>
                  <a:pt x="658876" y="68198"/>
                </a:lnTo>
                <a:lnTo>
                  <a:pt x="638937" y="68198"/>
                </a:lnTo>
                <a:lnTo>
                  <a:pt x="636365" y="64896"/>
                </a:lnTo>
                <a:close/>
              </a:path>
              <a:path w="796289" h="229870">
                <a:moveTo>
                  <a:pt x="658876" y="51307"/>
                </a:moveTo>
                <a:lnTo>
                  <a:pt x="639445" y="51307"/>
                </a:lnTo>
                <a:lnTo>
                  <a:pt x="639445" y="68198"/>
                </a:lnTo>
                <a:lnTo>
                  <a:pt x="658876" y="68198"/>
                </a:lnTo>
                <a:lnTo>
                  <a:pt x="658876" y="51307"/>
                </a:lnTo>
                <a:close/>
              </a:path>
              <a:path w="796289" h="229870">
                <a:moveTo>
                  <a:pt x="746251" y="48513"/>
                </a:moveTo>
                <a:lnTo>
                  <a:pt x="706501" y="66293"/>
                </a:lnTo>
                <a:lnTo>
                  <a:pt x="690372" y="112394"/>
                </a:lnTo>
                <a:lnTo>
                  <a:pt x="691298" y="126527"/>
                </a:lnTo>
                <a:lnTo>
                  <a:pt x="713126" y="166063"/>
                </a:lnTo>
                <a:lnTo>
                  <a:pt x="745363" y="175348"/>
                </a:lnTo>
                <a:lnTo>
                  <a:pt x="757864" y="174624"/>
                </a:lnTo>
                <a:lnTo>
                  <a:pt x="769080" y="172451"/>
                </a:lnTo>
                <a:lnTo>
                  <a:pt x="779010" y="168828"/>
                </a:lnTo>
                <a:lnTo>
                  <a:pt x="787653" y="163753"/>
                </a:lnTo>
                <a:lnTo>
                  <a:pt x="787653" y="159016"/>
                </a:lnTo>
                <a:lnTo>
                  <a:pt x="750062" y="159016"/>
                </a:lnTo>
                <a:lnTo>
                  <a:pt x="741416" y="158330"/>
                </a:lnTo>
                <a:lnTo>
                  <a:pt x="711394" y="126321"/>
                </a:lnTo>
                <a:lnTo>
                  <a:pt x="710564" y="116776"/>
                </a:lnTo>
                <a:lnTo>
                  <a:pt x="796036" y="116776"/>
                </a:lnTo>
                <a:lnTo>
                  <a:pt x="796036" y="106552"/>
                </a:lnTo>
                <a:lnTo>
                  <a:pt x="795644" y="100329"/>
                </a:lnTo>
                <a:lnTo>
                  <a:pt x="710818" y="100329"/>
                </a:lnTo>
                <a:lnTo>
                  <a:pt x="712343" y="92785"/>
                </a:lnTo>
                <a:lnTo>
                  <a:pt x="736726" y="64896"/>
                </a:lnTo>
                <a:lnTo>
                  <a:pt x="783763" y="64896"/>
                </a:lnTo>
                <a:lnTo>
                  <a:pt x="783081" y="63880"/>
                </a:lnTo>
                <a:lnTo>
                  <a:pt x="775862" y="57140"/>
                </a:lnTo>
                <a:lnTo>
                  <a:pt x="767334" y="52339"/>
                </a:lnTo>
                <a:lnTo>
                  <a:pt x="757471" y="49468"/>
                </a:lnTo>
                <a:lnTo>
                  <a:pt x="746251" y="48513"/>
                </a:lnTo>
                <a:close/>
              </a:path>
              <a:path w="796289" h="229870">
                <a:moveTo>
                  <a:pt x="787653" y="145529"/>
                </a:moveTo>
                <a:lnTo>
                  <a:pt x="778869" y="151430"/>
                </a:lnTo>
                <a:lnTo>
                  <a:pt x="769667" y="155644"/>
                </a:lnTo>
                <a:lnTo>
                  <a:pt x="760061" y="158173"/>
                </a:lnTo>
                <a:lnTo>
                  <a:pt x="750062" y="159016"/>
                </a:lnTo>
                <a:lnTo>
                  <a:pt x="787653" y="159016"/>
                </a:lnTo>
                <a:lnTo>
                  <a:pt x="787653" y="145529"/>
                </a:lnTo>
                <a:close/>
              </a:path>
              <a:path w="796289" h="229870">
                <a:moveTo>
                  <a:pt x="783763" y="64896"/>
                </a:moveTo>
                <a:lnTo>
                  <a:pt x="755396" y="64896"/>
                </a:lnTo>
                <a:lnTo>
                  <a:pt x="762762" y="67944"/>
                </a:lnTo>
                <a:lnTo>
                  <a:pt x="768096" y="74167"/>
                </a:lnTo>
                <a:lnTo>
                  <a:pt x="771598" y="79309"/>
                </a:lnTo>
                <a:lnTo>
                  <a:pt x="774112" y="85391"/>
                </a:lnTo>
                <a:lnTo>
                  <a:pt x="775650" y="92402"/>
                </a:lnTo>
                <a:lnTo>
                  <a:pt x="776224" y="100329"/>
                </a:lnTo>
                <a:lnTo>
                  <a:pt x="795644" y="100329"/>
                </a:lnTo>
                <a:lnTo>
                  <a:pt x="795226" y="93670"/>
                </a:lnTo>
                <a:lnTo>
                  <a:pt x="792797" y="82264"/>
                </a:lnTo>
                <a:lnTo>
                  <a:pt x="788749" y="72334"/>
                </a:lnTo>
                <a:lnTo>
                  <a:pt x="783763" y="64896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729190" y="4888471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89" h="429895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3135206" y="4993893"/>
            <a:ext cx="552936" cy="171761"/>
          </a:xfrm>
          <a:custGeom>
            <a:avLst/>
            <a:gdLst/>
            <a:ahLst/>
            <a:cxnLst/>
            <a:rect l="l" t="t" r="r" b="b"/>
            <a:pathLst>
              <a:path w="751839" h="175260">
                <a:moveTo>
                  <a:pt x="0" y="142112"/>
                </a:moveTo>
                <a:lnTo>
                  <a:pt x="0" y="165607"/>
                </a:lnTo>
                <a:lnTo>
                  <a:pt x="2158" y="167131"/>
                </a:lnTo>
                <a:lnTo>
                  <a:pt x="5079" y="168401"/>
                </a:lnTo>
                <a:lnTo>
                  <a:pt x="12445" y="170941"/>
                </a:lnTo>
                <a:lnTo>
                  <a:pt x="16255" y="171957"/>
                </a:lnTo>
                <a:lnTo>
                  <a:pt x="20446" y="172719"/>
                </a:lnTo>
                <a:lnTo>
                  <a:pt x="24511" y="173608"/>
                </a:lnTo>
                <a:lnTo>
                  <a:pt x="28575" y="174244"/>
                </a:lnTo>
                <a:lnTo>
                  <a:pt x="32512" y="174625"/>
                </a:lnTo>
                <a:lnTo>
                  <a:pt x="36449" y="175132"/>
                </a:lnTo>
                <a:lnTo>
                  <a:pt x="39750" y="175259"/>
                </a:lnTo>
                <a:lnTo>
                  <a:pt x="50418" y="175259"/>
                </a:lnTo>
                <a:lnTo>
                  <a:pt x="58165" y="174497"/>
                </a:lnTo>
                <a:lnTo>
                  <a:pt x="72643" y="171195"/>
                </a:lnTo>
                <a:lnTo>
                  <a:pt x="78993" y="168656"/>
                </a:lnTo>
                <a:lnTo>
                  <a:pt x="84581" y="164972"/>
                </a:lnTo>
                <a:lnTo>
                  <a:pt x="90169" y="161416"/>
                </a:lnTo>
                <a:lnTo>
                  <a:pt x="93894" y="157480"/>
                </a:lnTo>
                <a:lnTo>
                  <a:pt x="41910" y="157480"/>
                </a:lnTo>
                <a:lnTo>
                  <a:pt x="38100" y="157099"/>
                </a:lnTo>
                <a:lnTo>
                  <a:pt x="33908" y="156337"/>
                </a:lnTo>
                <a:lnTo>
                  <a:pt x="29717" y="155701"/>
                </a:lnTo>
                <a:lnTo>
                  <a:pt x="25526" y="154686"/>
                </a:lnTo>
                <a:lnTo>
                  <a:pt x="2666" y="144525"/>
                </a:lnTo>
                <a:lnTo>
                  <a:pt x="0" y="142112"/>
                </a:lnTo>
                <a:close/>
              </a:path>
              <a:path w="751839" h="175260">
                <a:moveTo>
                  <a:pt x="59054" y="0"/>
                </a:moveTo>
                <a:lnTo>
                  <a:pt x="51815" y="0"/>
                </a:lnTo>
                <a:lnTo>
                  <a:pt x="44576" y="888"/>
                </a:lnTo>
                <a:lnTo>
                  <a:pt x="30479" y="4444"/>
                </a:lnTo>
                <a:lnTo>
                  <a:pt x="24129" y="7238"/>
                </a:lnTo>
                <a:lnTo>
                  <a:pt x="18668" y="10921"/>
                </a:lnTo>
                <a:lnTo>
                  <a:pt x="13080" y="14605"/>
                </a:lnTo>
                <a:lnTo>
                  <a:pt x="8636" y="19431"/>
                </a:lnTo>
                <a:lnTo>
                  <a:pt x="5206" y="25145"/>
                </a:lnTo>
                <a:lnTo>
                  <a:pt x="1904" y="30861"/>
                </a:lnTo>
                <a:lnTo>
                  <a:pt x="126" y="37591"/>
                </a:lnTo>
                <a:lnTo>
                  <a:pt x="126" y="51562"/>
                </a:lnTo>
                <a:lnTo>
                  <a:pt x="25780" y="84581"/>
                </a:lnTo>
                <a:lnTo>
                  <a:pt x="30861" y="87630"/>
                </a:lnTo>
                <a:lnTo>
                  <a:pt x="36449" y="90677"/>
                </a:lnTo>
                <a:lnTo>
                  <a:pt x="42290" y="93599"/>
                </a:lnTo>
                <a:lnTo>
                  <a:pt x="47878" y="96519"/>
                </a:lnTo>
                <a:lnTo>
                  <a:pt x="78866" y="119125"/>
                </a:lnTo>
                <a:lnTo>
                  <a:pt x="80899" y="122555"/>
                </a:lnTo>
                <a:lnTo>
                  <a:pt x="81914" y="126491"/>
                </a:lnTo>
                <a:lnTo>
                  <a:pt x="81914" y="139572"/>
                </a:lnTo>
                <a:lnTo>
                  <a:pt x="45465" y="157480"/>
                </a:lnTo>
                <a:lnTo>
                  <a:pt x="93894" y="157480"/>
                </a:lnTo>
                <a:lnTo>
                  <a:pt x="94614" y="156718"/>
                </a:lnTo>
                <a:lnTo>
                  <a:pt x="98005" y="150494"/>
                </a:lnTo>
                <a:lnTo>
                  <a:pt x="101091" y="145033"/>
                </a:lnTo>
                <a:lnTo>
                  <a:pt x="102742" y="138049"/>
                </a:lnTo>
                <a:lnTo>
                  <a:pt x="102742" y="123316"/>
                </a:lnTo>
                <a:lnTo>
                  <a:pt x="80517" y="91820"/>
                </a:lnTo>
                <a:lnTo>
                  <a:pt x="75056" y="88518"/>
                </a:lnTo>
                <a:lnTo>
                  <a:pt x="69595" y="85089"/>
                </a:lnTo>
                <a:lnTo>
                  <a:pt x="63880" y="82041"/>
                </a:lnTo>
                <a:lnTo>
                  <a:pt x="46608" y="73406"/>
                </a:lnTo>
                <a:lnTo>
                  <a:pt x="42163" y="70993"/>
                </a:lnTo>
                <a:lnTo>
                  <a:pt x="20954" y="47878"/>
                </a:lnTo>
                <a:lnTo>
                  <a:pt x="20954" y="38862"/>
                </a:lnTo>
                <a:lnTo>
                  <a:pt x="22098" y="34925"/>
                </a:lnTo>
                <a:lnTo>
                  <a:pt x="24256" y="31622"/>
                </a:lnTo>
                <a:lnTo>
                  <a:pt x="26288" y="28447"/>
                </a:lnTo>
                <a:lnTo>
                  <a:pt x="29082" y="25781"/>
                </a:lnTo>
                <a:lnTo>
                  <a:pt x="32512" y="23749"/>
                </a:lnTo>
                <a:lnTo>
                  <a:pt x="35813" y="21716"/>
                </a:lnTo>
                <a:lnTo>
                  <a:pt x="39750" y="20193"/>
                </a:lnTo>
                <a:lnTo>
                  <a:pt x="48387" y="18414"/>
                </a:lnTo>
                <a:lnTo>
                  <a:pt x="52704" y="17906"/>
                </a:lnTo>
                <a:lnTo>
                  <a:pt x="95630" y="17906"/>
                </a:lnTo>
                <a:lnTo>
                  <a:pt x="95630" y="5968"/>
                </a:lnTo>
                <a:lnTo>
                  <a:pt x="89058" y="3321"/>
                </a:lnTo>
                <a:lnTo>
                  <a:pt x="80772" y="1460"/>
                </a:lnTo>
                <a:lnTo>
                  <a:pt x="70770" y="361"/>
                </a:lnTo>
                <a:lnTo>
                  <a:pt x="59054" y="0"/>
                </a:lnTo>
                <a:close/>
              </a:path>
              <a:path w="751839" h="175260">
                <a:moveTo>
                  <a:pt x="95630" y="17906"/>
                </a:moveTo>
                <a:lnTo>
                  <a:pt x="57150" y="17906"/>
                </a:lnTo>
                <a:lnTo>
                  <a:pt x="68341" y="18569"/>
                </a:lnTo>
                <a:lnTo>
                  <a:pt x="78486" y="20542"/>
                </a:lnTo>
                <a:lnTo>
                  <a:pt x="87582" y="23800"/>
                </a:lnTo>
                <a:lnTo>
                  <a:pt x="95630" y="28320"/>
                </a:lnTo>
                <a:lnTo>
                  <a:pt x="95630" y="17906"/>
                </a:lnTo>
                <a:close/>
              </a:path>
              <a:path w="751839" h="175260">
                <a:moveTo>
                  <a:pt x="180848" y="48513"/>
                </a:moveTo>
                <a:lnTo>
                  <a:pt x="141096" y="66293"/>
                </a:lnTo>
                <a:lnTo>
                  <a:pt x="124967" y="112394"/>
                </a:lnTo>
                <a:lnTo>
                  <a:pt x="125894" y="126513"/>
                </a:lnTo>
                <a:lnTo>
                  <a:pt x="147722" y="165990"/>
                </a:lnTo>
                <a:lnTo>
                  <a:pt x="179958" y="175259"/>
                </a:lnTo>
                <a:lnTo>
                  <a:pt x="192460" y="174543"/>
                </a:lnTo>
                <a:lnTo>
                  <a:pt x="203676" y="172386"/>
                </a:lnTo>
                <a:lnTo>
                  <a:pt x="213606" y="168777"/>
                </a:lnTo>
                <a:lnTo>
                  <a:pt x="222250" y="163702"/>
                </a:lnTo>
                <a:lnTo>
                  <a:pt x="222250" y="159003"/>
                </a:lnTo>
                <a:lnTo>
                  <a:pt x="184657" y="159003"/>
                </a:lnTo>
                <a:lnTo>
                  <a:pt x="176012" y="158313"/>
                </a:lnTo>
                <a:lnTo>
                  <a:pt x="145990" y="126237"/>
                </a:lnTo>
                <a:lnTo>
                  <a:pt x="145161" y="116712"/>
                </a:lnTo>
                <a:lnTo>
                  <a:pt x="230631" y="116712"/>
                </a:lnTo>
                <a:lnTo>
                  <a:pt x="230631" y="106552"/>
                </a:lnTo>
                <a:lnTo>
                  <a:pt x="230241" y="100330"/>
                </a:lnTo>
                <a:lnTo>
                  <a:pt x="145414" y="100330"/>
                </a:lnTo>
                <a:lnTo>
                  <a:pt x="146939" y="92729"/>
                </a:lnTo>
                <a:lnTo>
                  <a:pt x="171323" y="64769"/>
                </a:lnTo>
                <a:lnTo>
                  <a:pt x="218277" y="64769"/>
                </a:lnTo>
                <a:lnTo>
                  <a:pt x="217677" y="63881"/>
                </a:lnTo>
                <a:lnTo>
                  <a:pt x="210458" y="57140"/>
                </a:lnTo>
                <a:lnTo>
                  <a:pt x="201930" y="52339"/>
                </a:lnTo>
                <a:lnTo>
                  <a:pt x="192067" y="49468"/>
                </a:lnTo>
                <a:lnTo>
                  <a:pt x="180848" y="48513"/>
                </a:lnTo>
                <a:close/>
              </a:path>
              <a:path w="751839" h="175260">
                <a:moveTo>
                  <a:pt x="222250" y="145541"/>
                </a:moveTo>
                <a:lnTo>
                  <a:pt x="213465" y="151395"/>
                </a:lnTo>
                <a:lnTo>
                  <a:pt x="204263" y="155606"/>
                </a:lnTo>
                <a:lnTo>
                  <a:pt x="194657" y="158150"/>
                </a:lnTo>
                <a:lnTo>
                  <a:pt x="184657" y="159003"/>
                </a:lnTo>
                <a:lnTo>
                  <a:pt x="222250" y="159003"/>
                </a:lnTo>
                <a:lnTo>
                  <a:pt x="222250" y="145541"/>
                </a:lnTo>
                <a:close/>
              </a:path>
              <a:path w="751839" h="175260">
                <a:moveTo>
                  <a:pt x="218277" y="64769"/>
                </a:moveTo>
                <a:lnTo>
                  <a:pt x="189991" y="64769"/>
                </a:lnTo>
                <a:lnTo>
                  <a:pt x="197357" y="67944"/>
                </a:lnTo>
                <a:lnTo>
                  <a:pt x="202691" y="74168"/>
                </a:lnTo>
                <a:lnTo>
                  <a:pt x="206194" y="79291"/>
                </a:lnTo>
                <a:lnTo>
                  <a:pt x="208708" y="85343"/>
                </a:lnTo>
                <a:lnTo>
                  <a:pt x="210246" y="92348"/>
                </a:lnTo>
                <a:lnTo>
                  <a:pt x="210819" y="100330"/>
                </a:lnTo>
                <a:lnTo>
                  <a:pt x="230241" y="100330"/>
                </a:lnTo>
                <a:lnTo>
                  <a:pt x="229822" y="93652"/>
                </a:lnTo>
                <a:lnTo>
                  <a:pt x="227393" y="82216"/>
                </a:lnTo>
                <a:lnTo>
                  <a:pt x="223345" y="72280"/>
                </a:lnTo>
                <a:lnTo>
                  <a:pt x="218277" y="64769"/>
                </a:lnTo>
                <a:close/>
              </a:path>
              <a:path w="751839" h="175260">
                <a:moveTo>
                  <a:pt x="279145" y="51307"/>
                </a:moveTo>
                <a:lnTo>
                  <a:pt x="259714" y="51307"/>
                </a:lnTo>
                <a:lnTo>
                  <a:pt x="259714" y="172465"/>
                </a:lnTo>
                <a:lnTo>
                  <a:pt x="279145" y="172465"/>
                </a:lnTo>
                <a:lnTo>
                  <a:pt x="279145" y="110743"/>
                </a:lnTo>
                <a:lnTo>
                  <a:pt x="279669" y="101117"/>
                </a:lnTo>
                <a:lnTo>
                  <a:pt x="281241" y="92598"/>
                </a:lnTo>
                <a:lnTo>
                  <a:pt x="283860" y="85151"/>
                </a:lnTo>
                <a:lnTo>
                  <a:pt x="287527" y="78739"/>
                </a:lnTo>
                <a:lnTo>
                  <a:pt x="289268" y="76326"/>
                </a:lnTo>
                <a:lnTo>
                  <a:pt x="279145" y="76326"/>
                </a:lnTo>
                <a:lnTo>
                  <a:pt x="279145" y="51307"/>
                </a:lnTo>
                <a:close/>
              </a:path>
              <a:path w="751839" h="175260">
                <a:moveTo>
                  <a:pt x="316356" y="49149"/>
                </a:moveTo>
                <a:lnTo>
                  <a:pt x="304291" y="49149"/>
                </a:lnTo>
                <a:lnTo>
                  <a:pt x="297941" y="51562"/>
                </a:lnTo>
                <a:lnTo>
                  <a:pt x="292353" y="56387"/>
                </a:lnTo>
                <a:lnTo>
                  <a:pt x="286638" y="61087"/>
                </a:lnTo>
                <a:lnTo>
                  <a:pt x="282448" y="67690"/>
                </a:lnTo>
                <a:lnTo>
                  <a:pt x="279653" y="76326"/>
                </a:lnTo>
                <a:lnTo>
                  <a:pt x="289268" y="76326"/>
                </a:lnTo>
                <a:lnTo>
                  <a:pt x="293115" y="70993"/>
                </a:lnTo>
                <a:lnTo>
                  <a:pt x="299974" y="67056"/>
                </a:lnTo>
                <a:lnTo>
                  <a:pt x="322961" y="67056"/>
                </a:lnTo>
                <a:lnTo>
                  <a:pt x="322961" y="50800"/>
                </a:lnTo>
                <a:lnTo>
                  <a:pt x="320293" y="49783"/>
                </a:lnTo>
                <a:lnTo>
                  <a:pt x="316356" y="49149"/>
                </a:lnTo>
                <a:close/>
              </a:path>
              <a:path w="751839" h="175260">
                <a:moveTo>
                  <a:pt x="322961" y="67056"/>
                </a:moveTo>
                <a:lnTo>
                  <a:pt x="314705" y="67056"/>
                </a:lnTo>
                <a:lnTo>
                  <a:pt x="319531" y="68325"/>
                </a:lnTo>
                <a:lnTo>
                  <a:pt x="322961" y="70993"/>
                </a:lnTo>
                <a:lnTo>
                  <a:pt x="322961" y="67056"/>
                </a:lnTo>
                <a:close/>
              </a:path>
              <a:path w="751839" h="175260">
                <a:moveTo>
                  <a:pt x="356107" y="51307"/>
                </a:moveTo>
                <a:lnTo>
                  <a:pt x="334771" y="51307"/>
                </a:lnTo>
                <a:lnTo>
                  <a:pt x="380618" y="172465"/>
                </a:lnTo>
                <a:lnTo>
                  <a:pt x="399668" y="172465"/>
                </a:lnTo>
                <a:lnTo>
                  <a:pt x="406144" y="156209"/>
                </a:lnTo>
                <a:lnTo>
                  <a:pt x="391032" y="156209"/>
                </a:lnTo>
                <a:lnTo>
                  <a:pt x="390525" y="151383"/>
                </a:lnTo>
                <a:lnTo>
                  <a:pt x="389127" y="145795"/>
                </a:lnTo>
                <a:lnTo>
                  <a:pt x="386841" y="139319"/>
                </a:lnTo>
                <a:lnTo>
                  <a:pt x="356107" y="51307"/>
                </a:lnTo>
                <a:close/>
              </a:path>
              <a:path w="751839" h="175260">
                <a:moveTo>
                  <a:pt x="447928" y="51307"/>
                </a:moveTo>
                <a:lnTo>
                  <a:pt x="427481" y="51307"/>
                </a:lnTo>
                <a:lnTo>
                  <a:pt x="395350" y="139826"/>
                </a:lnTo>
                <a:lnTo>
                  <a:pt x="393573" y="144652"/>
                </a:lnTo>
                <a:lnTo>
                  <a:pt x="392302" y="150240"/>
                </a:lnTo>
                <a:lnTo>
                  <a:pt x="391540" y="156209"/>
                </a:lnTo>
                <a:lnTo>
                  <a:pt x="406144" y="156209"/>
                </a:lnTo>
                <a:lnTo>
                  <a:pt x="447928" y="51307"/>
                </a:lnTo>
                <a:close/>
              </a:path>
              <a:path w="751839" h="175260">
                <a:moveTo>
                  <a:pt x="514603" y="48513"/>
                </a:moveTo>
                <a:lnTo>
                  <a:pt x="474852" y="66293"/>
                </a:lnTo>
                <a:lnTo>
                  <a:pt x="458724" y="112394"/>
                </a:lnTo>
                <a:lnTo>
                  <a:pt x="459650" y="126513"/>
                </a:lnTo>
                <a:lnTo>
                  <a:pt x="481478" y="165990"/>
                </a:lnTo>
                <a:lnTo>
                  <a:pt x="513714" y="175259"/>
                </a:lnTo>
                <a:lnTo>
                  <a:pt x="526216" y="174543"/>
                </a:lnTo>
                <a:lnTo>
                  <a:pt x="537432" y="172386"/>
                </a:lnTo>
                <a:lnTo>
                  <a:pt x="547362" y="168777"/>
                </a:lnTo>
                <a:lnTo>
                  <a:pt x="556005" y="163702"/>
                </a:lnTo>
                <a:lnTo>
                  <a:pt x="556005" y="159003"/>
                </a:lnTo>
                <a:lnTo>
                  <a:pt x="518413" y="159003"/>
                </a:lnTo>
                <a:lnTo>
                  <a:pt x="509768" y="158313"/>
                </a:lnTo>
                <a:lnTo>
                  <a:pt x="479746" y="126237"/>
                </a:lnTo>
                <a:lnTo>
                  <a:pt x="478916" y="116712"/>
                </a:lnTo>
                <a:lnTo>
                  <a:pt x="564388" y="116712"/>
                </a:lnTo>
                <a:lnTo>
                  <a:pt x="564388" y="106552"/>
                </a:lnTo>
                <a:lnTo>
                  <a:pt x="563997" y="100330"/>
                </a:lnTo>
                <a:lnTo>
                  <a:pt x="479170" y="100330"/>
                </a:lnTo>
                <a:lnTo>
                  <a:pt x="480695" y="92729"/>
                </a:lnTo>
                <a:lnTo>
                  <a:pt x="505078" y="64769"/>
                </a:lnTo>
                <a:lnTo>
                  <a:pt x="552033" y="64769"/>
                </a:lnTo>
                <a:lnTo>
                  <a:pt x="551433" y="63881"/>
                </a:lnTo>
                <a:lnTo>
                  <a:pt x="544214" y="57140"/>
                </a:lnTo>
                <a:lnTo>
                  <a:pt x="535686" y="52339"/>
                </a:lnTo>
                <a:lnTo>
                  <a:pt x="525823" y="49468"/>
                </a:lnTo>
                <a:lnTo>
                  <a:pt x="514603" y="48513"/>
                </a:lnTo>
                <a:close/>
              </a:path>
              <a:path w="751839" h="175260">
                <a:moveTo>
                  <a:pt x="556005" y="145541"/>
                </a:moveTo>
                <a:lnTo>
                  <a:pt x="547221" y="151395"/>
                </a:lnTo>
                <a:lnTo>
                  <a:pt x="538019" y="155606"/>
                </a:lnTo>
                <a:lnTo>
                  <a:pt x="528413" y="158150"/>
                </a:lnTo>
                <a:lnTo>
                  <a:pt x="518413" y="159003"/>
                </a:lnTo>
                <a:lnTo>
                  <a:pt x="556005" y="159003"/>
                </a:lnTo>
                <a:lnTo>
                  <a:pt x="556005" y="145541"/>
                </a:lnTo>
                <a:close/>
              </a:path>
              <a:path w="751839" h="175260">
                <a:moveTo>
                  <a:pt x="552033" y="64769"/>
                </a:moveTo>
                <a:lnTo>
                  <a:pt x="523748" y="64769"/>
                </a:lnTo>
                <a:lnTo>
                  <a:pt x="531113" y="67944"/>
                </a:lnTo>
                <a:lnTo>
                  <a:pt x="536448" y="74168"/>
                </a:lnTo>
                <a:lnTo>
                  <a:pt x="539950" y="79291"/>
                </a:lnTo>
                <a:lnTo>
                  <a:pt x="542464" y="85343"/>
                </a:lnTo>
                <a:lnTo>
                  <a:pt x="544002" y="92348"/>
                </a:lnTo>
                <a:lnTo>
                  <a:pt x="544576" y="100330"/>
                </a:lnTo>
                <a:lnTo>
                  <a:pt x="563997" y="100330"/>
                </a:lnTo>
                <a:lnTo>
                  <a:pt x="563578" y="93652"/>
                </a:lnTo>
                <a:lnTo>
                  <a:pt x="561149" y="82216"/>
                </a:lnTo>
                <a:lnTo>
                  <a:pt x="557101" y="72280"/>
                </a:lnTo>
                <a:lnTo>
                  <a:pt x="552033" y="64769"/>
                </a:lnTo>
                <a:close/>
              </a:path>
              <a:path w="751839" h="175260">
                <a:moveTo>
                  <a:pt x="612901" y="51307"/>
                </a:moveTo>
                <a:lnTo>
                  <a:pt x="593470" y="51307"/>
                </a:lnTo>
                <a:lnTo>
                  <a:pt x="593470" y="172465"/>
                </a:lnTo>
                <a:lnTo>
                  <a:pt x="612901" y="172465"/>
                </a:lnTo>
                <a:lnTo>
                  <a:pt x="612901" y="110743"/>
                </a:lnTo>
                <a:lnTo>
                  <a:pt x="613425" y="101117"/>
                </a:lnTo>
                <a:lnTo>
                  <a:pt x="614997" y="92598"/>
                </a:lnTo>
                <a:lnTo>
                  <a:pt x="617616" y="85151"/>
                </a:lnTo>
                <a:lnTo>
                  <a:pt x="621283" y="78739"/>
                </a:lnTo>
                <a:lnTo>
                  <a:pt x="623024" y="76326"/>
                </a:lnTo>
                <a:lnTo>
                  <a:pt x="612901" y="76326"/>
                </a:lnTo>
                <a:lnTo>
                  <a:pt x="612901" y="51307"/>
                </a:lnTo>
                <a:close/>
              </a:path>
              <a:path w="751839" h="175260">
                <a:moveTo>
                  <a:pt x="650113" y="49149"/>
                </a:moveTo>
                <a:lnTo>
                  <a:pt x="638048" y="49149"/>
                </a:lnTo>
                <a:lnTo>
                  <a:pt x="631698" y="51562"/>
                </a:lnTo>
                <a:lnTo>
                  <a:pt x="626110" y="56387"/>
                </a:lnTo>
                <a:lnTo>
                  <a:pt x="620394" y="61087"/>
                </a:lnTo>
                <a:lnTo>
                  <a:pt x="616203" y="67690"/>
                </a:lnTo>
                <a:lnTo>
                  <a:pt x="613410" y="76326"/>
                </a:lnTo>
                <a:lnTo>
                  <a:pt x="623024" y="76326"/>
                </a:lnTo>
                <a:lnTo>
                  <a:pt x="626871" y="70993"/>
                </a:lnTo>
                <a:lnTo>
                  <a:pt x="633729" y="67056"/>
                </a:lnTo>
                <a:lnTo>
                  <a:pt x="656716" y="67056"/>
                </a:lnTo>
                <a:lnTo>
                  <a:pt x="656716" y="50800"/>
                </a:lnTo>
                <a:lnTo>
                  <a:pt x="654050" y="49783"/>
                </a:lnTo>
                <a:lnTo>
                  <a:pt x="650113" y="49149"/>
                </a:lnTo>
                <a:close/>
              </a:path>
              <a:path w="751839" h="175260">
                <a:moveTo>
                  <a:pt x="656716" y="67056"/>
                </a:moveTo>
                <a:lnTo>
                  <a:pt x="648462" y="67056"/>
                </a:lnTo>
                <a:lnTo>
                  <a:pt x="653288" y="68325"/>
                </a:lnTo>
                <a:lnTo>
                  <a:pt x="656716" y="70993"/>
                </a:lnTo>
                <a:lnTo>
                  <a:pt x="656716" y="67056"/>
                </a:lnTo>
                <a:close/>
              </a:path>
              <a:path w="751839" h="175260">
                <a:moveTo>
                  <a:pt x="671576" y="147319"/>
                </a:moveTo>
                <a:lnTo>
                  <a:pt x="671576" y="168020"/>
                </a:lnTo>
                <a:lnTo>
                  <a:pt x="678743" y="171188"/>
                </a:lnTo>
                <a:lnTo>
                  <a:pt x="686530" y="173450"/>
                </a:lnTo>
                <a:lnTo>
                  <a:pt x="694936" y="174807"/>
                </a:lnTo>
                <a:lnTo>
                  <a:pt x="703961" y="175259"/>
                </a:lnTo>
                <a:lnTo>
                  <a:pt x="710311" y="175259"/>
                </a:lnTo>
                <a:lnTo>
                  <a:pt x="745236" y="160019"/>
                </a:lnTo>
                <a:lnTo>
                  <a:pt x="745863" y="159003"/>
                </a:lnTo>
                <a:lnTo>
                  <a:pt x="706501" y="159003"/>
                </a:lnTo>
                <a:lnTo>
                  <a:pt x="697168" y="158267"/>
                </a:lnTo>
                <a:lnTo>
                  <a:pt x="688228" y="156067"/>
                </a:lnTo>
                <a:lnTo>
                  <a:pt x="679694" y="152413"/>
                </a:lnTo>
                <a:lnTo>
                  <a:pt x="671576" y="147319"/>
                </a:lnTo>
                <a:close/>
              </a:path>
              <a:path w="751839" h="175260">
                <a:moveTo>
                  <a:pt x="718185" y="48513"/>
                </a:moveTo>
                <a:lnTo>
                  <a:pt x="712215" y="48513"/>
                </a:lnTo>
                <a:lnTo>
                  <a:pt x="706501" y="49275"/>
                </a:lnTo>
                <a:lnTo>
                  <a:pt x="673100" y="72770"/>
                </a:lnTo>
                <a:lnTo>
                  <a:pt x="671829" y="77850"/>
                </a:lnTo>
                <a:lnTo>
                  <a:pt x="671829" y="88137"/>
                </a:lnTo>
                <a:lnTo>
                  <a:pt x="672464" y="92201"/>
                </a:lnTo>
                <a:lnTo>
                  <a:pt x="673862" y="95631"/>
                </a:lnTo>
                <a:lnTo>
                  <a:pt x="675258" y="99187"/>
                </a:lnTo>
                <a:lnTo>
                  <a:pt x="708151" y="120268"/>
                </a:lnTo>
                <a:lnTo>
                  <a:pt x="711835" y="121665"/>
                </a:lnTo>
                <a:lnTo>
                  <a:pt x="718438" y="124459"/>
                </a:lnTo>
                <a:lnTo>
                  <a:pt x="721360" y="125983"/>
                </a:lnTo>
                <a:lnTo>
                  <a:pt x="723900" y="127762"/>
                </a:lnTo>
                <a:lnTo>
                  <a:pt x="726439" y="129412"/>
                </a:lnTo>
                <a:lnTo>
                  <a:pt x="728344" y="131444"/>
                </a:lnTo>
                <a:lnTo>
                  <a:pt x="729868" y="133731"/>
                </a:lnTo>
                <a:lnTo>
                  <a:pt x="731265" y="136016"/>
                </a:lnTo>
                <a:lnTo>
                  <a:pt x="732027" y="138683"/>
                </a:lnTo>
                <a:lnTo>
                  <a:pt x="732027" y="141986"/>
                </a:lnTo>
                <a:lnTo>
                  <a:pt x="730432" y="149413"/>
                </a:lnTo>
                <a:lnTo>
                  <a:pt x="725646" y="154733"/>
                </a:lnTo>
                <a:lnTo>
                  <a:pt x="717669" y="157934"/>
                </a:lnTo>
                <a:lnTo>
                  <a:pt x="706501" y="159003"/>
                </a:lnTo>
                <a:lnTo>
                  <a:pt x="745863" y="159003"/>
                </a:lnTo>
                <a:lnTo>
                  <a:pt x="747902" y="155701"/>
                </a:lnTo>
                <a:lnTo>
                  <a:pt x="750569" y="151256"/>
                </a:lnTo>
                <a:lnTo>
                  <a:pt x="751839" y="146050"/>
                </a:lnTo>
                <a:lnTo>
                  <a:pt x="751839" y="135127"/>
                </a:lnTo>
                <a:lnTo>
                  <a:pt x="722629" y="106299"/>
                </a:lnTo>
                <a:lnTo>
                  <a:pt x="717168" y="104266"/>
                </a:lnTo>
                <a:lnTo>
                  <a:pt x="713231" y="102743"/>
                </a:lnTo>
                <a:lnTo>
                  <a:pt x="691641" y="84962"/>
                </a:lnTo>
                <a:lnTo>
                  <a:pt x="691641" y="79247"/>
                </a:lnTo>
                <a:lnTo>
                  <a:pt x="692276" y="76962"/>
                </a:lnTo>
                <a:lnTo>
                  <a:pt x="693419" y="74930"/>
                </a:lnTo>
                <a:lnTo>
                  <a:pt x="694563" y="72770"/>
                </a:lnTo>
                <a:lnTo>
                  <a:pt x="705738" y="66039"/>
                </a:lnTo>
                <a:lnTo>
                  <a:pt x="708660" y="65150"/>
                </a:lnTo>
                <a:lnTo>
                  <a:pt x="711962" y="64769"/>
                </a:lnTo>
                <a:lnTo>
                  <a:pt x="746378" y="64769"/>
                </a:lnTo>
                <a:lnTo>
                  <a:pt x="746378" y="53847"/>
                </a:lnTo>
                <a:lnTo>
                  <a:pt x="739901" y="51514"/>
                </a:lnTo>
                <a:lnTo>
                  <a:pt x="733043" y="49847"/>
                </a:lnTo>
                <a:lnTo>
                  <a:pt x="725804" y="48847"/>
                </a:lnTo>
                <a:lnTo>
                  <a:pt x="718185" y="48513"/>
                </a:lnTo>
                <a:close/>
              </a:path>
              <a:path w="751839" h="175260">
                <a:moveTo>
                  <a:pt x="746378" y="64769"/>
                </a:moveTo>
                <a:lnTo>
                  <a:pt x="715517" y="64769"/>
                </a:lnTo>
                <a:lnTo>
                  <a:pt x="724001" y="65317"/>
                </a:lnTo>
                <a:lnTo>
                  <a:pt x="731948" y="66960"/>
                </a:lnTo>
                <a:lnTo>
                  <a:pt x="739395" y="69699"/>
                </a:lnTo>
                <a:lnTo>
                  <a:pt x="746378" y="73532"/>
                </a:lnTo>
                <a:lnTo>
                  <a:pt x="746378" y="64769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729190" y="5893648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89" h="429895">
                <a:moveTo>
                  <a:pt x="0" y="429767"/>
                </a:moveTo>
                <a:lnTo>
                  <a:pt x="1850136" y="429767"/>
                </a:lnTo>
                <a:lnTo>
                  <a:pt x="1850136" y="0"/>
                </a:lnTo>
                <a:lnTo>
                  <a:pt x="0" y="0"/>
                </a:lnTo>
                <a:lnTo>
                  <a:pt x="0" y="429767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966149" y="5993144"/>
            <a:ext cx="889182" cy="232126"/>
          </a:xfrm>
          <a:custGeom>
            <a:avLst/>
            <a:gdLst/>
            <a:ahLst/>
            <a:cxnLst/>
            <a:rect l="l" t="t" r="r" b="b"/>
            <a:pathLst>
              <a:path w="1209039" h="236854">
                <a:moveTo>
                  <a:pt x="25781" y="9702"/>
                </a:moveTo>
                <a:lnTo>
                  <a:pt x="0" y="9702"/>
                </a:lnTo>
                <a:lnTo>
                  <a:pt x="0" y="179362"/>
                </a:lnTo>
                <a:lnTo>
                  <a:pt x="19938" y="179362"/>
                </a:lnTo>
                <a:lnTo>
                  <a:pt x="19902" y="44132"/>
                </a:lnTo>
                <a:lnTo>
                  <a:pt x="19558" y="37109"/>
                </a:lnTo>
                <a:lnTo>
                  <a:pt x="18923" y="33477"/>
                </a:lnTo>
                <a:lnTo>
                  <a:pt x="40957" y="33477"/>
                </a:lnTo>
                <a:lnTo>
                  <a:pt x="25781" y="9702"/>
                </a:lnTo>
                <a:close/>
              </a:path>
              <a:path w="1209039" h="236854">
                <a:moveTo>
                  <a:pt x="40957" y="33477"/>
                </a:moveTo>
                <a:lnTo>
                  <a:pt x="19685" y="33477"/>
                </a:lnTo>
                <a:lnTo>
                  <a:pt x="21082" y="37185"/>
                </a:lnTo>
                <a:lnTo>
                  <a:pt x="22860" y="40741"/>
                </a:lnTo>
                <a:lnTo>
                  <a:pt x="25146" y="44132"/>
                </a:lnTo>
                <a:lnTo>
                  <a:pt x="112395" y="179362"/>
                </a:lnTo>
                <a:lnTo>
                  <a:pt x="136778" y="179362"/>
                </a:lnTo>
                <a:lnTo>
                  <a:pt x="136778" y="154165"/>
                </a:lnTo>
                <a:lnTo>
                  <a:pt x="117601" y="154165"/>
                </a:lnTo>
                <a:lnTo>
                  <a:pt x="116586" y="152107"/>
                </a:lnTo>
                <a:lnTo>
                  <a:pt x="114300" y="148323"/>
                </a:lnTo>
                <a:lnTo>
                  <a:pt x="110744" y="142798"/>
                </a:lnTo>
                <a:lnTo>
                  <a:pt x="40957" y="33477"/>
                </a:lnTo>
                <a:close/>
              </a:path>
              <a:path w="1209039" h="236854">
                <a:moveTo>
                  <a:pt x="136778" y="9702"/>
                </a:moveTo>
                <a:lnTo>
                  <a:pt x="116966" y="9702"/>
                </a:lnTo>
                <a:lnTo>
                  <a:pt x="117051" y="142798"/>
                </a:lnTo>
                <a:lnTo>
                  <a:pt x="117348" y="149275"/>
                </a:lnTo>
                <a:lnTo>
                  <a:pt x="118110" y="154165"/>
                </a:lnTo>
                <a:lnTo>
                  <a:pt x="136778" y="154165"/>
                </a:lnTo>
                <a:lnTo>
                  <a:pt x="136778" y="9702"/>
                </a:lnTo>
                <a:close/>
              </a:path>
              <a:path w="1209039" h="236854">
                <a:moveTo>
                  <a:pt x="226313" y="55371"/>
                </a:moveTo>
                <a:lnTo>
                  <a:pt x="186562" y="73177"/>
                </a:lnTo>
                <a:lnTo>
                  <a:pt x="170561" y="119265"/>
                </a:lnTo>
                <a:lnTo>
                  <a:pt x="171467" y="133391"/>
                </a:lnTo>
                <a:lnTo>
                  <a:pt x="193190" y="172921"/>
                </a:lnTo>
                <a:lnTo>
                  <a:pt x="225551" y="182206"/>
                </a:lnTo>
                <a:lnTo>
                  <a:pt x="238033" y="181482"/>
                </a:lnTo>
                <a:lnTo>
                  <a:pt x="249205" y="179309"/>
                </a:lnTo>
                <a:lnTo>
                  <a:pt x="259091" y="175686"/>
                </a:lnTo>
                <a:lnTo>
                  <a:pt x="267715" y="170611"/>
                </a:lnTo>
                <a:lnTo>
                  <a:pt x="267715" y="165874"/>
                </a:lnTo>
                <a:lnTo>
                  <a:pt x="230124" y="165874"/>
                </a:lnTo>
                <a:lnTo>
                  <a:pt x="221480" y="165186"/>
                </a:lnTo>
                <a:lnTo>
                  <a:pt x="191458" y="133173"/>
                </a:lnTo>
                <a:lnTo>
                  <a:pt x="190626" y="123634"/>
                </a:lnTo>
                <a:lnTo>
                  <a:pt x="276098" y="123634"/>
                </a:lnTo>
                <a:lnTo>
                  <a:pt x="276098" y="113461"/>
                </a:lnTo>
                <a:lnTo>
                  <a:pt x="275704" y="107188"/>
                </a:lnTo>
                <a:lnTo>
                  <a:pt x="190881" y="107188"/>
                </a:lnTo>
                <a:lnTo>
                  <a:pt x="192476" y="99639"/>
                </a:lnTo>
                <a:lnTo>
                  <a:pt x="216788" y="71691"/>
                </a:lnTo>
                <a:lnTo>
                  <a:pt x="263775" y="71691"/>
                </a:lnTo>
                <a:lnTo>
                  <a:pt x="263144" y="70751"/>
                </a:lnTo>
                <a:lnTo>
                  <a:pt x="255978" y="64019"/>
                </a:lnTo>
                <a:lnTo>
                  <a:pt x="247443" y="59213"/>
                </a:lnTo>
                <a:lnTo>
                  <a:pt x="237551" y="56332"/>
                </a:lnTo>
                <a:lnTo>
                  <a:pt x="226313" y="55371"/>
                </a:lnTo>
                <a:close/>
              </a:path>
              <a:path w="1209039" h="236854">
                <a:moveTo>
                  <a:pt x="267715" y="152387"/>
                </a:moveTo>
                <a:lnTo>
                  <a:pt x="258949" y="158288"/>
                </a:lnTo>
                <a:lnTo>
                  <a:pt x="249777" y="162502"/>
                </a:lnTo>
                <a:lnTo>
                  <a:pt x="240176" y="165031"/>
                </a:lnTo>
                <a:lnTo>
                  <a:pt x="230124" y="165874"/>
                </a:lnTo>
                <a:lnTo>
                  <a:pt x="267715" y="165874"/>
                </a:lnTo>
                <a:lnTo>
                  <a:pt x="267715" y="152387"/>
                </a:lnTo>
                <a:close/>
              </a:path>
              <a:path w="1209039" h="236854">
                <a:moveTo>
                  <a:pt x="263775" y="71691"/>
                </a:moveTo>
                <a:lnTo>
                  <a:pt x="235458" y="71691"/>
                </a:lnTo>
                <a:lnTo>
                  <a:pt x="242824" y="74815"/>
                </a:lnTo>
                <a:lnTo>
                  <a:pt x="248158" y="81038"/>
                </a:lnTo>
                <a:lnTo>
                  <a:pt x="251660" y="86180"/>
                </a:lnTo>
                <a:lnTo>
                  <a:pt x="254174" y="92251"/>
                </a:lnTo>
                <a:lnTo>
                  <a:pt x="255712" y="99253"/>
                </a:lnTo>
                <a:lnTo>
                  <a:pt x="256286" y="107188"/>
                </a:lnTo>
                <a:lnTo>
                  <a:pt x="275704" y="107188"/>
                </a:lnTo>
                <a:lnTo>
                  <a:pt x="275288" y="100541"/>
                </a:lnTo>
                <a:lnTo>
                  <a:pt x="272859" y="89115"/>
                </a:lnTo>
                <a:lnTo>
                  <a:pt x="268811" y="79186"/>
                </a:lnTo>
                <a:lnTo>
                  <a:pt x="263775" y="71691"/>
                </a:lnTo>
                <a:close/>
              </a:path>
              <a:path w="1209039" h="236854">
                <a:moveTo>
                  <a:pt x="330962" y="74777"/>
                </a:moveTo>
                <a:lnTo>
                  <a:pt x="311531" y="74777"/>
                </a:lnTo>
                <a:lnTo>
                  <a:pt x="311531" y="146469"/>
                </a:lnTo>
                <a:lnTo>
                  <a:pt x="313529" y="162002"/>
                </a:lnTo>
                <a:lnTo>
                  <a:pt x="319516" y="173094"/>
                </a:lnTo>
                <a:lnTo>
                  <a:pt x="329479" y="179748"/>
                </a:lnTo>
                <a:lnTo>
                  <a:pt x="343408" y="181965"/>
                </a:lnTo>
                <a:lnTo>
                  <a:pt x="350900" y="181965"/>
                </a:lnTo>
                <a:lnTo>
                  <a:pt x="356870" y="180708"/>
                </a:lnTo>
                <a:lnTo>
                  <a:pt x="361441" y="178181"/>
                </a:lnTo>
                <a:lnTo>
                  <a:pt x="361441" y="165646"/>
                </a:lnTo>
                <a:lnTo>
                  <a:pt x="342391" y="165646"/>
                </a:lnTo>
                <a:lnTo>
                  <a:pt x="337820" y="163906"/>
                </a:lnTo>
                <a:lnTo>
                  <a:pt x="335152" y="160439"/>
                </a:lnTo>
                <a:lnTo>
                  <a:pt x="332359" y="156959"/>
                </a:lnTo>
                <a:lnTo>
                  <a:pt x="330962" y="151168"/>
                </a:lnTo>
                <a:lnTo>
                  <a:pt x="330962" y="74777"/>
                </a:lnTo>
                <a:close/>
              </a:path>
              <a:path w="1209039" h="236854">
                <a:moveTo>
                  <a:pt x="361441" y="161620"/>
                </a:moveTo>
                <a:lnTo>
                  <a:pt x="357886" y="164299"/>
                </a:lnTo>
                <a:lnTo>
                  <a:pt x="353695" y="165646"/>
                </a:lnTo>
                <a:lnTo>
                  <a:pt x="361441" y="165646"/>
                </a:lnTo>
                <a:lnTo>
                  <a:pt x="361441" y="161620"/>
                </a:lnTo>
                <a:close/>
              </a:path>
              <a:path w="1209039" h="236854">
                <a:moveTo>
                  <a:pt x="361441" y="58204"/>
                </a:moveTo>
                <a:lnTo>
                  <a:pt x="290702" y="58204"/>
                </a:lnTo>
                <a:lnTo>
                  <a:pt x="290702" y="74777"/>
                </a:lnTo>
                <a:lnTo>
                  <a:pt x="361441" y="74777"/>
                </a:lnTo>
                <a:lnTo>
                  <a:pt x="361441" y="58204"/>
                </a:lnTo>
                <a:close/>
              </a:path>
              <a:path w="1209039" h="236854">
                <a:moveTo>
                  <a:pt x="330962" y="22352"/>
                </a:moveTo>
                <a:lnTo>
                  <a:pt x="311531" y="28625"/>
                </a:lnTo>
                <a:lnTo>
                  <a:pt x="311531" y="58204"/>
                </a:lnTo>
                <a:lnTo>
                  <a:pt x="330962" y="58204"/>
                </a:lnTo>
                <a:lnTo>
                  <a:pt x="330962" y="22352"/>
                </a:lnTo>
                <a:close/>
              </a:path>
              <a:path w="1209039" h="236854">
                <a:moveTo>
                  <a:pt x="391160" y="58204"/>
                </a:moveTo>
                <a:lnTo>
                  <a:pt x="370713" y="58204"/>
                </a:lnTo>
                <a:lnTo>
                  <a:pt x="407415" y="179362"/>
                </a:lnTo>
                <a:lnTo>
                  <a:pt x="426847" y="179362"/>
                </a:lnTo>
                <a:lnTo>
                  <a:pt x="432808" y="160197"/>
                </a:lnTo>
                <a:lnTo>
                  <a:pt x="417830" y="160197"/>
                </a:lnTo>
                <a:lnTo>
                  <a:pt x="417575" y="155701"/>
                </a:lnTo>
                <a:lnTo>
                  <a:pt x="416940" y="152069"/>
                </a:lnTo>
                <a:lnTo>
                  <a:pt x="391160" y="58204"/>
                </a:lnTo>
                <a:close/>
              </a:path>
              <a:path w="1209039" h="236854">
                <a:moveTo>
                  <a:pt x="472981" y="81394"/>
                </a:moveTo>
                <a:lnTo>
                  <a:pt x="456946" y="81394"/>
                </a:lnTo>
                <a:lnTo>
                  <a:pt x="457200" y="85572"/>
                </a:lnTo>
                <a:lnTo>
                  <a:pt x="457835" y="89319"/>
                </a:lnTo>
                <a:lnTo>
                  <a:pt x="458850" y="92633"/>
                </a:lnTo>
                <a:lnTo>
                  <a:pt x="483743" y="179362"/>
                </a:lnTo>
                <a:lnTo>
                  <a:pt x="503936" y="179362"/>
                </a:lnTo>
                <a:lnTo>
                  <a:pt x="509608" y="160439"/>
                </a:lnTo>
                <a:lnTo>
                  <a:pt x="493522" y="160439"/>
                </a:lnTo>
                <a:lnTo>
                  <a:pt x="492958" y="155701"/>
                </a:lnTo>
                <a:lnTo>
                  <a:pt x="492506" y="152463"/>
                </a:lnTo>
                <a:lnTo>
                  <a:pt x="491744" y="149555"/>
                </a:lnTo>
                <a:lnTo>
                  <a:pt x="472981" y="81394"/>
                </a:lnTo>
                <a:close/>
              </a:path>
              <a:path w="1209039" h="236854">
                <a:moveTo>
                  <a:pt x="540258" y="58204"/>
                </a:moveTo>
                <a:lnTo>
                  <a:pt x="521081" y="58204"/>
                </a:lnTo>
                <a:lnTo>
                  <a:pt x="495300" y="153733"/>
                </a:lnTo>
                <a:lnTo>
                  <a:pt x="494538" y="157353"/>
                </a:lnTo>
                <a:lnTo>
                  <a:pt x="494411" y="160439"/>
                </a:lnTo>
                <a:lnTo>
                  <a:pt x="509608" y="160439"/>
                </a:lnTo>
                <a:lnTo>
                  <a:pt x="540258" y="58204"/>
                </a:lnTo>
                <a:close/>
              </a:path>
              <a:path w="1209039" h="236854">
                <a:moveTo>
                  <a:pt x="466598" y="58204"/>
                </a:moveTo>
                <a:lnTo>
                  <a:pt x="448818" y="58204"/>
                </a:lnTo>
                <a:lnTo>
                  <a:pt x="420877" y="149072"/>
                </a:lnTo>
                <a:lnTo>
                  <a:pt x="419735" y="153022"/>
                </a:lnTo>
                <a:lnTo>
                  <a:pt x="419100" y="156730"/>
                </a:lnTo>
                <a:lnTo>
                  <a:pt x="418846" y="160197"/>
                </a:lnTo>
                <a:lnTo>
                  <a:pt x="432808" y="160197"/>
                </a:lnTo>
                <a:lnTo>
                  <a:pt x="453898" y="92405"/>
                </a:lnTo>
                <a:lnTo>
                  <a:pt x="455422" y="87909"/>
                </a:lnTo>
                <a:lnTo>
                  <a:pt x="456184" y="84239"/>
                </a:lnTo>
                <a:lnTo>
                  <a:pt x="456438" y="81394"/>
                </a:lnTo>
                <a:lnTo>
                  <a:pt x="472981" y="81394"/>
                </a:lnTo>
                <a:lnTo>
                  <a:pt x="466598" y="58204"/>
                </a:lnTo>
                <a:close/>
              </a:path>
              <a:path w="1209039" h="236854">
                <a:moveTo>
                  <a:pt x="616331" y="55371"/>
                </a:moveTo>
                <a:lnTo>
                  <a:pt x="571246" y="72529"/>
                </a:lnTo>
                <a:lnTo>
                  <a:pt x="554609" y="120205"/>
                </a:lnTo>
                <a:lnTo>
                  <a:pt x="555609" y="133535"/>
                </a:lnTo>
                <a:lnTo>
                  <a:pt x="579280" y="172653"/>
                </a:lnTo>
                <a:lnTo>
                  <a:pt x="613410" y="182206"/>
                </a:lnTo>
                <a:lnTo>
                  <a:pt x="626528" y="181116"/>
                </a:lnTo>
                <a:lnTo>
                  <a:pt x="638254" y="177844"/>
                </a:lnTo>
                <a:lnTo>
                  <a:pt x="648575" y="172391"/>
                </a:lnTo>
                <a:lnTo>
                  <a:pt x="656175" y="165874"/>
                </a:lnTo>
                <a:lnTo>
                  <a:pt x="614934" y="165874"/>
                </a:lnTo>
                <a:lnTo>
                  <a:pt x="606151" y="165098"/>
                </a:lnTo>
                <a:lnTo>
                  <a:pt x="577183" y="138755"/>
                </a:lnTo>
                <a:lnTo>
                  <a:pt x="574469" y="120205"/>
                </a:lnTo>
                <a:lnTo>
                  <a:pt x="574497" y="118313"/>
                </a:lnTo>
                <a:lnTo>
                  <a:pt x="591270" y="78849"/>
                </a:lnTo>
                <a:lnTo>
                  <a:pt x="614934" y="71691"/>
                </a:lnTo>
                <a:lnTo>
                  <a:pt x="658214" y="71691"/>
                </a:lnTo>
                <a:lnTo>
                  <a:pt x="650263" y="64753"/>
                </a:lnTo>
                <a:lnTo>
                  <a:pt x="640429" y="59542"/>
                </a:lnTo>
                <a:lnTo>
                  <a:pt x="629118" y="56414"/>
                </a:lnTo>
                <a:lnTo>
                  <a:pt x="616331" y="55371"/>
                </a:lnTo>
                <a:close/>
              </a:path>
              <a:path w="1209039" h="236854">
                <a:moveTo>
                  <a:pt x="658214" y="71691"/>
                </a:moveTo>
                <a:lnTo>
                  <a:pt x="614934" y="71691"/>
                </a:lnTo>
                <a:lnTo>
                  <a:pt x="623742" y="72460"/>
                </a:lnTo>
                <a:lnTo>
                  <a:pt x="631491" y="74768"/>
                </a:lnTo>
                <a:lnTo>
                  <a:pt x="653299" y="108313"/>
                </a:lnTo>
                <a:lnTo>
                  <a:pt x="653881" y="118313"/>
                </a:lnTo>
                <a:lnTo>
                  <a:pt x="653853" y="120205"/>
                </a:lnTo>
                <a:lnTo>
                  <a:pt x="638169" y="159022"/>
                </a:lnTo>
                <a:lnTo>
                  <a:pt x="614934" y="165874"/>
                </a:lnTo>
                <a:lnTo>
                  <a:pt x="656175" y="165874"/>
                </a:lnTo>
                <a:lnTo>
                  <a:pt x="673862" y="118313"/>
                </a:lnTo>
                <a:lnTo>
                  <a:pt x="672909" y="104327"/>
                </a:lnTo>
                <a:lnTo>
                  <a:pt x="670051" y="91955"/>
                </a:lnTo>
                <a:lnTo>
                  <a:pt x="665289" y="81196"/>
                </a:lnTo>
                <a:lnTo>
                  <a:pt x="658622" y="72047"/>
                </a:lnTo>
                <a:lnTo>
                  <a:pt x="658214" y="71691"/>
                </a:lnTo>
                <a:close/>
              </a:path>
              <a:path w="1209039" h="236854">
                <a:moveTo>
                  <a:pt x="724026" y="58204"/>
                </a:moveTo>
                <a:lnTo>
                  <a:pt x="704596" y="58204"/>
                </a:lnTo>
                <a:lnTo>
                  <a:pt x="704596" y="179362"/>
                </a:lnTo>
                <a:lnTo>
                  <a:pt x="724026" y="179362"/>
                </a:lnTo>
                <a:lnTo>
                  <a:pt x="724026" y="117601"/>
                </a:lnTo>
                <a:lnTo>
                  <a:pt x="724531" y="108019"/>
                </a:lnTo>
                <a:lnTo>
                  <a:pt x="726059" y="99502"/>
                </a:lnTo>
                <a:lnTo>
                  <a:pt x="728634" y="92050"/>
                </a:lnTo>
                <a:lnTo>
                  <a:pt x="732282" y="85661"/>
                </a:lnTo>
                <a:lnTo>
                  <a:pt x="734062" y="83172"/>
                </a:lnTo>
                <a:lnTo>
                  <a:pt x="724026" y="83172"/>
                </a:lnTo>
                <a:lnTo>
                  <a:pt x="724026" y="58204"/>
                </a:lnTo>
                <a:close/>
              </a:path>
              <a:path w="1209039" h="236854">
                <a:moveTo>
                  <a:pt x="761238" y="56083"/>
                </a:moveTo>
                <a:lnTo>
                  <a:pt x="749173" y="56083"/>
                </a:lnTo>
                <a:lnTo>
                  <a:pt x="742823" y="58458"/>
                </a:lnTo>
                <a:lnTo>
                  <a:pt x="731393" y="68008"/>
                </a:lnTo>
                <a:lnTo>
                  <a:pt x="727201" y="74650"/>
                </a:lnTo>
                <a:lnTo>
                  <a:pt x="724408" y="83172"/>
                </a:lnTo>
                <a:lnTo>
                  <a:pt x="734062" y="83172"/>
                </a:lnTo>
                <a:lnTo>
                  <a:pt x="737870" y="77851"/>
                </a:lnTo>
                <a:lnTo>
                  <a:pt x="744727" y="73939"/>
                </a:lnTo>
                <a:lnTo>
                  <a:pt x="767714" y="73939"/>
                </a:lnTo>
                <a:lnTo>
                  <a:pt x="767714" y="57734"/>
                </a:lnTo>
                <a:lnTo>
                  <a:pt x="765048" y="56629"/>
                </a:lnTo>
                <a:lnTo>
                  <a:pt x="761238" y="56083"/>
                </a:lnTo>
                <a:close/>
              </a:path>
              <a:path w="1209039" h="236854">
                <a:moveTo>
                  <a:pt x="767714" y="73939"/>
                </a:moveTo>
                <a:lnTo>
                  <a:pt x="759460" y="73939"/>
                </a:lnTo>
                <a:lnTo>
                  <a:pt x="764413" y="75247"/>
                </a:lnTo>
                <a:lnTo>
                  <a:pt x="767714" y="77851"/>
                </a:lnTo>
                <a:lnTo>
                  <a:pt x="767714" y="73939"/>
                </a:lnTo>
                <a:close/>
              </a:path>
              <a:path w="1209039" h="236854">
                <a:moveTo>
                  <a:pt x="807847" y="0"/>
                </a:moveTo>
                <a:lnTo>
                  <a:pt x="788415" y="0"/>
                </a:lnTo>
                <a:lnTo>
                  <a:pt x="788415" y="179362"/>
                </a:lnTo>
                <a:lnTo>
                  <a:pt x="807847" y="179362"/>
                </a:lnTo>
                <a:lnTo>
                  <a:pt x="807847" y="121157"/>
                </a:lnTo>
                <a:lnTo>
                  <a:pt x="832764" y="121157"/>
                </a:lnTo>
                <a:lnTo>
                  <a:pt x="828421" y="116662"/>
                </a:lnTo>
                <a:lnTo>
                  <a:pt x="831262" y="113703"/>
                </a:lnTo>
                <a:lnTo>
                  <a:pt x="807847" y="113703"/>
                </a:lnTo>
                <a:lnTo>
                  <a:pt x="807847" y="0"/>
                </a:lnTo>
                <a:close/>
              </a:path>
              <a:path w="1209039" h="236854">
                <a:moveTo>
                  <a:pt x="832764" y="121157"/>
                </a:moveTo>
                <a:lnTo>
                  <a:pt x="808227" y="121157"/>
                </a:lnTo>
                <a:lnTo>
                  <a:pt x="861695" y="179362"/>
                </a:lnTo>
                <a:lnTo>
                  <a:pt x="889000" y="179362"/>
                </a:lnTo>
                <a:lnTo>
                  <a:pt x="832764" y="121157"/>
                </a:lnTo>
                <a:close/>
              </a:path>
              <a:path w="1209039" h="236854">
                <a:moveTo>
                  <a:pt x="884555" y="58204"/>
                </a:moveTo>
                <a:lnTo>
                  <a:pt x="859155" y="58204"/>
                </a:lnTo>
                <a:lnTo>
                  <a:pt x="808227" y="113703"/>
                </a:lnTo>
                <a:lnTo>
                  <a:pt x="831262" y="113703"/>
                </a:lnTo>
                <a:lnTo>
                  <a:pt x="884555" y="58204"/>
                </a:lnTo>
                <a:close/>
              </a:path>
              <a:path w="1209039" h="236854">
                <a:moveTo>
                  <a:pt x="922274" y="2247"/>
                </a:moveTo>
                <a:lnTo>
                  <a:pt x="915288" y="2247"/>
                </a:lnTo>
                <a:lnTo>
                  <a:pt x="912240" y="3441"/>
                </a:lnTo>
                <a:lnTo>
                  <a:pt x="907414" y="8255"/>
                </a:lnTo>
                <a:lnTo>
                  <a:pt x="906145" y="11277"/>
                </a:lnTo>
                <a:lnTo>
                  <a:pt x="906145" y="18529"/>
                </a:lnTo>
                <a:lnTo>
                  <a:pt x="907414" y="21526"/>
                </a:lnTo>
                <a:lnTo>
                  <a:pt x="912240" y="26263"/>
                </a:lnTo>
                <a:lnTo>
                  <a:pt x="915288" y="27444"/>
                </a:lnTo>
                <a:lnTo>
                  <a:pt x="922274" y="27444"/>
                </a:lnTo>
                <a:lnTo>
                  <a:pt x="925322" y="26225"/>
                </a:lnTo>
                <a:lnTo>
                  <a:pt x="927735" y="23774"/>
                </a:lnTo>
                <a:lnTo>
                  <a:pt x="930275" y="21336"/>
                </a:lnTo>
                <a:lnTo>
                  <a:pt x="931479" y="18529"/>
                </a:lnTo>
                <a:lnTo>
                  <a:pt x="931545" y="11277"/>
                </a:lnTo>
                <a:lnTo>
                  <a:pt x="930275" y="8255"/>
                </a:lnTo>
                <a:lnTo>
                  <a:pt x="927735" y="5854"/>
                </a:lnTo>
                <a:lnTo>
                  <a:pt x="925322" y="3441"/>
                </a:lnTo>
                <a:lnTo>
                  <a:pt x="922274" y="2247"/>
                </a:lnTo>
                <a:close/>
              </a:path>
              <a:path w="1209039" h="236854">
                <a:moveTo>
                  <a:pt x="928243" y="58204"/>
                </a:moveTo>
                <a:lnTo>
                  <a:pt x="908812" y="58204"/>
                </a:lnTo>
                <a:lnTo>
                  <a:pt x="908812" y="179362"/>
                </a:lnTo>
                <a:lnTo>
                  <a:pt x="928243" y="179362"/>
                </a:lnTo>
                <a:lnTo>
                  <a:pt x="928243" y="58204"/>
                </a:lnTo>
                <a:close/>
              </a:path>
              <a:path w="1209039" h="236854">
                <a:moveTo>
                  <a:pt x="987678" y="58204"/>
                </a:moveTo>
                <a:lnTo>
                  <a:pt x="968248" y="58204"/>
                </a:lnTo>
                <a:lnTo>
                  <a:pt x="968248" y="179362"/>
                </a:lnTo>
                <a:lnTo>
                  <a:pt x="987678" y="179362"/>
                </a:lnTo>
                <a:lnTo>
                  <a:pt x="987678" y="110261"/>
                </a:lnTo>
                <a:lnTo>
                  <a:pt x="988274" y="102284"/>
                </a:lnTo>
                <a:lnTo>
                  <a:pt x="990060" y="95021"/>
                </a:lnTo>
                <a:lnTo>
                  <a:pt x="993036" y="88472"/>
                </a:lnTo>
                <a:lnTo>
                  <a:pt x="997203" y="82638"/>
                </a:lnTo>
                <a:lnTo>
                  <a:pt x="1001780" y="78320"/>
                </a:lnTo>
                <a:lnTo>
                  <a:pt x="987678" y="78320"/>
                </a:lnTo>
                <a:lnTo>
                  <a:pt x="987678" y="58204"/>
                </a:lnTo>
                <a:close/>
              </a:path>
              <a:path w="1209039" h="236854">
                <a:moveTo>
                  <a:pt x="1060539" y="71691"/>
                </a:moveTo>
                <a:lnTo>
                  <a:pt x="1021207" y="71691"/>
                </a:lnTo>
                <a:lnTo>
                  <a:pt x="1033541" y="74103"/>
                </a:lnTo>
                <a:lnTo>
                  <a:pt x="1042352" y="81337"/>
                </a:lnTo>
                <a:lnTo>
                  <a:pt x="1047638" y="93390"/>
                </a:lnTo>
                <a:lnTo>
                  <a:pt x="1049401" y="110261"/>
                </a:lnTo>
                <a:lnTo>
                  <a:pt x="1049401" y="179362"/>
                </a:lnTo>
                <a:lnTo>
                  <a:pt x="1068832" y="179362"/>
                </a:lnTo>
                <a:lnTo>
                  <a:pt x="1068832" y="105295"/>
                </a:lnTo>
                <a:lnTo>
                  <a:pt x="1068167" y="93882"/>
                </a:lnTo>
                <a:lnTo>
                  <a:pt x="1066180" y="83894"/>
                </a:lnTo>
                <a:lnTo>
                  <a:pt x="1062884" y="75333"/>
                </a:lnTo>
                <a:lnTo>
                  <a:pt x="1060539" y="71691"/>
                </a:lnTo>
                <a:close/>
              </a:path>
              <a:path w="1209039" h="236854">
                <a:moveTo>
                  <a:pt x="1027811" y="55371"/>
                </a:moveTo>
                <a:lnTo>
                  <a:pt x="1015599" y="56805"/>
                </a:lnTo>
                <a:lnTo>
                  <a:pt x="1004887" y="61107"/>
                </a:lnTo>
                <a:lnTo>
                  <a:pt x="995699" y="68278"/>
                </a:lnTo>
                <a:lnTo>
                  <a:pt x="988060" y="78320"/>
                </a:lnTo>
                <a:lnTo>
                  <a:pt x="1001780" y="78320"/>
                </a:lnTo>
                <a:lnTo>
                  <a:pt x="1002276" y="77852"/>
                </a:lnTo>
                <a:lnTo>
                  <a:pt x="1007967" y="74431"/>
                </a:lnTo>
                <a:lnTo>
                  <a:pt x="1014277" y="72376"/>
                </a:lnTo>
                <a:lnTo>
                  <a:pt x="1021207" y="71691"/>
                </a:lnTo>
                <a:lnTo>
                  <a:pt x="1060539" y="71691"/>
                </a:lnTo>
                <a:lnTo>
                  <a:pt x="1058290" y="68199"/>
                </a:lnTo>
                <a:lnTo>
                  <a:pt x="1052403" y="62588"/>
                </a:lnTo>
                <a:lnTo>
                  <a:pt x="1045384" y="58580"/>
                </a:lnTo>
                <a:lnTo>
                  <a:pt x="1037199" y="56174"/>
                </a:lnTo>
                <a:lnTo>
                  <a:pt x="1027811" y="55371"/>
                </a:lnTo>
                <a:close/>
              </a:path>
              <a:path w="1209039" h="236854">
                <a:moveTo>
                  <a:pt x="1105662" y="208470"/>
                </a:moveTo>
                <a:lnTo>
                  <a:pt x="1105662" y="227876"/>
                </a:lnTo>
                <a:lnTo>
                  <a:pt x="1114401" y="231602"/>
                </a:lnTo>
                <a:lnTo>
                  <a:pt x="1123854" y="234265"/>
                </a:lnTo>
                <a:lnTo>
                  <a:pt x="1134022" y="235864"/>
                </a:lnTo>
                <a:lnTo>
                  <a:pt x="1144905" y="236397"/>
                </a:lnTo>
                <a:lnTo>
                  <a:pt x="1172835" y="232226"/>
                </a:lnTo>
                <a:lnTo>
                  <a:pt x="1192620" y="219824"/>
                </a:lnTo>
                <a:lnTo>
                  <a:pt x="1144651" y="219824"/>
                </a:lnTo>
                <a:lnTo>
                  <a:pt x="1135272" y="219114"/>
                </a:lnTo>
                <a:lnTo>
                  <a:pt x="1125632" y="216985"/>
                </a:lnTo>
                <a:lnTo>
                  <a:pt x="1115754" y="213437"/>
                </a:lnTo>
                <a:lnTo>
                  <a:pt x="1105662" y="208470"/>
                </a:lnTo>
                <a:close/>
              </a:path>
              <a:path w="1209039" h="236854">
                <a:moveTo>
                  <a:pt x="1208786" y="159016"/>
                </a:moveTo>
                <a:lnTo>
                  <a:pt x="1189355" y="159016"/>
                </a:lnTo>
                <a:lnTo>
                  <a:pt x="1189240" y="173120"/>
                </a:lnTo>
                <a:lnTo>
                  <a:pt x="1186566" y="193072"/>
                </a:lnTo>
                <a:lnTo>
                  <a:pt x="1178194" y="207935"/>
                </a:lnTo>
                <a:lnTo>
                  <a:pt x="1164226" y="216852"/>
                </a:lnTo>
                <a:lnTo>
                  <a:pt x="1144651" y="219824"/>
                </a:lnTo>
                <a:lnTo>
                  <a:pt x="1192620" y="219824"/>
                </a:lnTo>
                <a:lnTo>
                  <a:pt x="1192799" y="219711"/>
                </a:lnTo>
                <a:lnTo>
                  <a:pt x="1204787" y="198855"/>
                </a:lnTo>
                <a:lnTo>
                  <a:pt x="1208786" y="169659"/>
                </a:lnTo>
                <a:lnTo>
                  <a:pt x="1208786" y="159016"/>
                </a:lnTo>
                <a:close/>
              </a:path>
              <a:path w="1209039" h="236854">
                <a:moveTo>
                  <a:pt x="1152525" y="55371"/>
                </a:moveTo>
                <a:lnTo>
                  <a:pt x="1111885" y="73583"/>
                </a:lnTo>
                <a:lnTo>
                  <a:pt x="1097234" y="121386"/>
                </a:lnTo>
                <a:lnTo>
                  <a:pt x="1097278" y="124587"/>
                </a:lnTo>
                <a:lnTo>
                  <a:pt x="1110869" y="166052"/>
                </a:lnTo>
                <a:lnTo>
                  <a:pt x="1147318" y="182206"/>
                </a:lnTo>
                <a:lnTo>
                  <a:pt x="1160289" y="180756"/>
                </a:lnTo>
                <a:lnTo>
                  <a:pt x="1171559" y="176407"/>
                </a:lnTo>
                <a:lnTo>
                  <a:pt x="1181090" y="169160"/>
                </a:lnTo>
                <a:lnTo>
                  <a:pt x="1183602" y="165874"/>
                </a:lnTo>
                <a:lnTo>
                  <a:pt x="1152525" y="165874"/>
                </a:lnTo>
                <a:lnTo>
                  <a:pt x="1144906" y="165117"/>
                </a:lnTo>
                <a:lnTo>
                  <a:pt x="1117582" y="130996"/>
                </a:lnTo>
                <a:lnTo>
                  <a:pt x="1116964" y="121386"/>
                </a:lnTo>
                <a:lnTo>
                  <a:pt x="1117605" y="110268"/>
                </a:lnTo>
                <a:lnTo>
                  <a:pt x="1139269" y="74960"/>
                </a:lnTo>
                <a:lnTo>
                  <a:pt x="1155319" y="71691"/>
                </a:lnTo>
                <a:lnTo>
                  <a:pt x="1186264" y="71691"/>
                </a:lnTo>
                <a:lnTo>
                  <a:pt x="1182153" y="66414"/>
                </a:lnTo>
                <a:lnTo>
                  <a:pt x="1173876" y="60278"/>
                </a:lnTo>
                <a:lnTo>
                  <a:pt x="1164004" y="56598"/>
                </a:lnTo>
                <a:lnTo>
                  <a:pt x="1152525" y="55371"/>
                </a:lnTo>
                <a:close/>
              </a:path>
              <a:path w="1209039" h="236854">
                <a:moveTo>
                  <a:pt x="1186264" y="71691"/>
                </a:moveTo>
                <a:lnTo>
                  <a:pt x="1155319" y="71691"/>
                </a:lnTo>
                <a:lnTo>
                  <a:pt x="1162270" y="72334"/>
                </a:lnTo>
                <a:lnTo>
                  <a:pt x="1168638" y="74264"/>
                </a:lnTo>
                <a:lnTo>
                  <a:pt x="1189355" y="106718"/>
                </a:lnTo>
                <a:lnTo>
                  <a:pt x="1189355" y="124587"/>
                </a:lnTo>
                <a:lnTo>
                  <a:pt x="1173670" y="159354"/>
                </a:lnTo>
                <a:lnTo>
                  <a:pt x="1152525" y="165874"/>
                </a:lnTo>
                <a:lnTo>
                  <a:pt x="1183602" y="165874"/>
                </a:lnTo>
                <a:lnTo>
                  <a:pt x="1188847" y="159016"/>
                </a:lnTo>
                <a:lnTo>
                  <a:pt x="1208786" y="159016"/>
                </a:lnTo>
                <a:lnTo>
                  <a:pt x="1208786" y="75006"/>
                </a:lnTo>
                <a:lnTo>
                  <a:pt x="1188847" y="75006"/>
                </a:lnTo>
                <a:lnTo>
                  <a:pt x="1186264" y="71691"/>
                </a:lnTo>
                <a:close/>
              </a:path>
              <a:path w="1209039" h="236854">
                <a:moveTo>
                  <a:pt x="1208786" y="58204"/>
                </a:moveTo>
                <a:lnTo>
                  <a:pt x="1189355" y="58204"/>
                </a:lnTo>
                <a:lnTo>
                  <a:pt x="1189355" y="75006"/>
                </a:lnTo>
                <a:lnTo>
                  <a:pt x="1208786" y="75006"/>
                </a:lnTo>
                <a:lnTo>
                  <a:pt x="1208786" y="58204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729190" y="3881802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89" h="429895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D73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3268396" y="3987845"/>
            <a:ext cx="282072" cy="196654"/>
          </a:xfrm>
          <a:custGeom>
            <a:avLst/>
            <a:gdLst/>
            <a:ahLst/>
            <a:cxnLst/>
            <a:rect l="l" t="t" r="r" b="b"/>
            <a:pathLst>
              <a:path w="383539" h="200660">
                <a:moveTo>
                  <a:pt x="82423" y="0"/>
                </a:moveTo>
                <a:lnTo>
                  <a:pt x="34274" y="13715"/>
                </a:lnTo>
                <a:lnTo>
                  <a:pt x="5540" y="52879"/>
                </a:lnTo>
                <a:lnTo>
                  <a:pt x="0" y="89661"/>
                </a:lnTo>
                <a:lnTo>
                  <a:pt x="1357" y="107809"/>
                </a:lnTo>
                <a:lnTo>
                  <a:pt x="21716" y="151510"/>
                </a:lnTo>
                <a:lnTo>
                  <a:pt x="62382" y="173888"/>
                </a:lnTo>
                <a:lnTo>
                  <a:pt x="79501" y="175386"/>
                </a:lnTo>
                <a:lnTo>
                  <a:pt x="97049" y="173866"/>
                </a:lnTo>
                <a:lnTo>
                  <a:pt x="112728" y="169322"/>
                </a:lnTo>
                <a:lnTo>
                  <a:pt x="126525" y="161778"/>
                </a:lnTo>
                <a:lnTo>
                  <a:pt x="131388" y="157479"/>
                </a:lnTo>
                <a:lnTo>
                  <a:pt x="79501" y="157479"/>
                </a:lnTo>
                <a:lnTo>
                  <a:pt x="67069" y="156287"/>
                </a:lnTo>
                <a:lnTo>
                  <a:pt x="29989" y="128014"/>
                </a:lnTo>
                <a:lnTo>
                  <a:pt x="20827" y="87883"/>
                </a:lnTo>
                <a:lnTo>
                  <a:pt x="21875" y="72947"/>
                </a:lnTo>
                <a:lnTo>
                  <a:pt x="37591" y="37210"/>
                </a:lnTo>
                <a:lnTo>
                  <a:pt x="81025" y="17906"/>
                </a:lnTo>
                <a:lnTo>
                  <a:pt x="132640" y="17906"/>
                </a:lnTo>
                <a:lnTo>
                  <a:pt x="127446" y="13287"/>
                </a:lnTo>
                <a:lnTo>
                  <a:pt x="114125" y="5905"/>
                </a:lnTo>
                <a:lnTo>
                  <a:pt x="99113" y="1476"/>
                </a:lnTo>
                <a:lnTo>
                  <a:pt x="82423" y="0"/>
                </a:lnTo>
                <a:close/>
              </a:path>
              <a:path w="383539" h="200660">
                <a:moveTo>
                  <a:pt x="132640" y="17906"/>
                </a:moveTo>
                <a:lnTo>
                  <a:pt x="81025" y="17906"/>
                </a:lnTo>
                <a:lnTo>
                  <a:pt x="94003" y="19069"/>
                </a:lnTo>
                <a:lnTo>
                  <a:pt x="105505" y="22542"/>
                </a:lnTo>
                <a:lnTo>
                  <a:pt x="135794" y="58435"/>
                </a:lnTo>
                <a:lnTo>
                  <a:pt x="139609" y="89661"/>
                </a:lnTo>
                <a:lnTo>
                  <a:pt x="138697" y="103741"/>
                </a:lnTo>
                <a:lnTo>
                  <a:pt x="123571" y="139191"/>
                </a:lnTo>
                <a:lnTo>
                  <a:pt x="79501" y="157479"/>
                </a:lnTo>
                <a:lnTo>
                  <a:pt x="131388" y="157479"/>
                </a:lnTo>
                <a:lnTo>
                  <a:pt x="155003" y="122697"/>
                </a:lnTo>
                <a:lnTo>
                  <a:pt x="160527" y="85470"/>
                </a:lnTo>
                <a:lnTo>
                  <a:pt x="159174" y="67306"/>
                </a:lnTo>
                <a:lnTo>
                  <a:pt x="155130" y="50926"/>
                </a:lnTo>
                <a:lnTo>
                  <a:pt x="148393" y="36321"/>
                </a:lnTo>
                <a:lnTo>
                  <a:pt x="139064" y="23621"/>
                </a:lnTo>
                <a:lnTo>
                  <a:pt x="132640" y="17906"/>
                </a:lnTo>
                <a:close/>
              </a:path>
              <a:path w="383539" h="200660">
                <a:moveTo>
                  <a:pt x="267969" y="2793"/>
                </a:moveTo>
                <a:lnTo>
                  <a:pt x="249681" y="2793"/>
                </a:lnTo>
                <a:lnTo>
                  <a:pt x="168528" y="200659"/>
                </a:lnTo>
                <a:lnTo>
                  <a:pt x="186562" y="200659"/>
                </a:lnTo>
                <a:lnTo>
                  <a:pt x="267969" y="2793"/>
                </a:lnTo>
                <a:close/>
              </a:path>
              <a:path w="383539" h="200660">
                <a:moveTo>
                  <a:pt x="280669" y="142239"/>
                </a:moveTo>
                <a:lnTo>
                  <a:pt x="280669" y="165607"/>
                </a:lnTo>
                <a:lnTo>
                  <a:pt x="282828" y="167131"/>
                </a:lnTo>
                <a:lnTo>
                  <a:pt x="285750" y="168528"/>
                </a:lnTo>
                <a:lnTo>
                  <a:pt x="289433" y="169671"/>
                </a:lnTo>
                <a:lnTo>
                  <a:pt x="293115" y="170941"/>
                </a:lnTo>
                <a:lnTo>
                  <a:pt x="313181" y="174624"/>
                </a:lnTo>
                <a:lnTo>
                  <a:pt x="317118" y="175132"/>
                </a:lnTo>
                <a:lnTo>
                  <a:pt x="320421" y="175386"/>
                </a:lnTo>
                <a:lnTo>
                  <a:pt x="331088" y="175386"/>
                </a:lnTo>
                <a:lnTo>
                  <a:pt x="338836" y="174497"/>
                </a:lnTo>
                <a:lnTo>
                  <a:pt x="346075" y="172846"/>
                </a:lnTo>
                <a:lnTo>
                  <a:pt x="353313" y="171322"/>
                </a:lnTo>
                <a:lnTo>
                  <a:pt x="359663" y="168655"/>
                </a:lnTo>
                <a:lnTo>
                  <a:pt x="365251" y="165099"/>
                </a:lnTo>
                <a:lnTo>
                  <a:pt x="370839" y="161416"/>
                </a:lnTo>
                <a:lnTo>
                  <a:pt x="374564" y="157479"/>
                </a:lnTo>
                <a:lnTo>
                  <a:pt x="322579" y="157479"/>
                </a:lnTo>
                <a:lnTo>
                  <a:pt x="318769" y="157098"/>
                </a:lnTo>
                <a:lnTo>
                  <a:pt x="283337" y="144525"/>
                </a:lnTo>
                <a:lnTo>
                  <a:pt x="280669" y="142239"/>
                </a:lnTo>
                <a:close/>
              </a:path>
              <a:path w="383539" h="200660">
                <a:moveTo>
                  <a:pt x="339725" y="0"/>
                </a:moveTo>
                <a:lnTo>
                  <a:pt x="332486" y="0"/>
                </a:lnTo>
                <a:lnTo>
                  <a:pt x="325247" y="888"/>
                </a:lnTo>
                <a:lnTo>
                  <a:pt x="318135" y="2666"/>
                </a:lnTo>
                <a:lnTo>
                  <a:pt x="311150" y="4571"/>
                </a:lnTo>
                <a:lnTo>
                  <a:pt x="304800" y="7238"/>
                </a:lnTo>
                <a:lnTo>
                  <a:pt x="299338" y="11048"/>
                </a:lnTo>
                <a:lnTo>
                  <a:pt x="293750" y="14731"/>
                </a:lnTo>
                <a:lnTo>
                  <a:pt x="289305" y="19430"/>
                </a:lnTo>
                <a:lnTo>
                  <a:pt x="285876" y="25145"/>
                </a:lnTo>
                <a:lnTo>
                  <a:pt x="282575" y="30860"/>
                </a:lnTo>
                <a:lnTo>
                  <a:pt x="280797" y="37591"/>
                </a:lnTo>
                <a:lnTo>
                  <a:pt x="280797" y="51561"/>
                </a:lnTo>
                <a:lnTo>
                  <a:pt x="306450" y="84581"/>
                </a:lnTo>
                <a:lnTo>
                  <a:pt x="311530" y="87629"/>
                </a:lnTo>
                <a:lnTo>
                  <a:pt x="317118" y="90677"/>
                </a:lnTo>
                <a:lnTo>
                  <a:pt x="322961" y="93725"/>
                </a:lnTo>
                <a:lnTo>
                  <a:pt x="328549" y="96519"/>
                </a:lnTo>
                <a:lnTo>
                  <a:pt x="333755" y="99186"/>
                </a:lnTo>
                <a:lnTo>
                  <a:pt x="338709" y="101853"/>
                </a:lnTo>
                <a:lnTo>
                  <a:pt x="343535" y="104393"/>
                </a:lnTo>
                <a:lnTo>
                  <a:pt x="347725" y="107060"/>
                </a:lnTo>
                <a:lnTo>
                  <a:pt x="354838" y="112648"/>
                </a:lnTo>
                <a:lnTo>
                  <a:pt x="357631" y="115696"/>
                </a:lnTo>
                <a:lnTo>
                  <a:pt x="359537" y="119125"/>
                </a:lnTo>
                <a:lnTo>
                  <a:pt x="361568" y="122554"/>
                </a:lnTo>
                <a:lnTo>
                  <a:pt x="362585" y="126491"/>
                </a:lnTo>
                <a:lnTo>
                  <a:pt x="362585" y="139572"/>
                </a:lnTo>
                <a:lnTo>
                  <a:pt x="326136" y="157479"/>
                </a:lnTo>
                <a:lnTo>
                  <a:pt x="374564" y="157479"/>
                </a:lnTo>
                <a:lnTo>
                  <a:pt x="375285" y="156717"/>
                </a:lnTo>
                <a:lnTo>
                  <a:pt x="378680" y="150494"/>
                </a:lnTo>
                <a:lnTo>
                  <a:pt x="381762" y="145160"/>
                </a:lnTo>
                <a:lnTo>
                  <a:pt x="383413" y="138048"/>
                </a:lnTo>
                <a:lnTo>
                  <a:pt x="383413" y="123316"/>
                </a:lnTo>
                <a:lnTo>
                  <a:pt x="382269" y="117728"/>
                </a:lnTo>
                <a:lnTo>
                  <a:pt x="379733" y="112648"/>
                </a:lnTo>
                <a:lnTo>
                  <a:pt x="377443" y="107949"/>
                </a:lnTo>
                <a:lnTo>
                  <a:pt x="344550" y="82041"/>
                </a:lnTo>
                <a:lnTo>
                  <a:pt x="327278" y="73405"/>
                </a:lnTo>
                <a:lnTo>
                  <a:pt x="322834" y="70992"/>
                </a:lnTo>
                <a:lnTo>
                  <a:pt x="318262" y="68579"/>
                </a:lnTo>
                <a:lnTo>
                  <a:pt x="314451" y="66039"/>
                </a:lnTo>
                <a:lnTo>
                  <a:pt x="311276" y="63372"/>
                </a:lnTo>
                <a:lnTo>
                  <a:pt x="308101" y="60832"/>
                </a:lnTo>
                <a:lnTo>
                  <a:pt x="305688" y="57911"/>
                </a:lnTo>
                <a:lnTo>
                  <a:pt x="304038" y="54736"/>
                </a:lnTo>
                <a:lnTo>
                  <a:pt x="302513" y="51561"/>
                </a:lnTo>
                <a:lnTo>
                  <a:pt x="301625" y="47878"/>
                </a:lnTo>
                <a:lnTo>
                  <a:pt x="301625" y="38861"/>
                </a:lnTo>
                <a:lnTo>
                  <a:pt x="302767" y="34924"/>
                </a:lnTo>
                <a:lnTo>
                  <a:pt x="304926" y="31749"/>
                </a:lnTo>
                <a:lnTo>
                  <a:pt x="306959" y="28447"/>
                </a:lnTo>
                <a:lnTo>
                  <a:pt x="309752" y="25780"/>
                </a:lnTo>
                <a:lnTo>
                  <a:pt x="313181" y="23748"/>
                </a:lnTo>
                <a:lnTo>
                  <a:pt x="316484" y="21716"/>
                </a:lnTo>
                <a:lnTo>
                  <a:pt x="320421" y="20192"/>
                </a:lnTo>
                <a:lnTo>
                  <a:pt x="329056" y="18414"/>
                </a:lnTo>
                <a:lnTo>
                  <a:pt x="333375" y="17906"/>
                </a:lnTo>
                <a:lnTo>
                  <a:pt x="376300" y="17906"/>
                </a:lnTo>
                <a:lnTo>
                  <a:pt x="376300" y="5968"/>
                </a:lnTo>
                <a:lnTo>
                  <a:pt x="369728" y="3375"/>
                </a:lnTo>
                <a:lnTo>
                  <a:pt x="361441" y="1508"/>
                </a:lnTo>
                <a:lnTo>
                  <a:pt x="351440" y="379"/>
                </a:lnTo>
                <a:lnTo>
                  <a:pt x="339725" y="0"/>
                </a:lnTo>
                <a:close/>
              </a:path>
              <a:path w="383539" h="200660">
                <a:moveTo>
                  <a:pt x="376300" y="17906"/>
                </a:moveTo>
                <a:lnTo>
                  <a:pt x="337819" y="17906"/>
                </a:lnTo>
                <a:lnTo>
                  <a:pt x="349011" y="18569"/>
                </a:lnTo>
                <a:lnTo>
                  <a:pt x="359155" y="20542"/>
                </a:lnTo>
                <a:lnTo>
                  <a:pt x="368252" y="23800"/>
                </a:lnTo>
                <a:lnTo>
                  <a:pt x="376300" y="28320"/>
                </a:lnTo>
                <a:lnTo>
                  <a:pt x="376300" y="17906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729190" y="3378467"/>
            <a:ext cx="1360858" cy="423180"/>
          </a:xfrm>
          <a:custGeom>
            <a:avLst/>
            <a:gdLst/>
            <a:ahLst/>
            <a:cxnLst/>
            <a:rect l="l" t="t" r="r" b="b"/>
            <a:pathLst>
              <a:path w="1850389" h="431800">
                <a:moveTo>
                  <a:pt x="0" y="431292"/>
                </a:moveTo>
                <a:lnTo>
                  <a:pt x="1850136" y="431292"/>
                </a:lnTo>
                <a:lnTo>
                  <a:pt x="1850136" y="0"/>
                </a:lnTo>
                <a:lnTo>
                  <a:pt x="0" y="0"/>
                </a:lnTo>
                <a:lnTo>
                  <a:pt x="0" y="431292"/>
                </a:lnTo>
                <a:close/>
              </a:path>
            </a:pathLst>
          </a:custGeom>
          <a:solidFill>
            <a:srgbClr val="D73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962786" y="3478039"/>
            <a:ext cx="902725" cy="178607"/>
          </a:xfrm>
          <a:custGeom>
            <a:avLst/>
            <a:gdLst/>
            <a:ahLst/>
            <a:cxnLst/>
            <a:rect l="l" t="t" r="r" b="b"/>
            <a:pathLst>
              <a:path w="1227454" h="182245">
                <a:moveTo>
                  <a:pt x="26288" y="9779"/>
                </a:moveTo>
                <a:lnTo>
                  <a:pt x="0" y="9779"/>
                </a:lnTo>
                <a:lnTo>
                  <a:pt x="0" y="179450"/>
                </a:lnTo>
                <a:lnTo>
                  <a:pt x="19177" y="179450"/>
                </a:lnTo>
                <a:lnTo>
                  <a:pt x="19107" y="55070"/>
                </a:lnTo>
                <a:lnTo>
                  <a:pt x="18896" y="45720"/>
                </a:lnTo>
                <a:lnTo>
                  <a:pt x="18587" y="38496"/>
                </a:lnTo>
                <a:lnTo>
                  <a:pt x="18161" y="32638"/>
                </a:lnTo>
                <a:lnTo>
                  <a:pt x="36356" y="32638"/>
                </a:lnTo>
                <a:lnTo>
                  <a:pt x="26288" y="9779"/>
                </a:lnTo>
                <a:close/>
              </a:path>
              <a:path w="1227454" h="182245">
                <a:moveTo>
                  <a:pt x="36356" y="32638"/>
                </a:moveTo>
                <a:lnTo>
                  <a:pt x="18669" y="32638"/>
                </a:lnTo>
                <a:lnTo>
                  <a:pt x="20447" y="40386"/>
                </a:lnTo>
                <a:lnTo>
                  <a:pt x="22098" y="46227"/>
                </a:lnTo>
                <a:lnTo>
                  <a:pt x="23749" y="50037"/>
                </a:lnTo>
                <a:lnTo>
                  <a:pt x="81661" y="179450"/>
                </a:lnTo>
                <a:lnTo>
                  <a:pt x="91312" y="179450"/>
                </a:lnTo>
                <a:lnTo>
                  <a:pt x="105102" y="148462"/>
                </a:lnTo>
                <a:lnTo>
                  <a:pt x="86106" y="148462"/>
                </a:lnTo>
                <a:lnTo>
                  <a:pt x="84962" y="143891"/>
                </a:lnTo>
                <a:lnTo>
                  <a:pt x="82296" y="137160"/>
                </a:lnTo>
                <a:lnTo>
                  <a:pt x="78359" y="128016"/>
                </a:lnTo>
                <a:lnTo>
                  <a:pt x="36356" y="32638"/>
                </a:lnTo>
                <a:close/>
              </a:path>
              <a:path w="1227454" h="182245">
                <a:moveTo>
                  <a:pt x="172974" y="32638"/>
                </a:moveTo>
                <a:lnTo>
                  <a:pt x="154812" y="32638"/>
                </a:lnTo>
                <a:lnTo>
                  <a:pt x="154126" y="41995"/>
                </a:lnTo>
                <a:lnTo>
                  <a:pt x="153606" y="50625"/>
                </a:lnTo>
                <a:lnTo>
                  <a:pt x="153277" y="58517"/>
                </a:lnTo>
                <a:lnTo>
                  <a:pt x="153162" y="179450"/>
                </a:lnTo>
                <a:lnTo>
                  <a:pt x="172974" y="179450"/>
                </a:lnTo>
                <a:lnTo>
                  <a:pt x="172974" y="32638"/>
                </a:lnTo>
                <a:close/>
              </a:path>
              <a:path w="1227454" h="182245">
                <a:moveTo>
                  <a:pt x="172974" y="9779"/>
                </a:moveTo>
                <a:lnTo>
                  <a:pt x="148082" y="9779"/>
                </a:lnTo>
                <a:lnTo>
                  <a:pt x="94996" y="127635"/>
                </a:lnTo>
                <a:lnTo>
                  <a:pt x="92963" y="132207"/>
                </a:lnTo>
                <a:lnTo>
                  <a:pt x="90297" y="139064"/>
                </a:lnTo>
                <a:lnTo>
                  <a:pt x="86868" y="148462"/>
                </a:lnTo>
                <a:lnTo>
                  <a:pt x="105102" y="148462"/>
                </a:lnTo>
                <a:lnTo>
                  <a:pt x="149352" y="49022"/>
                </a:lnTo>
                <a:lnTo>
                  <a:pt x="150875" y="45720"/>
                </a:lnTo>
                <a:lnTo>
                  <a:pt x="152527" y="40259"/>
                </a:lnTo>
                <a:lnTo>
                  <a:pt x="154432" y="32638"/>
                </a:lnTo>
                <a:lnTo>
                  <a:pt x="172974" y="32638"/>
                </a:lnTo>
                <a:lnTo>
                  <a:pt x="172974" y="9779"/>
                </a:lnTo>
                <a:close/>
              </a:path>
              <a:path w="1227454" h="182245">
                <a:moveTo>
                  <a:pt x="228854" y="2286"/>
                </a:moveTo>
                <a:lnTo>
                  <a:pt x="221742" y="2286"/>
                </a:lnTo>
                <a:lnTo>
                  <a:pt x="218821" y="3556"/>
                </a:lnTo>
                <a:lnTo>
                  <a:pt x="213995" y="8382"/>
                </a:lnTo>
                <a:lnTo>
                  <a:pt x="212725" y="11302"/>
                </a:lnTo>
                <a:lnTo>
                  <a:pt x="212725" y="18542"/>
                </a:lnTo>
                <a:lnTo>
                  <a:pt x="213995" y="21589"/>
                </a:lnTo>
                <a:lnTo>
                  <a:pt x="216408" y="24002"/>
                </a:lnTo>
                <a:lnTo>
                  <a:pt x="218821" y="26288"/>
                </a:lnTo>
                <a:lnTo>
                  <a:pt x="221742" y="27559"/>
                </a:lnTo>
                <a:lnTo>
                  <a:pt x="228854" y="27559"/>
                </a:lnTo>
                <a:lnTo>
                  <a:pt x="237998" y="11302"/>
                </a:lnTo>
                <a:lnTo>
                  <a:pt x="236855" y="8382"/>
                </a:lnTo>
                <a:lnTo>
                  <a:pt x="231775" y="3556"/>
                </a:lnTo>
                <a:lnTo>
                  <a:pt x="228854" y="2286"/>
                </a:lnTo>
                <a:close/>
              </a:path>
              <a:path w="1227454" h="182245">
                <a:moveTo>
                  <a:pt x="234696" y="58293"/>
                </a:moveTo>
                <a:lnTo>
                  <a:pt x="215265" y="58293"/>
                </a:lnTo>
                <a:lnTo>
                  <a:pt x="215265" y="179450"/>
                </a:lnTo>
                <a:lnTo>
                  <a:pt x="234696" y="179450"/>
                </a:lnTo>
                <a:lnTo>
                  <a:pt x="234696" y="58293"/>
                </a:lnTo>
                <a:close/>
              </a:path>
              <a:path w="1227454" h="182245">
                <a:moveTo>
                  <a:pt x="321945" y="55372"/>
                </a:moveTo>
                <a:lnTo>
                  <a:pt x="281686" y="73533"/>
                </a:lnTo>
                <a:lnTo>
                  <a:pt x="266446" y="121666"/>
                </a:lnTo>
                <a:lnTo>
                  <a:pt x="267303" y="134949"/>
                </a:lnTo>
                <a:lnTo>
                  <a:pt x="287571" y="173083"/>
                </a:lnTo>
                <a:lnTo>
                  <a:pt x="316611" y="182245"/>
                </a:lnTo>
                <a:lnTo>
                  <a:pt x="329781" y="180790"/>
                </a:lnTo>
                <a:lnTo>
                  <a:pt x="341106" y="176418"/>
                </a:lnTo>
                <a:lnTo>
                  <a:pt x="350597" y="169118"/>
                </a:lnTo>
                <a:lnTo>
                  <a:pt x="352940" y="165988"/>
                </a:lnTo>
                <a:lnTo>
                  <a:pt x="322325" y="165988"/>
                </a:lnTo>
                <a:lnTo>
                  <a:pt x="314541" y="165227"/>
                </a:lnTo>
                <a:lnTo>
                  <a:pt x="286984" y="130686"/>
                </a:lnTo>
                <a:lnTo>
                  <a:pt x="286385" y="120776"/>
                </a:lnTo>
                <a:lnTo>
                  <a:pt x="287008" y="109892"/>
                </a:lnTo>
                <a:lnTo>
                  <a:pt x="308610" y="75009"/>
                </a:lnTo>
                <a:lnTo>
                  <a:pt x="324485" y="71755"/>
                </a:lnTo>
                <a:lnTo>
                  <a:pt x="355770" y="71755"/>
                </a:lnTo>
                <a:lnTo>
                  <a:pt x="351770" y="66462"/>
                </a:lnTo>
                <a:lnTo>
                  <a:pt x="343535" y="60309"/>
                </a:lnTo>
                <a:lnTo>
                  <a:pt x="333585" y="56608"/>
                </a:lnTo>
                <a:lnTo>
                  <a:pt x="321945" y="55372"/>
                </a:lnTo>
                <a:close/>
              </a:path>
              <a:path w="1227454" h="182245">
                <a:moveTo>
                  <a:pt x="378206" y="158876"/>
                </a:moveTo>
                <a:lnTo>
                  <a:pt x="358775" y="158876"/>
                </a:lnTo>
                <a:lnTo>
                  <a:pt x="358775" y="179450"/>
                </a:lnTo>
                <a:lnTo>
                  <a:pt x="378206" y="179450"/>
                </a:lnTo>
                <a:lnTo>
                  <a:pt x="378206" y="158876"/>
                </a:lnTo>
                <a:close/>
              </a:path>
              <a:path w="1227454" h="182245">
                <a:moveTo>
                  <a:pt x="355770" y="71755"/>
                </a:moveTo>
                <a:lnTo>
                  <a:pt x="324485" y="71755"/>
                </a:lnTo>
                <a:lnTo>
                  <a:pt x="331602" y="72395"/>
                </a:lnTo>
                <a:lnTo>
                  <a:pt x="338089" y="74310"/>
                </a:lnTo>
                <a:lnTo>
                  <a:pt x="358775" y="106807"/>
                </a:lnTo>
                <a:lnTo>
                  <a:pt x="358775" y="124587"/>
                </a:lnTo>
                <a:lnTo>
                  <a:pt x="336994" y="163036"/>
                </a:lnTo>
                <a:lnTo>
                  <a:pt x="322325" y="165988"/>
                </a:lnTo>
                <a:lnTo>
                  <a:pt x="352940" y="165988"/>
                </a:lnTo>
                <a:lnTo>
                  <a:pt x="358267" y="158876"/>
                </a:lnTo>
                <a:lnTo>
                  <a:pt x="378206" y="158876"/>
                </a:lnTo>
                <a:lnTo>
                  <a:pt x="378206" y="75057"/>
                </a:lnTo>
                <a:lnTo>
                  <a:pt x="358267" y="75057"/>
                </a:lnTo>
                <a:lnTo>
                  <a:pt x="355770" y="71755"/>
                </a:lnTo>
                <a:close/>
              </a:path>
              <a:path w="1227454" h="182245">
                <a:moveTo>
                  <a:pt x="378206" y="0"/>
                </a:moveTo>
                <a:lnTo>
                  <a:pt x="358775" y="0"/>
                </a:lnTo>
                <a:lnTo>
                  <a:pt x="358775" y="75057"/>
                </a:lnTo>
                <a:lnTo>
                  <a:pt x="378206" y="75057"/>
                </a:lnTo>
                <a:lnTo>
                  <a:pt x="378206" y="0"/>
                </a:lnTo>
                <a:close/>
              </a:path>
              <a:path w="1227454" h="182245">
                <a:moveTo>
                  <a:pt x="465200" y="55372"/>
                </a:moveTo>
                <a:lnTo>
                  <a:pt x="424942" y="73533"/>
                </a:lnTo>
                <a:lnTo>
                  <a:pt x="409702" y="121666"/>
                </a:lnTo>
                <a:lnTo>
                  <a:pt x="410559" y="134949"/>
                </a:lnTo>
                <a:lnTo>
                  <a:pt x="430827" y="173083"/>
                </a:lnTo>
                <a:lnTo>
                  <a:pt x="459867" y="182245"/>
                </a:lnTo>
                <a:lnTo>
                  <a:pt x="473037" y="180790"/>
                </a:lnTo>
                <a:lnTo>
                  <a:pt x="484362" y="176418"/>
                </a:lnTo>
                <a:lnTo>
                  <a:pt x="493853" y="169118"/>
                </a:lnTo>
                <a:lnTo>
                  <a:pt x="496196" y="165988"/>
                </a:lnTo>
                <a:lnTo>
                  <a:pt x="465582" y="165988"/>
                </a:lnTo>
                <a:lnTo>
                  <a:pt x="457797" y="165227"/>
                </a:lnTo>
                <a:lnTo>
                  <a:pt x="430240" y="130686"/>
                </a:lnTo>
                <a:lnTo>
                  <a:pt x="429641" y="120776"/>
                </a:lnTo>
                <a:lnTo>
                  <a:pt x="430264" y="109892"/>
                </a:lnTo>
                <a:lnTo>
                  <a:pt x="451866" y="75009"/>
                </a:lnTo>
                <a:lnTo>
                  <a:pt x="467741" y="71755"/>
                </a:lnTo>
                <a:lnTo>
                  <a:pt x="499026" y="71755"/>
                </a:lnTo>
                <a:lnTo>
                  <a:pt x="495026" y="66462"/>
                </a:lnTo>
                <a:lnTo>
                  <a:pt x="486790" y="60309"/>
                </a:lnTo>
                <a:lnTo>
                  <a:pt x="476841" y="56608"/>
                </a:lnTo>
                <a:lnTo>
                  <a:pt x="465200" y="55372"/>
                </a:lnTo>
                <a:close/>
              </a:path>
              <a:path w="1227454" h="182245">
                <a:moveTo>
                  <a:pt x="521462" y="158876"/>
                </a:moveTo>
                <a:lnTo>
                  <a:pt x="502031" y="158876"/>
                </a:lnTo>
                <a:lnTo>
                  <a:pt x="502031" y="179450"/>
                </a:lnTo>
                <a:lnTo>
                  <a:pt x="521462" y="179450"/>
                </a:lnTo>
                <a:lnTo>
                  <a:pt x="521462" y="158876"/>
                </a:lnTo>
                <a:close/>
              </a:path>
              <a:path w="1227454" h="182245">
                <a:moveTo>
                  <a:pt x="499026" y="71755"/>
                </a:moveTo>
                <a:lnTo>
                  <a:pt x="467741" y="71755"/>
                </a:lnTo>
                <a:lnTo>
                  <a:pt x="474858" y="72395"/>
                </a:lnTo>
                <a:lnTo>
                  <a:pt x="481345" y="74310"/>
                </a:lnTo>
                <a:lnTo>
                  <a:pt x="502031" y="106807"/>
                </a:lnTo>
                <a:lnTo>
                  <a:pt x="502031" y="124587"/>
                </a:lnTo>
                <a:lnTo>
                  <a:pt x="480250" y="163036"/>
                </a:lnTo>
                <a:lnTo>
                  <a:pt x="465582" y="165988"/>
                </a:lnTo>
                <a:lnTo>
                  <a:pt x="496196" y="165988"/>
                </a:lnTo>
                <a:lnTo>
                  <a:pt x="501523" y="158876"/>
                </a:lnTo>
                <a:lnTo>
                  <a:pt x="521462" y="158876"/>
                </a:lnTo>
                <a:lnTo>
                  <a:pt x="521462" y="75057"/>
                </a:lnTo>
                <a:lnTo>
                  <a:pt x="501523" y="75057"/>
                </a:lnTo>
                <a:lnTo>
                  <a:pt x="499026" y="71755"/>
                </a:lnTo>
                <a:close/>
              </a:path>
              <a:path w="1227454" h="182245">
                <a:moveTo>
                  <a:pt x="521462" y="0"/>
                </a:moveTo>
                <a:lnTo>
                  <a:pt x="502031" y="0"/>
                </a:lnTo>
                <a:lnTo>
                  <a:pt x="502031" y="75057"/>
                </a:lnTo>
                <a:lnTo>
                  <a:pt x="521462" y="75057"/>
                </a:lnTo>
                <a:lnTo>
                  <a:pt x="521462" y="0"/>
                </a:lnTo>
                <a:close/>
              </a:path>
              <a:path w="1227454" h="182245">
                <a:moveTo>
                  <a:pt x="580644" y="0"/>
                </a:moveTo>
                <a:lnTo>
                  <a:pt x="561213" y="0"/>
                </a:lnTo>
                <a:lnTo>
                  <a:pt x="561213" y="179450"/>
                </a:lnTo>
                <a:lnTo>
                  <a:pt x="580644" y="179450"/>
                </a:lnTo>
                <a:lnTo>
                  <a:pt x="580644" y="0"/>
                </a:lnTo>
                <a:close/>
              </a:path>
              <a:path w="1227454" h="182245">
                <a:moveTo>
                  <a:pt x="668274" y="55372"/>
                </a:moveTo>
                <a:lnTo>
                  <a:pt x="628523" y="73279"/>
                </a:lnTo>
                <a:lnTo>
                  <a:pt x="612394" y="119380"/>
                </a:lnTo>
                <a:lnTo>
                  <a:pt x="613320" y="133498"/>
                </a:lnTo>
                <a:lnTo>
                  <a:pt x="635148" y="172975"/>
                </a:lnTo>
                <a:lnTo>
                  <a:pt x="667385" y="182245"/>
                </a:lnTo>
                <a:lnTo>
                  <a:pt x="679886" y="181528"/>
                </a:lnTo>
                <a:lnTo>
                  <a:pt x="691102" y="179371"/>
                </a:lnTo>
                <a:lnTo>
                  <a:pt x="701032" y="175762"/>
                </a:lnTo>
                <a:lnTo>
                  <a:pt x="709676" y="170687"/>
                </a:lnTo>
                <a:lnTo>
                  <a:pt x="709676" y="165988"/>
                </a:lnTo>
                <a:lnTo>
                  <a:pt x="672084" y="165988"/>
                </a:lnTo>
                <a:lnTo>
                  <a:pt x="663438" y="165298"/>
                </a:lnTo>
                <a:lnTo>
                  <a:pt x="633416" y="133223"/>
                </a:lnTo>
                <a:lnTo>
                  <a:pt x="632587" y="123698"/>
                </a:lnTo>
                <a:lnTo>
                  <a:pt x="718058" y="123698"/>
                </a:lnTo>
                <a:lnTo>
                  <a:pt x="718058" y="113537"/>
                </a:lnTo>
                <a:lnTo>
                  <a:pt x="717669" y="107314"/>
                </a:lnTo>
                <a:lnTo>
                  <a:pt x="632841" y="107314"/>
                </a:lnTo>
                <a:lnTo>
                  <a:pt x="634365" y="99714"/>
                </a:lnTo>
                <a:lnTo>
                  <a:pt x="658749" y="71755"/>
                </a:lnTo>
                <a:lnTo>
                  <a:pt x="705705" y="71755"/>
                </a:lnTo>
                <a:lnTo>
                  <a:pt x="705104" y="70866"/>
                </a:lnTo>
                <a:lnTo>
                  <a:pt x="697884" y="64105"/>
                </a:lnTo>
                <a:lnTo>
                  <a:pt x="689356" y="59261"/>
                </a:lnTo>
                <a:lnTo>
                  <a:pt x="679493" y="56346"/>
                </a:lnTo>
                <a:lnTo>
                  <a:pt x="668274" y="55372"/>
                </a:lnTo>
                <a:close/>
              </a:path>
              <a:path w="1227454" h="182245">
                <a:moveTo>
                  <a:pt x="709676" y="152400"/>
                </a:moveTo>
                <a:lnTo>
                  <a:pt x="700891" y="158327"/>
                </a:lnTo>
                <a:lnTo>
                  <a:pt x="691689" y="162575"/>
                </a:lnTo>
                <a:lnTo>
                  <a:pt x="682083" y="165133"/>
                </a:lnTo>
                <a:lnTo>
                  <a:pt x="672084" y="165988"/>
                </a:lnTo>
                <a:lnTo>
                  <a:pt x="709676" y="165988"/>
                </a:lnTo>
                <a:lnTo>
                  <a:pt x="709676" y="152400"/>
                </a:lnTo>
                <a:close/>
              </a:path>
              <a:path w="1227454" h="182245">
                <a:moveTo>
                  <a:pt x="705705" y="71755"/>
                </a:moveTo>
                <a:lnTo>
                  <a:pt x="677418" y="71755"/>
                </a:lnTo>
                <a:lnTo>
                  <a:pt x="684784" y="74930"/>
                </a:lnTo>
                <a:lnTo>
                  <a:pt x="690118" y="81152"/>
                </a:lnTo>
                <a:lnTo>
                  <a:pt x="693620" y="86276"/>
                </a:lnTo>
                <a:lnTo>
                  <a:pt x="696134" y="92328"/>
                </a:lnTo>
                <a:lnTo>
                  <a:pt x="697672" y="99333"/>
                </a:lnTo>
                <a:lnTo>
                  <a:pt x="698246" y="107314"/>
                </a:lnTo>
                <a:lnTo>
                  <a:pt x="717669" y="107314"/>
                </a:lnTo>
                <a:lnTo>
                  <a:pt x="717248" y="100583"/>
                </a:lnTo>
                <a:lnTo>
                  <a:pt x="714819" y="89153"/>
                </a:lnTo>
                <a:lnTo>
                  <a:pt x="710771" y="79248"/>
                </a:lnTo>
                <a:lnTo>
                  <a:pt x="705705" y="71755"/>
                </a:lnTo>
                <a:close/>
              </a:path>
              <a:path w="1227454" h="182245">
                <a:moveTo>
                  <a:pt x="750697" y="58293"/>
                </a:moveTo>
                <a:lnTo>
                  <a:pt x="730377" y="58293"/>
                </a:lnTo>
                <a:lnTo>
                  <a:pt x="767080" y="179450"/>
                </a:lnTo>
                <a:lnTo>
                  <a:pt x="786511" y="179450"/>
                </a:lnTo>
                <a:lnTo>
                  <a:pt x="792474" y="160274"/>
                </a:lnTo>
                <a:lnTo>
                  <a:pt x="777494" y="160274"/>
                </a:lnTo>
                <a:lnTo>
                  <a:pt x="777240" y="155701"/>
                </a:lnTo>
                <a:lnTo>
                  <a:pt x="776605" y="152146"/>
                </a:lnTo>
                <a:lnTo>
                  <a:pt x="750697" y="58293"/>
                </a:lnTo>
                <a:close/>
              </a:path>
              <a:path w="1227454" h="182245">
                <a:moveTo>
                  <a:pt x="832595" y="81407"/>
                </a:moveTo>
                <a:lnTo>
                  <a:pt x="816483" y="81407"/>
                </a:lnTo>
                <a:lnTo>
                  <a:pt x="816863" y="85598"/>
                </a:lnTo>
                <a:lnTo>
                  <a:pt x="817499" y="89408"/>
                </a:lnTo>
                <a:lnTo>
                  <a:pt x="818388" y="92710"/>
                </a:lnTo>
                <a:lnTo>
                  <a:pt x="843407" y="179450"/>
                </a:lnTo>
                <a:lnTo>
                  <a:pt x="863473" y="179450"/>
                </a:lnTo>
                <a:lnTo>
                  <a:pt x="869145" y="160527"/>
                </a:lnTo>
                <a:lnTo>
                  <a:pt x="853059" y="160527"/>
                </a:lnTo>
                <a:lnTo>
                  <a:pt x="852678" y="156210"/>
                </a:lnTo>
                <a:lnTo>
                  <a:pt x="852170" y="152526"/>
                </a:lnTo>
                <a:lnTo>
                  <a:pt x="851281" y="149606"/>
                </a:lnTo>
                <a:lnTo>
                  <a:pt x="832595" y="81407"/>
                </a:lnTo>
                <a:close/>
              </a:path>
              <a:path w="1227454" h="182245">
                <a:moveTo>
                  <a:pt x="899795" y="58293"/>
                </a:moveTo>
                <a:lnTo>
                  <a:pt x="880618" y="58293"/>
                </a:lnTo>
                <a:lnTo>
                  <a:pt x="856107" y="149606"/>
                </a:lnTo>
                <a:lnTo>
                  <a:pt x="854837" y="153797"/>
                </a:lnTo>
                <a:lnTo>
                  <a:pt x="854202" y="157480"/>
                </a:lnTo>
                <a:lnTo>
                  <a:pt x="854075" y="160527"/>
                </a:lnTo>
                <a:lnTo>
                  <a:pt x="869145" y="160527"/>
                </a:lnTo>
                <a:lnTo>
                  <a:pt x="899795" y="58293"/>
                </a:lnTo>
                <a:close/>
              </a:path>
              <a:path w="1227454" h="182245">
                <a:moveTo>
                  <a:pt x="826262" y="58293"/>
                </a:moveTo>
                <a:lnTo>
                  <a:pt x="808482" y="58293"/>
                </a:lnTo>
                <a:lnTo>
                  <a:pt x="780542" y="149098"/>
                </a:lnTo>
                <a:lnTo>
                  <a:pt x="779399" y="153035"/>
                </a:lnTo>
                <a:lnTo>
                  <a:pt x="778637" y="156845"/>
                </a:lnTo>
                <a:lnTo>
                  <a:pt x="778383" y="160274"/>
                </a:lnTo>
                <a:lnTo>
                  <a:pt x="792474" y="160274"/>
                </a:lnTo>
                <a:lnTo>
                  <a:pt x="813562" y="92456"/>
                </a:lnTo>
                <a:lnTo>
                  <a:pt x="814959" y="88011"/>
                </a:lnTo>
                <a:lnTo>
                  <a:pt x="815848" y="84327"/>
                </a:lnTo>
                <a:lnTo>
                  <a:pt x="816102" y="81407"/>
                </a:lnTo>
                <a:lnTo>
                  <a:pt x="832595" y="81407"/>
                </a:lnTo>
                <a:lnTo>
                  <a:pt x="826262" y="58293"/>
                </a:lnTo>
                <a:close/>
              </a:path>
              <a:path w="1227454" h="182245">
                <a:moveTo>
                  <a:pt x="1001341" y="71755"/>
                </a:moveTo>
                <a:lnTo>
                  <a:pt x="964819" y="71755"/>
                </a:lnTo>
                <a:lnTo>
                  <a:pt x="975746" y="73683"/>
                </a:lnTo>
                <a:lnTo>
                  <a:pt x="983567" y="79470"/>
                </a:lnTo>
                <a:lnTo>
                  <a:pt x="988268" y="89114"/>
                </a:lnTo>
                <a:lnTo>
                  <a:pt x="989838" y="102616"/>
                </a:lnTo>
                <a:lnTo>
                  <a:pt x="953516" y="107696"/>
                </a:lnTo>
                <a:lnTo>
                  <a:pt x="936013" y="112242"/>
                </a:lnTo>
                <a:lnTo>
                  <a:pt x="923512" y="120348"/>
                </a:lnTo>
                <a:lnTo>
                  <a:pt x="916011" y="132002"/>
                </a:lnTo>
                <a:lnTo>
                  <a:pt x="913511" y="147193"/>
                </a:lnTo>
                <a:lnTo>
                  <a:pt x="914151" y="154771"/>
                </a:lnTo>
                <a:lnTo>
                  <a:pt x="943441" y="181649"/>
                </a:lnTo>
                <a:lnTo>
                  <a:pt x="951992" y="182245"/>
                </a:lnTo>
                <a:lnTo>
                  <a:pt x="963594" y="180887"/>
                </a:lnTo>
                <a:lnTo>
                  <a:pt x="973661" y="176815"/>
                </a:lnTo>
                <a:lnTo>
                  <a:pt x="982227" y="170029"/>
                </a:lnTo>
                <a:lnTo>
                  <a:pt x="985247" y="165988"/>
                </a:lnTo>
                <a:lnTo>
                  <a:pt x="949579" y="165988"/>
                </a:lnTo>
                <a:lnTo>
                  <a:pt x="943863" y="164084"/>
                </a:lnTo>
                <a:lnTo>
                  <a:pt x="939652" y="160256"/>
                </a:lnTo>
                <a:lnTo>
                  <a:pt x="935482" y="156591"/>
                </a:lnTo>
                <a:lnTo>
                  <a:pt x="933323" y="151764"/>
                </a:lnTo>
                <a:lnTo>
                  <a:pt x="933338" y="137630"/>
                </a:lnTo>
                <a:lnTo>
                  <a:pt x="935609" y="132080"/>
                </a:lnTo>
                <a:lnTo>
                  <a:pt x="940181" y="128905"/>
                </a:lnTo>
                <a:lnTo>
                  <a:pt x="944753" y="125602"/>
                </a:lnTo>
                <a:lnTo>
                  <a:pt x="951611" y="123444"/>
                </a:lnTo>
                <a:lnTo>
                  <a:pt x="989838" y="118110"/>
                </a:lnTo>
                <a:lnTo>
                  <a:pt x="1009142" y="118110"/>
                </a:lnTo>
                <a:lnTo>
                  <a:pt x="1009142" y="100584"/>
                </a:lnTo>
                <a:lnTo>
                  <a:pt x="1006475" y="80821"/>
                </a:lnTo>
                <a:lnTo>
                  <a:pt x="1001341" y="71755"/>
                </a:lnTo>
                <a:close/>
              </a:path>
              <a:path w="1227454" h="182245">
                <a:moveTo>
                  <a:pt x="1009142" y="160527"/>
                </a:moveTo>
                <a:lnTo>
                  <a:pt x="989838" y="160527"/>
                </a:lnTo>
                <a:lnTo>
                  <a:pt x="989838" y="179450"/>
                </a:lnTo>
                <a:lnTo>
                  <a:pt x="1009142" y="179450"/>
                </a:lnTo>
                <a:lnTo>
                  <a:pt x="1009142" y="160527"/>
                </a:lnTo>
                <a:close/>
              </a:path>
              <a:path w="1227454" h="182245">
                <a:moveTo>
                  <a:pt x="1009142" y="118110"/>
                </a:moveTo>
                <a:lnTo>
                  <a:pt x="989838" y="118110"/>
                </a:lnTo>
                <a:lnTo>
                  <a:pt x="989838" y="130175"/>
                </a:lnTo>
                <a:lnTo>
                  <a:pt x="989234" y="137668"/>
                </a:lnTo>
                <a:lnTo>
                  <a:pt x="956563" y="165988"/>
                </a:lnTo>
                <a:lnTo>
                  <a:pt x="985247" y="165988"/>
                </a:lnTo>
                <a:lnTo>
                  <a:pt x="989330" y="160527"/>
                </a:lnTo>
                <a:lnTo>
                  <a:pt x="1009142" y="160527"/>
                </a:lnTo>
                <a:lnTo>
                  <a:pt x="1009142" y="118110"/>
                </a:lnTo>
                <a:close/>
              </a:path>
              <a:path w="1227454" h="182245">
                <a:moveTo>
                  <a:pt x="966470" y="55372"/>
                </a:moveTo>
                <a:lnTo>
                  <a:pt x="955182" y="56086"/>
                </a:lnTo>
                <a:lnTo>
                  <a:pt x="944562" y="58229"/>
                </a:lnTo>
                <a:lnTo>
                  <a:pt x="934608" y="61801"/>
                </a:lnTo>
                <a:lnTo>
                  <a:pt x="925322" y="66801"/>
                </a:lnTo>
                <a:lnTo>
                  <a:pt x="925322" y="86613"/>
                </a:lnTo>
                <a:lnTo>
                  <a:pt x="934368" y="80113"/>
                </a:lnTo>
                <a:lnTo>
                  <a:pt x="943975" y="75469"/>
                </a:lnTo>
                <a:lnTo>
                  <a:pt x="954129" y="72683"/>
                </a:lnTo>
                <a:lnTo>
                  <a:pt x="964819" y="71755"/>
                </a:lnTo>
                <a:lnTo>
                  <a:pt x="1001341" y="71755"/>
                </a:lnTo>
                <a:lnTo>
                  <a:pt x="998474" y="66690"/>
                </a:lnTo>
                <a:lnTo>
                  <a:pt x="985139" y="58203"/>
                </a:lnTo>
                <a:lnTo>
                  <a:pt x="966470" y="55372"/>
                </a:lnTo>
                <a:close/>
              </a:path>
              <a:path w="1227454" h="182245">
                <a:moveTo>
                  <a:pt x="1065276" y="58293"/>
                </a:moveTo>
                <a:lnTo>
                  <a:pt x="1045845" y="58293"/>
                </a:lnTo>
                <a:lnTo>
                  <a:pt x="1045845" y="179450"/>
                </a:lnTo>
                <a:lnTo>
                  <a:pt x="1065276" y="179450"/>
                </a:lnTo>
                <a:lnTo>
                  <a:pt x="1065276" y="117729"/>
                </a:lnTo>
                <a:lnTo>
                  <a:pt x="1065799" y="108084"/>
                </a:lnTo>
                <a:lnTo>
                  <a:pt x="1067371" y="99536"/>
                </a:lnTo>
                <a:lnTo>
                  <a:pt x="1069990" y="92082"/>
                </a:lnTo>
                <a:lnTo>
                  <a:pt x="1073658" y="85725"/>
                </a:lnTo>
                <a:lnTo>
                  <a:pt x="1075460" y="83185"/>
                </a:lnTo>
                <a:lnTo>
                  <a:pt x="1065276" y="83185"/>
                </a:lnTo>
                <a:lnTo>
                  <a:pt x="1065276" y="58293"/>
                </a:lnTo>
                <a:close/>
              </a:path>
              <a:path w="1227454" h="182245">
                <a:moveTo>
                  <a:pt x="1102487" y="56134"/>
                </a:moveTo>
                <a:lnTo>
                  <a:pt x="1090422" y="56134"/>
                </a:lnTo>
                <a:lnTo>
                  <a:pt x="1084072" y="58547"/>
                </a:lnTo>
                <a:lnTo>
                  <a:pt x="1072769" y="68072"/>
                </a:lnTo>
                <a:lnTo>
                  <a:pt x="1068578" y="74675"/>
                </a:lnTo>
                <a:lnTo>
                  <a:pt x="1065784" y="83185"/>
                </a:lnTo>
                <a:lnTo>
                  <a:pt x="1075460" y="83185"/>
                </a:lnTo>
                <a:lnTo>
                  <a:pt x="1079246" y="77850"/>
                </a:lnTo>
                <a:lnTo>
                  <a:pt x="1086104" y="74041"/>
                </a:lnTo>
                <a:lnTo>
                  <a:pt x="1109091" y="74041"/>
                </a:lnTo>
                <a:lnTo>
                  <a:pt x="1109091" y="57785"/>
                </a:lnTo>
                <a:lnTo>
                  <a:pt x="1106424" y="56642"/>
                </a:lnTo>
                <a:lnTo>
                  <a:pt x="1102487" y="56134"/>
                </a:lnTo>
                <a:close/>
              </a:path>
              <a:path w="1227454" h="182245">
                <a:moveTo>
                  <a:pt x="1109091" y="74041"/>
                </a:moveTo>
                <a:lnTo>
                  <a:pt x="1100836" y="74041"/>
                </a:lnTo>
                <a:lnTo>
                  <a:pt x="1105662" y="75311"/>
                </a:lnTo>
                <a:lnTo>
                  <a:pt x="1109091" y="77850"/>
                </a:lnTo>
                <a:lnTo>
                  <a:pt x="1109091" y="74041"/>
                </a:lnTo>
                <a:close/>
              </a:path>
              <a:path w="1227454" h="182245">
                <a:moveTo>
                  <a:pt x="1177290" y="55372"/>
                </a:moveTo>
                <a:lnTo>
                  <a:pt x="1137539" y="73279"/>
                </a:lnTo>
                <a:lnTo>
                  <a:pt x="1121410" y="119380"/>
                </a:lnTo>
                <a:lnTo>
                  <a:pt x="1122336" y="133498"/>
                </a:lnTo>
                <a:lnTo>
                  <a:pt x="1144164" y="172975"/>
                </a:lnTo>
                <a:lnTo>
                  <a:pt x="1176401" y="182245"/>
                </a:lnTo>
                <a:lnTo>
                  <a:pt x="1188902" y="181528"/>
                </a:lnTo>
                <a:lnTo>
                  <a:pt x="1200118" y="179371"/>
                </a:lnTo>
                <a:lnTo>
                  <a:pt x="1210048" y="175762"/>
                </a:lnTo>
                <a:lnTo>
                  <a:pt x="1218692" y="170687"/>
                </a:lnTo>
                <a:lnTo>
                  <a:pt x="1218692" y="165988"/>
                </a:lnTo>
                <a:lnTo>
                  <a:pt x="1181100" y="165988"/>
                </a:lnTo>
                <a:lnTo>
                  <a:pt x="1172454" y="165298"/>
                </a:lnTo>
                <a:lnTo>
                  <a:pt x="1142432" y="133223"/>
                </a:lnTo>
                <a:lnTo>
                  <a:pt x="1141603" y="123698"/>
                </a:lnTo>
                <a:lnTo>
                  <a:pt x="1227074" y="123698"/>
                </a:lnTo>
                <a:lnTo>
                  <a:pt x="1227074" y="113537"/>
                </a:lnTo>
                <a:lnTo>
                  <a:pt x="1226685" y="107314"/>
                </a:lnTo>
                <a:lnTo>
                  <a:pt x="1141857" y="107314"/>
                </a:lnTo>
                <a:lnTo>
                  <a:pt x="1143381" y="99714"/>
                </a:lnTo>
                <a:lnTo>
                  <a:pt x="1167765" y="71755"/>
                </a:lnTo>
                <a:lnTo>
                  <a:pt x="1214721" y="71755"/>
                </a:lnTo>
                <a:lnTo>
                  <a:pt x="1214120" y="70866"/>
                </a:lnTo>
                <a:lnTo>
                  <a:pt x="1206900" y="64105"/>
                </a:lnTo>
                <a:lnTo>
                  <a:pt x="1198372" y="59261"/>
                </a:lnTo>
                <a:lnTo>
                  <a:pt x="1188509" y="56346"/>
                </a:lnTo>
                <a:lnTo>
                  <a:pt x="1177290" y="55372"/>
                </a:lnTo>
                <a:close/>
              </a:path>
              <a:path w="1227454" h="182245">
                <a:moveTo>
                  <a:pt x="1218692" y="152400"/>
                </a:moveTo>
                <a:lnTo>
                  <a:pt x="1209907" y="158327"/>
                </a:lnTo>
                <a:lnTo>
                  <a:pt x="1200705" y="162575"/>
                </a:lnTo>
                <a:lnTo>
                  <a:pt x="1191099" y="165133"/>
                </a:lnTo>
                <a:lnTo>
                  <a:pt x="1181100" y="165988"/>
                </a:lnTo>
                <a:lnTo>
                  <a:pt x="1218692" y="165988"/>
                </a:lnTo>
                <a:lnTo>
                  <a:pt x="1218692" y="152400"/>
                </a:lnTo>
                <a:close/>
              </a:path>
              <a:path w="1227454" h="182245">
                <a:moveTo>
                  <a:pt x="1214721" y="71755"/>
                </a:moveTo>
                <a:lnTo>
                  <a:pt x="1186434" y="71755"/>
                </a:lnTo>
                <a:lnTo>
                  <a:pt x="1193800" y="74930"/>
                </a:lnTo>
                <a:lnTo>
                  <a:pt x="1199134" y="81152"/>
                </a:lnTo>
                <a:lnTo>
                  <a:pt x="1202636" y="86276"/>
                </a:lnTo>
                <a:lnTo>
                  <a:pt x="1205150" y="92328"/>
                </a:lnTo>
                <a:lnTo>
                  <a:pt x="1206688" y="99333"/>
                </a:lnTo>
                <a:lnTo>
                  <a:pt x="1207262" y="107314"/>
                </a:lnTo>
                <a:lnTo>
                  <a:pt x="1226685" y="107314"/>
                </a:lnTo>
                <a:lnTo>
                  <a:pt x="1226264" y="100583"/>
                </a:lnTo>
                <a:lnTo>
                  <a:pt x="1223835" y="89153"/>
                </a:lnTo>
                <a:lnTo>
                  <a:pt x="1219787" y="79248"/>
                </a:lnTo>
                <a:lnTo>
                  <a:pt x="1214721" y="71755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729190" y="4385136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89" h="429895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891521" y="4484086"/>
            <a:ext cx="1027416" cy="178607"/>
          </a:xfrm>
          <a:custGeom>
            <a:avLst/>
            <a:gdLst/>
            <a:ahLst/>
            <a:cxnLst/>
            <a:rect l="l" t="t" r="r" b="b"/>
            <a:pathLst>
              <a:path w="1397000" h="182245">
                <a:moveTo>
                  <a:pt x="22098" y="9778"/>
                </a:moveTo>
                <a:lnTo>
                  <a:pt x="0" y="9778"/>
                </a:lnTo>
                <a:lnTo>
                  <a:pt x="61468" y="179450"/>
                </a:lnTo>
                <a:lnTo>
                  <a:pt x="83438" y="179450"/>
                </a:lnTo>
                <a:lnTo>
                  <a:pt x="90905" y="159257"/>
                </a:lnTo>
                <a:lnTo>
                  <a:pt x="72517" y="159257"/>
                </a:lnTo>
                <a:lnTo>
                  <a:pt x="71755" y="153542"/>
                </a:lnTo>
                <a:lnTo>
                  <a:pt x="70612" y="148589"/>
                </a:lnTo>
                <a:lnTo>
                  <a:pt x="68999" y="144017"/>
                </a:lnTo>
                <a:lnTo>
                  <a:pt x="22098" y="9778"/>
                </a:lnTo>
                <a:close/>
              </a:path>
              <a:path w="1397000" h="182245">
                <a:moveTo>
                  <a:pt x="146176" y="9778"/>
                </a:moveTo>
                <a:lnTo>
                  <a:pt x="124841" y="9778"/>
                </a:lnTo>
                <a:lnTo>
                  <a:pt x="76746" y="144271"/>
                </a:lnTo>
                <a:lnTo>
                  <a:pt x="74930" y="149478"/>
                </a:lnTo>
                <a:lnTo>
                  <a:pt x="73660" y="154558"/>
                </a:lnTo>
                <a:lnTo>
                  <a:pt x="73025" y="159257"/>
                </a:lnTo>
                <a:lnTo>
                  <a:pt x="90905" y="159257"/>
                </a:lnTo>
                <a:lnTo>
                  <a:pt x="146176" y="9778"/>
                </a:lnTo>
                <a:close/>
              </a:path>
              <a:path w="1397000" h="182245">
                <a:moveTo>
                  <a:pt x="181863" y="2285"/>
                </a:moveTo>
                <a:lnTo>
                  <a:pt x="174879" y="2285"/>
                </a:lnTo>
                <a:lnTo>
                  <a:pt x="171831" y="3428"/>
                </a:lnTo>
                <a:lnTo>
                  <a:pt x="167005" y="8254"/>
                </a:lnTo>
                <a:lnTo>
                  <a:pt x="165735" y="11302"/>
                </a:lnTo>
                <a:lnTo>
                  <a:pt x="165735" y="18541"/>
                </a:lnTo>
                <a:lnTo>
                  <a:pt x="167005" y="21589"/>
                </a:lnTo>
                <a:lnTo>
                  <a:pt x="169418" y="23875"/>
                </a:lnTo>
                <a:lnTo>
                  <a:pt x="171831" y="26288"/>
                </a:lnTo>
                <a:lnTo>
                  <a:pt x="174879" y="27431"/>
                </a:lnTo>
                <a:lnTo>
                  <a:pt x="181863" y="27431"/>
                </a:lnTo>
                <a:lnTo>
                  <a:pt x="184912" y="26288"/>
                </a:lnTo>
                <a:lnTo>
                  <a:pt x="187325" y="23748"/>
                </a:lnTo>
                <a:lnTo>
                  <a:pt x="189864" y="21335"/>
                </a:lnTo>
                <a:lnTo>
                  <a:pt x="191079" y="18541"/>
                </a:lnTo>
                <a:lnTo>
                  <a:pt x="191135" y="11302"/>
                </a:lnTo>
                <a:lnTo>
                  <a:pt x="189864" y="8254"/>
                </a:lnTo>
                <a:lnTo>
                  <a:pt x="187325" y="5841"/>
                </a:lnTo>
                <a:lnTo>
                  <a:pt x="184912" y="3428"/>
                </a:lnTo>
                <a:lnTo>
                  <a:pt x="181863" y="2285"/>
                </a:lnTo>
                <a:close/>
              </a:path>
              <a:path w="1397000" h="182245">
                <a:moveTo>
                  <a:pt x="187833" y="58292"/>
                </a:moveTo>
                <a:lnTo>
                  <a:pt x="168401" y="58292"/>
                </a:lnTo>
                <a:lnTo>
                  <a:pt x="168401" y="179450"/>
                </a:lnTo>
                <a:lnTo>
                  <a:pt x="187833" y="179450"/>
                </a:lnTo>
                <a:lnTo>
                  <a:pt x="187833" y="58292"/>
                </a:lnTo>
                <a:close/>
              </a:path>
              <a:path w="1397000" h="182245">
                <a:moveTo>
                  <a:pt x="247269" y="58292"/>
                </a:moveTo>
                <a:lnTo>
                  <a:pt x="227837" y="58292"/>
                </a:lnTo>
                <a:lnTo>
                  <a:pt x="227837" y="179450"/>
                </a:lnTo>
                <a:lnTo>
                  <a:pt x="247269" y="179450"/>
                </a:lnTo>
                <a:lnTo>
                  <a:pt x="247269" y="117601"/>
                </a:lnTo>
                <a:lnTo>
                  <a:pt x="247773" y="108031"/>
                </a:lnTo>
                <a:lnTo>
                  <a:pt x="249300" y="99520"/>
                </a:lnTo>
                <a:lnTo>
                  <a:pt x="251876" y="92080"/>
                </a:lnTo>
                <a:lnTo>
                  <a:pt x="255524" y="85724"/>
                </a:lnTo>
                <a:lnTo>
                  <a:pt x="257326" y="83184"/>
                </a:lnTo>
                <a:lnTo>
                  <a:pt x="247269" y="83184"/>
                </a:lnTo>
                <a:lnTo>
                  <a:pt x="247269" y="58292"/>
                </a:lnTo>
                <a:close/>
              </a:path>
              <a:path w="1397000" h="182245">
                <a:moveTo>
                  <a:pt x="284480" y="56133"/>
                </a:moveTo>
                <a:lnTo>
                  <a:pt x="272414" y="56133"/>
                </a:lnTo>
                <a:lnTo>
                  <a:pt x="266064" y="58546"/>
                </a:lnTo>
                <a:lnTo>
                  <a:pt x="260350" y="63245"/>
                </a:lnTo>
                <a:lnTo>
                  <a:pt x="254635" y="68071"/>
                </a:lnTo>
                <a:lnTo>
                  <a:pt x="250444" y="74675"/>
                </a:lnTo>
                <a:lnTo>
                  <a:pt x="247650" y="83184"/>
                </a:lnTo>
                <a:lnTo>
                  <a:pt x="257326" y="83184"/>
                </a:lnTo>
                <a:lnTo>
                  <a:pt x="261112" y="77850"/>
                </a:lnTo>
                <a:lnTo>
                  <a:pt x="267970" y="73913"/>
                </a:lnTo>
                <a:lnTo>
                  <a:pt x="290957" y="73913"/>
                </a:lnTo>
                <a:lnTo>
                  <a:pt x="290957" y="57784"/>
                </a:lnTo>
                <a:lnTo>
                  <a:pt x="288289" y="56641"/>
                </a:lnTo>
                <a:lnTo>
                  <a:pt x="284480" y="56133"/>
                </a:lnTo>
                <a:close/>
              </a:path>
              <a:path w="1397000" h="182245">
                <a:moveTo>
                  <a:pt x="290957" y="73913"/>
                </a:moveTo>
                <a:lnTo>
                  <a:pt x="282701" y="73913"/>
                </a:lnTo>
                <a:lnTo>
                  <a:pt x="287655" y="75310"/>
                </a:lnTo>
                <a:lnTo>
                  <a:pt x="290957" y="77850"/>
                </a:lnTo>
                <a:lnTo>
                  <a:pt x="290957" y="73913"/>
                </a:lnTo>
                <a:close/>
              </a:path>
              <a:path w="1397000" h="182245">
                <a:moveTo>
                  <a:pt x="344932" y="74802"/>
                </a:moveTo>
                <a:lnTo>
                  <a:pt x="325500" y="74802"/>
                </a:lnTo>
                <a:lnTo>
                  <a:pt x="325500" y="146557"/>
                </a:lnTo>
                <a:lnTo>
                  <a:pt x="327499" y="162059"/>
                </a:lnTo>
                <a:lnTo>
                  <a:pt x="333486" y="173132"/>
                </a:lnTo>
                <a:lnTo>
                  <a:pt x="343449" y="179776"/>
                </a:lnTo>
                <a:lnTo>
                  <a:pt x="357378" y="181990"/>
                </a:lnTo>
                <a:lnTo>
                  <a:pt x="364871" y="181990"/>
                </a:lnTo>
                <a:lnTo>
                  <a:pt x="370839" y="180720"/>
                </a:lnTo>
                <a:lnTo>
                  <a:pt x="375412" y="178180"/>
                </a:lnTo>
                <a:lnTo>
                  <a:pt x="375412" y="165734"/>
                </a:lnTo>
                <a:lnTo>
                  <a:pt x="356362" y="165734"/>
                </a:lnTo>
                <a:lnTo>
                  <a:pt x="351789" y="163956"/>
                </a:lnTo>
                <a:lnTo>
                  <a:pt x="346329" y="156971"/>
                </a:lnTo>
                <a:lnTo>
                  <a:pt x="344932" y="151256"/>
                </a:lnTo>
                <a:lnTo>
                  <a:pt x="344932" y="74802"/>
                </a:lnTo>
                <a:close/>
              </a:path>
              <a:path w="1397000" h="182245">
                <a:moveTo>
                  <a:pt x="375412" y="161670"/>
                </a:moveTo>
                <a:lnTo>
                  <a:pt x="371856" y="164337"/>
                </a:lnTo>
                <a:lnTo>
                  <a:pt x="367664" y="165734"/>
                </a:lnTo>
                <a:lnTo>
                  <a:pt x="375412" y="165734"/>
                </a:lnTo>
                <a:lnTo>
                  <a:pt x="375412" y="161670"/>
                </a:lnTo>
                <a:close/>
              </a:path>
              <a:path w="1397000" h="182245">
                <a:moveTo>
                  <a:pt x="375412" y="58292"/>
                </a:moveTo>
                <a:lnTo>
                  <a:pt x="304673" y="58292"/>
                </a:lnTo>
                <a:lnTo>
                  <a:pt x="304673" y="74802"/>
                </a:lnTo>
                <a:lnTo>
                  <a:pt x="375412" y="74802"/>
                </a:lnTo>
                <a:lnTo>
                  <a:pt x="375412" y="58292"/>
                </a:lnTo>
                <a:close/>
              </a:path>
              <a:path w="1397000" h="182245">
                <a:moveTo>
                  <a:pt x="344932" y="22351"/>
                </a:moveTo>
                <a:lnTo>
                  <a:pt x="325500" y="28701"/>
                </a:lnTo>
                <a:lnTo>
                  <a:pt x="325500" y="58292"/>
                </a:lnTo>
                <a:lnTo>
                  <a:pt x="344932" y="58292"/>
                </a:lnTo>
                <a:lnTo>
                  <a:pt x="344932" y="22351"/>
                </a:lnTo>
                <a:close/>
              </a:path>
              <a:path w="1397000" h="182245">
                <a:moveTo>
                  <a:pt x="418211" y="58292"/>
                </a:moveTo>
                <a:lnTo>
                  <a:pt x="398907" y="58292"/>
                </a:lnTo>
                <a:lnTo>
                  <a:pt x="398907" y="130682"/>
                </a:lnTo>
                <a:lnTo>
                  <a:pt x="401619" y="153259"/>
                </a:lnTo>
                <a:lnTo>
                  <a:pt x="409749" y="169370"/>
                </a:lnTo>
                <a:lnTo>
                  <a:pt x="423285" y="179028"/>
                </a:lnTo>
                <a:lnTo>
                  <a:pt x="442213" y="182244"/>
                </a:lnTo>
                <a:lnTo>
                  <a:pt x="454050" y="180865"/>
                </a:lnTo>
                <a:lnTo>
                  <a:pt x="464232" y="176736"/>
                </a:lnTo>
                <a:lnTo>
                  <a:pt x="472771" y="169868"/>
                </a:lnTo>
                <a:lnTo>
                  <a:pt x="475655" y="165861"/>
                </a:lnTo>
                <a:lnTo>
                  <a:pt x="447548" y="165861"/>
                </a:lnTo>
                <a:lnTo>
                  <a:pt x="434713" y="163478"/>
                </a:lnTo>
                <a:lnTo>
                  <a:pt x="425545" y="156321"/>
                </a:lnTo>
                <a:lnTo>
                  <a:pt x="420044" y="144377"/>
                </a:lnTo>
                <a:lnTo>
                  <a:pt x="418252" y="128015"/>
                </a:lnTo>
                <a:lnTo>
                  <a:pt x="418211" y="58292"/>
                </a:lnTo>
                <a:close/>
              </a:path>
              <a:path w="1397000" h="182245">
                <a:moveTo>
                  <a:pt x="499491" y="160273"/>
                </a:moveTo>
                <a:lnTo>
                  <a:pt x="480060" y="160273"/>
                </a:lnTo>
                <a:lnTo>
                  <a:pt x="480060" y="179450"/>
                </a:lnTo>
                <a:lnTo>
                  <a:pt x="499491" y="179450"/>
                </a:lnTo>
                <a:lnTo>
                  <a:pt x="499491" y="160273"/>
                </a:lnTo>
                <a:close/>
              </a:path>
              <a:path w="1397000" h="182245">
                <a:moveTo>
                  <a:pt x="499491" y="58292"/>
                </a:moveTo>
                <a:lnTo>
                  <a:pt x="480060" y="58292"/>
                </a:lnTo>
                <a:lnTo>
                  <a:pt x="480060" y="128015"/>
                </a:lnTo>
                <a:lnTo>
                  <a:pt x="479488" y="136088"/>
                </a:lnTo>
                <a:lnTo>
                  <a:pt x="454360" y="165217"/>
                </a:lnTo>
                <a:lnTo>
                  <a:pt x="447548" y="165861"/>
                </a:lnTo>
                <a:lnTo>
                  <a:pt x="475655" y="165861"/>
                </a:lnTo>
                <a:lnTo>
                  <a:pt x="479679" y="160273"/>
                </a:lnTo>
                <a:lnTo>
                  <a:pt x="499491" y="160273"/>
                </a:lnTo>
                <a:lnTo>
                  <a:pt x="499491" y="58292"/>
                </a:lnTo>
                <a:close/>
              </a:path>
              <a:path w="1397000" h="182245">
                <a:moveTo>
                  <a:pt x="617663" y="71754"/>
                </a:moveTo>
                <a:lnTo>
                  <a:pt x="581025" y="71754"/>
                </a:lnTo>
                <a:lnTo>
                  <a:pt x="591952" y="73683"/>
                </a:lnTo>
                <a:lnTo>
                  <a:pt x="599773" y="79470"/>
                </a:lnTo>
                <a:lnTo>
                  <a:pt x="604474" y="89114"/>
                </a:lnTo>
                <a:lnTo>
                  <a:pt x="606044" y="102615"/>
                </a:lnTo>
                <a:lnTo>
                  <a:pt x="569722" y="107695"/>
                </a:lnTo>
                <a:lnTo>
                  <a:pt x="552219" y="112242"/>
                </a:lnTo>
                <a:lnTo>
                  <a:pt x="539718" y="120348"/>
                </a:lnTo>
                <a:lnTo>
                  <a:pt x="532217" y="132002"/>
                </a:lnTo>
                <a:lnTo>
                  <a:pt x="529717" y="147192"/>
                </a:lnTo>
                <a:lnTo>
                  <a:pt x="530359" y="154715"/>
                </a:lnTo>
                <a:lnTo>
                  <a:pt x="559756" y="181647"/>
                </a:lnTo>
                <a:lnTo>
                  <a:pt x="568325" y="182244"/>
                </a:lnTo>
                <a:lnTo>
                  <a:pt x="579872" y="180887"/>
                </a:lnTo>
                <a:lnTo>
                  <a:pt x="589930" y="176815"/>
                </a:lnTo>
                <a:lnTo>
                  <a:pt x="598489" y="170029"/>
                </a:lnTo>
                <a:lnTo>
                  <a:pt x="601580" y="165861"/>
                </a:lnTo>
                <a:lnTo>
                  <a:pt x="565785" y="165861"/>
                </a:lnTo>
                <a:lnTo>
                  <a:pt x="560197" y="164083"/>
                </a:lnTo>
                <a:lnTo>
                  <a:pt x="551688" y="156590"/>
                </a:lnTo>
                <a:lnTo>
                  <a:pt x="549529" y="151764"/>
                </a:lnTo>
                <a:lnTo>
                  <a:pt x="549565" y="137576"/>
                </a:lnTo>
                <a:lnTo>
                  <a:pt x="606044" y="118109"/>
                </a:lnTo>
                <a:lnTo>
                  <a:pt x="625475" y="118109"/>
                </a:lnTo>
                <a:lnTo>
                  <a:pt x="625475" y="100583"/>
                </a:lnTo>
                <a:lnTo>
                  <a:pt x="622806" y="80821"/>
                </a:lnTo>
                <a:lnTo>
                  <a:pt x="617663" y="71754"/>
                </a:lnTo>
                <a:close/>
              </a:path>
              <a:path w="1397000" h="182245">
                <a:moveTo>
                  <a:pt x="625475" y="160527"/>
                </a:moveTo>
                <a:lnTo>
                  <a:pt x="606044" y="160527"/>
                </a:lnTo>
                <a:lnTo>
                  <a:pt x="606044" y="179450"/>
                </a:lnTo>
                <a:lnTo>
                  <a:pt x="625475" y="179450"/>
                </a:lnTo>
                <a:lnTo>
                  <a:pt x="625475" y="160527"/>
                </a:lnTo>
                <a:close/>
              </a:path>
              <a:path w="1397000" h="182245">
                <a:moveTo>
                  <a:pt x="625475" y="118109"/>
                </a:moveTo>
                <a:lnTo>
                  <a:pt x="606044" y="118109"/>
                </a:lnTo>
                <a:lnTo>
                  <a:pt x="606044" y="130174"/>
                </a:lnTo>
                <a:lnTo>
                  <a:pt x="605450" y="137576"/>
                </a:lnTo>
                <a:lnTo>
                  <a:pt x="572770" y="165861"/>
                </a:lnTo>
                <a:lnTo>
                  <a:pt x="601580" y="165861"/>
                </a:lnTo>
                <a:lnTo>
                  <a:pt x="605536" y="160527"/>
                </a:lnTo>
                <a:lnTo>
                  <a:pt x="625475" y="160527"/>
                </a:lnTo>
                <a:lnTo>
                  <a:pt x="625475" y="118109"/>
                </a:lnTo>
                <a:close/>
              </a:path>
              <a:path w="1397000" h="182245">
                <a:moveTo>
                  <a:pt x="582676" y="55371"/>
                </a:moveTo>
                <a:lnTo>
                  <a:pt x="571388" y="56086"/>
                </a:lnTo>
                <a:lnTo>
                  <a:pt x="560768" y="58229"/>
                </a:lnTo>
                <a:lnTo>
                  <a:pt x="550814" y="61801"/>
                </a:lnTo>
                <a:lnTo>
                  <a:pt x="541528" y="66801"/>
                </a:lnTo>
                <a:lnTo>
                  <a:pt x="541528" y="86613"/>
                </a:lnTo>
                <a:lnTo>
                  <a:pt x="550628" y="80113"/>
                </a:lnTo>
                <a:lnTo>
                  <a:pt x="560228" y="75469"/>
                </a:lnTo>
                <a:lnTo>
                  <a:pt x="570353" y="72683"/>
                </a:lnTo>
                <a:lnTo>
                  <a:pt x="581025" y="71754"/>
                </a:lnTo>
                <a:lnTo>
                  <a:pt x="617663" y="71754"/>
                </a:lnTo>
                <a:lnTo>
                  <a:pt x="614791" y="66690"/>
                </a:lnTo>
                <a:lnTo>
                  <a:pt x="601418" y="58203"/>
                </a:lnTo>
                <a:lnTo>
                  <a:pt x="582676" y="55371"/>
                </a:lnTo>
                <a:close/>
              </a:path>
              <a:path w="1397000" h="182245">
                <a:moveTo>
                  <a:pt x="681609" y="0"/>
                </a:moveTo>
                <a:lnTo>
                  <a:pt x="662178" y="0"/>
                </a:lnTo>
                <a:lnTo>
                  <a:pt x="662178" y="179450"/>
                </a:lnTo>
                <a:lnTo>
                  <a:pt x="681609" y="179450"/>
                </a:lnTo>
                <a:lnTo>
                  <a:pt x="681609" y="0"/>
                </a:lnTo>
                <a:close/>
              </a:path>
              <a:path w="1397000" h="182245">
                <a:moveTo>
                  <a:pt x="735076" y="2285"/>
                </a:moveTo>
                <a:lnTo>
                  <a:pt x="728091" y="2285"/>
                </a:lnTo>
                <a:lnTo>
                  <a:pt x="725043" y="3428"/>
                </a:lnTo>
                <a:lnTo>
                  <a:pt x="720217" y="8254"/>
                </a:lnTo>
                <a:lnTo>
                  <a:pt x="718947" y="11302"/>
                </a:lnTo>
                <a:lnTo>
                  <a:pt x="718947" y="18541"/>
                </a:lnTo>
                <a:lnTo>
                  <a:pt x="720217" y="21589"/>
                </a:lnTo>
                <a:lnTo>
                  <a:pt x="722630" y="23875"/>
                </a:lnTo>
                <a:lnTo>
                  <a:pt x="725043" y="26288"/>
                </a:lnTo>
                <a:lnTo>
                  <a:pt x="728091" y="27431"/>
                </a:lnTo>
                <a:lnTo>
                  <a:pt x="735076" y="27431"/>
                </a:lnTo>
                <a:lnTo>
                  <a:pt x="738124" y="26288"/>
                </a:lnTo>
                <a:lnTo>
                  <a:pt x="740537" y="23748"/>
                </a:lnTo>
                <a:lnTo>
                  <a:pt x="743076" y="21335"/>
                </a:lnTo>
                <a:lnTo>
                  <a:pt x="744291" y="18541"/>
                </a:lnTo>
                <a:lnTo>
                  <a:pt x="744347" y="11302"/>
                </a:lnTo>
                <a:lnTo>
                  <a:pt x="743076" y="8254"/>
                </a:lnTo>
                <a:lnTo>
                  <a:pt x="740537" y="5841"/>
                </a:lnTo>
                <a:lnTo>
                  <a:pt x="738124" y="3428"/>
                </a:lnTo>
                <a:lnTo>
                  <a:pt x="735076" y="2285"/>
                </a:lnTo>
                <a:close/>
              </a:path>
              <a:path w="1397000" h="182245">
                <a:moveTo>
                  <a:pt x="741045" y="58292"/>
                </a:moveTo>
                <a:lnTo>
                  <a:pt x="721613" y="58292"/>
                </a:lnTo>
                <a:lnTo>
                  <a:pt x="721613" y="179450"/>
                </a:lnTo>
                <a:lnTo>
                  <a:pt x="741045" y="179450"/>
                </a:lnTo>
                <a:lnTo>
                  <a:pt x="741045" y="58292"/>
                </a:lnTo>
                <a:close/>
              </a:path>
              <a:path w="1397000" h="182245">
                <a:moveTo>
                  <a:pt x="865505" y="58292"/>
                </a:moveTo>
                <a:lnTo>
                  <a:pt x="772033" y="58292"/>
                </a:lnTo>
                <a:lnTo>
                  <a:pt x="772033" y="74802"/>
                </a:lnTo>
                <a:lnTo>
                  <a:pt x="836930" y="74802"/>
                </a:lnTo>
                <a:lnTo>
                  <a:pt x="765301" y="173354"/>
                </a:lnTo>
                <a:lnTo>
                  <a:pt x="765301" y="179450"/>
                </a:lnTo>
                <a:lnTo>
                  <a:pt x="864743" y="179450"/>
                </a:lnTo>
                <a:lnTo>
                  <a:pt x="864743" y="162813"/>
                </a:lnTo>
                <a:lnTo>
                  <a:pt x="793750" y="162813"/>
                </a:lnTo>
                <a:lnTo>
                  <a:pt x="865505" y="63753"/>
                </a:lnTo>
                <a:lnTo>
                  <a:pt x="865505" y="58292"/>
                </a:lnTo>
                <a:close/>
              </a:path>
              <a:path w="1397000" h="182245">
                <a:moveTo>
                  <a:pt x="969707" y="71754"/>
                </a:moveTo>
                <a:lnTo>
                  <a:pt x="933069" y="71754"/>
                </a:lnTo>
                <a:lnTo>
                  <a:pt x="943996" y="73683"/>
                </a:lnTo>
                <a:lnTo>
                  <a:pt x="951817" y="79470"/>
                </a:lnTo>
                <a:lnTo>
                  <a:pt x="956518" y="89114"/>
                </a:lnTo>
                <a:lnTo>
                  <a:pt x="958088" y="102615"/>
                </a:lnTo>
                <a:lnTo>
                  <a:pt x="921766" y="107695"/>
                </a:lnTo>
                <a:lnTo>
                  <a:pt x="904263" y="112242"/>
                </a:lnTo>
                <a:lnTo>
                  <a:pt x="891762" y="120348"/>
                </a:lnTo>
                <a:lnTo>
                  <a:pt x="884261" y="132002"/>
                </a:lnTo>
                <a:lnTo>
                  <a:pt x="881761" y="147192"/>
                </a:lnTo>
                <a:lnTo>
                  <a:pt x="882403" y="154715"/>
                </a:lnTo>
                <a:lnTo>
                  <a:pt x="911800" y="181647"/>
                </a:lnTo>
                <a:lnTo>
                  <a:pt x="920369" y="182244"/>
                </a:lnTo>
                <a:lnTo>
                  <a:pt x="931916" y="180887"/>
                </a:lnTo>
                <a:lnTo>
                  <a:pt x="941974" y="176815"/>
                </a:lnTo>
                <a:lnTo>
                  <a:pt x="950533" y="170029"/>
                </a:lnTo>
                <a:lnTo>
                  <a:pt x="953624" y="165861"/>
                </a:lnTo>
                <a:lnTo>
                  <a:pt x="917829" y="165861"/>
                </a:lnTo>
                <a:lnTo>
                  <a:pt x="912241" y="164083"/>
                </a:lnTo>
                <a:lnTo>
                  <a:pt x="903732" y="156590"/>
                </a:lnTo>
                <a:lnTo>
                  <a:pt x="901573" y="151764"/>
                </a:lnTo>
                <a:lnTo>
                  <a:pt x="901609" y="137576"/>
                </a:lnTo>
                <a:lnTo>
                  <a:pt x="958088" y="118109"/>
                </a:lnTo>
                <a:lnTo>
                  <a:pt x="977519" y="118109"/>
                </a:lnTo>
                <a:lnTo>
                  <a:pt x="977519" y="100583"/>
                </a:lnTo>
                <a:lnTo>
                  <a:pt x="974850" y="80821"/>
                </a:lnTo>
                <a:lnTo>
                  <a:pt x="969707" y="71754"/>
                </a:lnTo>
                <a:close/>
              </a:path>
              <a:path w="1397000" h="182245">
                <a:moveTo>
                  <a:pt x="977519" y="160527"/>
                </a:moveTo>
                <a:lnTo>
                  <a:pt x="958088" y="160527"/>
                </a:lnTo>
                <a:lnTo>
                  <a:pt x="958088" y="179450"/>
                </a:lnTo>
                <a:lnTo>
                  <a:pt x="977519" y="179450"/>
                </a:lnTo>
                <a:lnTo>
                  <a:pt x="977519" y="160527"/>
                </a:lnTo>
                <a:close/>
              </a:path>
              <a:path w="1397000" h="182245">
                <a:moveTo>
                  <a:pt x="977519" y="118109"/>
                </a:moveTo>
                <a:lnTo>
                  <a:pt x="958088" y="118109"/>
                </a:lnTo>
                <a:lnTo>
                  <a:pt x="958088" y="130174"/>
                </a:lnTo>
                <a:lnTo>
                  <a:pt x="957494" y="137576"/>
                </a:lnTo>
                <a:lnTo>
                  <a:pt x="924813" y="165861"/>
                </a:lnTo>
                <a:lnTo>
                  <a:pt x="953624" y="165861"/>
                </a:lnTo>
                <a:lnTo>
                  <a:pt x="957580" y="160527"/>
                </a:lnTo>
                <a:lnTo>
                  <a:pt x="977519" y="160527"/>
                </a:lnTo>
                <a:lnTo>
                  <a:pt x="977519" y="118109"/>
                </a:lnTo>
                <a:close/>
              </a:path>
              <a:path w="1397000" h="182245">
                <a:moveTo>
                  <a:pt x="934720" y="55371"/>
                </a:moveTo>
                <a:lnTo>
                  <a:pt x="923432" y="56086"/>
                </a:lnTo>
                <a:lnTo>
                  <a:pt x="912812" y="58229"/>
                </a:lnTo>
                <a:lnTo>
                  <a:pt x="902858" y="61801"/>
                </a:lnTo>
                <a:lnTo>
                  <a:pt x="893572" y="66801"/>
                </a:lnTo>
                <a:lnTo>
                  <a:pt x="893572" y="86613"/>
                </a:lnTo>
                <a:lnTo>
                  <a:pt x="902672" y="80113"/>
                </a:lnTo>
                <a:lnTo>
                  <a:pt x="912272" y="75469"/>
                </a:lnTo>
                <a:lnTo>
                  <a:pt x="922397" y="72683"/>
                </a:lnTo>
                <a:lnTo>
                  <a:pt x="933069" y="71754"/>
                </a:lnTo>
                <a:lnTo>
                  <a:pt x="969707" y="71754"/>
                </a:lnTo>
                <a:lnTo>
                  <a:pt x="966835" y="66690"/>
                </a:lnTo>
                <a:lnTo>
                  <a:pt x="953462" y="58203"/>
                </a:lnTo>
                <a:lnTo>
                  <a:pt x="934720" y="55371"/>
                </a:lnTo>
                <a:close/>
              </a:path>
              <a:path w="1397000" h="182245">
                <a:moveTo>
                  <a:pt x="1038351" y="74802"/>
                </a:moveTo>
                <a:lnTo>
                  <a:pt x="1018921" y="74802"/>
                </a:lnTo>
                <a:lnTo>
                  <a:pt x="1018921" y="146557"/>
                </a:lnTo>
                <a:lnTo>
                  <a:pt x="1020919" y="162059"/>
                </a:lnTo>
                <a:lnTo>
                  <a:pt x="1026906" y="173132"/>
                </a:lnTo>
                <a:lnTo>
                  <a:pt x="1036869" y="179776"/>
                </a:lnTo>
                <a:lnTo>
                  <a:pt x="1050798" y="181990"/>
                </a:lnTo>
                <a:lnTo>
                  <a:pt x="1058291" y="181990"/>
                </a:lnTo>
                <a:lnTo>
                  <a:pt x="1064260" y="180720"/>
                </a:lnTo>
                <a:lnTo>
                  <a:pt x="1068832" y="178180"/>
                </a:lnTo>
                <a:lnTo>
                  <a:pt x="1068832" y="165734"/>
                </a:lnTo>
                <a:lnTo>
                  <a:pt x="1049782" y="165734"/>
                </a:lnTo>
                <a:lnTo>
                  <a:pt x="1045210" y="163956"/>
                </a:lnTo>
                <a:lnTo>
                  <a:pt x="1039749" y="156971"/>
                </a:lnTo>
                <a:lnTo>
                  <a:pt x="1038351" y="151256"/>
                </a:lnTo>
                <a:lnTo>
                  <a:pt x="1038351" y="74802"/>
                </a:lnTo>
                <a:close/>
              </a:path>
              <a:path w="1397000" h="182245">
                <a:moveTo>
                  <a:pt x="1068832" y="161670"/>
                </a:moveTo>
                <a:lnTo>
                  <a:pt x="1065276" y="164337"/>
                </a:lnTo>
                <a:lnTo>
                  <a:pt x="1061085" y="165734"/>
                </a:lnTo>
                <a:lnTo>
                  <a:pt x="1068832" y="165734"/>
                </a:lnTo>
                <a:lnTo>
                  <a:pt x="1068832" y="161670"/>
                </a:lnTo>
                <a:close/>
              </a:path>
              <a:path w="1397000" h="182245">
                <a:moveTo>
                  <a:pt x="1068832" y="58292"/>
                </a:moveTo>
                <a:lnTo>
                  <a:pt x="998093" y="58292"/>
                </a:lnTo>
                <a:lnTo>
                  <a:pt x="998093" y="74802"/>
                </a:lnTo>
                <a:lnTo>
                  <a:pt x="1068832" y="74802"/>
                </a:lnTo>
                <a:lnTo>
                  <a:pt x="1068832" y="58292"/>
                </a:lnTo>
                <a:close/>
              </a:path>
              <a:path w="1397000" h="182245">
                <a:moveTo>
                  <a:pt x="1038351" y="22351"/>
                </a:moveTo>
                <a:lnTo>
                  <a:pt x="1018921" y="28701"/>
                </a:lnTo>
                <a:lnTo>
                  <a:pt x="1018921" y="58292"/>
                </a:lnTo>
                <a:lnTo>
                  <a:pt x="1038351" y="58292"/>
                </a:lnTo>
                <a:lnTo>
                  <a:pt x="1038351" y="22351"/>
                </a:lnTo>
                <a:close/>
              </a:path>
              <a:path w="1397000" h="182245">
                <a:moveTo>
                  <a:pt x="1108456" y="2285"/>
                </a:moveTo>
                <a:lnTo>
                  <a:pt x="1101471" y="2285"/>
                </a:lnTo>
                <a:lnTo>
                  <a:pt x="1098423" y="3428"/>
                </a:lnTo>
                <a:lnTo>
                  <a:pt x="1093597" y="8254"/>
                </a:lnTo>
                <a:lnTo>
                  <a:pt x="1092327" y="11302"/>
                </a:lnTo>
                <a:lnTo>
                  <a:pt x="1092327" y="18541"/>
                </a:lnTo>
                <a:lnTo>
                  <a:pt x="1093597" y="21589"/>
                </a:lnTo>
                <a:lnTo>
                  <a:pt x="1096010" y="23875"/>
                </a:lnTo>
                <a:lnTo>
                  <a:pt x="1098423" y="26288"/>
                </a:lnTo>
                <a:lnTo>
                  <a:pt x="1101471" y="27431"/>
                </a:lnTo>
                <a:lnTo>
                  <a:pt x="1108456" y="27431"/>
                </a:lnTo>
                <a:lnTo>
                  <a:pt x="1111504" y="26288"/>
                </a:lnTo>
                <a:lnTo>
                  <a:pt x="1113917" y="23748"/>
                </a:lnTo>
                <a:lnTo>
                  <a:pt x="1116457" y="21335"/>
                </a:lnTo>
                <a:lnTo>
                  <a:pt x="1117671" y="18541"/>
                </a:lnTo>
                <a:lnTo>
                  <a:pt x="1117727" y="11302"/>
                </a:lnTo>
                <a:lnTo>
                  <a:pt x="1116457" y="8254"/>
                </a:lnTo>
                <a:lnTo>
                  <a:pt x="1113917" y="5841"/>
                </a:lnTo>
                <a:lnTo>
                  <a:pt x="1111504" y="3428"/>
                </a:lnTo>
                <a:lnTo>
                  <a:pt x="1108456" y="2285"/>
                </a:lnTo>
                <a:close/>
              </a:path>
              <a:path w="1397000" h="182245">
                <a:moveTo>
                  <a:pt x="1114425" y="58292"/>
                </a:moveTo>
                <a:lnTo>
                  <a:pt x="1094994" y="58292"/>
                </a:lnTo>
                <a:lnTo>
                  <a:pt x="1094994" y="179450"/>
                </a:lnTo>
                <a:lnTo>
                  <a:pt x="1114425" y="179450"/>
                </a:lnTo>
                <a:lnTo>
                  <a:pt x="1114425" y="58292"/>
                </a:lnTo>
                <a:close/>
              </a:path>
              <a:path w="1397000" h="182245">
                <a:moveTo>
                  <a:pt x="1207897" y="55371"/>
                </a:moveTo>
                <a:lnTo>
                  <a:pt x="1162791" y="72542"/>
                </a:lnTo>
                <a:lnTo>
                  <a:pt x="1146175" y="120268"/>
                </a:lnTo>
                <a:lnTo>
                  <a:pt x="1147175" y="133580"/>
                </a:lnTo>
                <a:lnTo>
                  <a:pt x="1170846" y="172654"/>
                </a:lnTo>
                <a:lnTo>
                  <a:pt x="1204976" y="182244"/>
                </a:lnTo>
                <a:lnTo>
                  <a:pt x="1218094" y="181151"/>
                </a:lnTo>
                <a:lnTo>
                  <a:pt x="1229820" y="177879"/>
                </a:lnTo>
                <a:lnTo>
                  <a:pt x="1240141" y="172440"/>
                </a:lnTo>
                <a:lnTo>
                  <a:pt x="1247853" y="165861"/>
                </a:lnTo>
                <a:lnTo>
                  <a:pt x="1206500" y="165861"/>
                </a:lnTo>
                <a:lnTo>
                  <a:pt x="1197717" y="165098"/>
                </a:lnTo>
                <a:lnTo>
                  <a:pt x="1168749" y="138763"/>
                </a:lnTo>
                <a:lnTo>
                  <a:pt x="1166038" y="120268"/>
                </a:lnTo>
                <a:lnTo>
                  <a:pt x="1166061" y="118363"/>
                </a:lnTo>
                <a:lnTo>
                  <a:pt x="1182836" y="78880"/>
                </a:lnTo>
                <a:lnTo>
                  <a:pt x="1206500" y="71754"/>
                </a:lnTo>
                <a:lnTo>
                  <a:pt x="1249753" y="71754"/>
                </a:lnTo>
                <a:lnTo>
                  <a:pt x="1241829" y="64801"/>
                </a:lnTo>
                <a:lnTo>
                  <a:pt x="1231995" y="59562"/>
                </a:lnTo>
                <a:lnTo>
                  <a:pt x="1220684" y="56419"/>
                </a:lnTo>
                <a:lnTo>
                  <a:pt x="1207897" y="55371"/>
                </a:lnTo>
                <a:close/>
              </a:path>
              <a:path w="1397000" h="182245">
                <a:moveTo>
                  <a:pt x="1249753" y="71754"/>
                </a:moveTo>
                <a:lnTo>
                  <a:pt x="1206500" y="71754"/>
                </a:lnTo>
                <a:lnTo>
                  <a:pt x="1215285" y="72516"/>
                </a:lnTo>
                <a:lnTo>
                  <a:pt x="1223057" y="74818"/>
                </a:lnTo>
                <a:lnTo>
                  <a:pt x="1244865" y="108309"/>
                </a:lnTo>
                <a:lnTo>
                  <a:pt x="1245451" y="118363"/>
                </a:lnTo>
                <a:lnTo>
                  <a:pt x="1245414" y="120268"/>
                </a:lnTo>
                <a:lnTo>
                  <a:pt x="1229735" y="159003"/>
                </a:lnTo>
                <a:lnTo>
                  <a:pt x="1206500" y="165861"/>
                </a:lnTo>
                <a:lnTo>
                  <a:pt x="1247853" y="165861"/>
                </a:lnTo>
                <a:lnTo>
                  <a:pt x="1265428" y="118363"/>
                </a:lnTo>
                <a:lnTo>
                  <a:pt x="1264475" y="104390"/>
                </a:lnTo>
                <a:lnTo>
                  <a:pt x="1261618" y="92011"/>
                </a:lnTo>
                <a:lnTo>
                  <a:pt x="1256855" y="81252"/>
                </a:lnTo>
                <a:lnTo>
                  <a:pt x="1250188" y="72135"/>
                </a:lnTo>
                <a:lnTo>
                  <a:pt x="1249753" y="71754"/>
                </a:lnTo>
                <a:close/>
              </a:path>
              <a:path w="1397000" h="182245">
                <a:moveTo>
                  <a:pt x="1315593" y="58292"/>
                </a:moveTo>
                <a:lnTo>
                  <a:pt x="1296162" y="58292"/>
                </a:lnTo>
                <a:lnTo>
                  <a:pt x="1296162" y="179450"/>
                </a:lnTo>
                <a:lnTo>
                  <a:pt x="1315593" y="179450"/>
                </a:lnTo>
                <a:lnTo>
                  <a:pt x="1315593" y="110362"/>
                </a:lnTo>
                <a:lnTo>
                  <a:pt x="1316188" y="102340"/>
                </a:lnTo>
                <a:lnTo>
                  <a:pt x="1317974" y="95043"/>
                </a:lnTo>
                <a:lnTo>
                  <a:pt x="1320950" y="88485"/>
                </a:lnTo>
                <a:lnTo>
                  <a:pt x="1325118" y="82676"/>
                </a:lnTo>
                <a:lnTo>
                  <a:pt x="1329718" y="78358"/>
                </a:lnTo>
                <a:lnTo>
                  <a:pt x="1315593" y="78358"/>
                </a:lnTo>
                <a:lnTo>
                  <a:pt x="1315593" y="58292"/>
                </a:lnTo>
                <a:close/>
              </a:path>
              <a:path w="1397000" h="182245">
                <a:moveTo>
                  <a:pt x="1388483" y="71754"/>
                </a:moveTo>
                <a:lnTo>
                  <a:pt x="1349121" y="71754"/>
                </a:lnTo>
                <a:lnTo>
                  <a:pt x="1361455" y="74162"/>
                </a:lnTo>
                <a:lnTo>
                  <a:pt x="1370266" y="81391"/>
                </a:lnTo>
                <a:lnTo>
                  <a:pt x="1375552" y="93454"/>
                </a:lnTo>
                <a:lnTo>
                  <a:pt x="1377314" y="110362"/>
                </a:lnTo>
                <a:lnTo>
                  <a:pt x="1377314" y="179450"/>
                </a:lnTo>
                <a:lnTo>
                  <a:pt x="1396746" y="179450"/>
                </a:lnTo>
                <a:lnTo>
                  <a:pt x="1396746" y="105282"/>
                </a:lnTo>
                <a:lnTo>
                  <a:pt x="1396081" y="93898"/>
                </a:lnTo>
                <a:lnTo>
                  <a:pt x="1394094" y="83931"/>
                </a:lnTo>
                <a:lnTo>
                  <a:pt x="1390798" y="75368"/>
                </a:lnTo>
                <a:lnTo>
                  <a:pt x="1388483" y="71754"/>
                </a:lnTo>
                <a:close/>
              </a:path>
              <a:path w="1397000" h="182245">
                <a:moveTo>
                  <a:pt x="1355725" y="55371"/>
                </a:moveTo>
                <a:lnTo>
                  <a:pt x="1343513" y="56802"/>
                </a:lnTo>
                <a:lnTo>
                  <a:pt x="1332801" y="61102"/>
                </a:lnTo>
                <a:lnTo>
                  <a:pt x="1323613" y="68284"/>
                </a:lnTo>
                <a:lnTo>
                  <a:pt x="1315974" y="78358"/>
                </a:lnTo>
                <a:lnTo>
                  <a:pt x="1329718" y="78358"/>
                </a:lnTo>
                <a:lnTo>
                  <a:pt x="1330190" y="77916"/>
                </a:lnTo>
                <a:lnTo>
                  <a:pt x="1335881" y="74501"/>
                </a:lnTo>
                <a:lnTo>
                  <a:pt x="1342191" y="72443"/>
                </a:lnTo>
                <a:lnTo>
                  <a:pt x="1349121" y="71754"/>
                </a:lnTo>
                <a:lnTo>
                  <a:pt x="1388483" y="71754"/>
                </a:lnTo>
                <a:lnTo>
                  <a:pt x="1386205" y="68198"/>
                </a:lnTo>
                <a:lnTo>
                  <a:pt x="1380317" y="62605"/>
                </a:lnTo>
                <a:lnTo>
                  <a:pt x="1373298" y="58594"/>
                </a:lnTo>
                <a:lnTo>
                  <a:pt x="1365113" y="56179"/>
                </a:lnTo>
                <a:lnTo>
                  <a:pt x="1355725" y="55371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729190" y="2373291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89" h="429894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D73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242991" y="2481574"/>
            <a:ext cx="337646" cy="169272"/>
          </a:xfrm>
          <a:custGeom>
            <a:avLst/>
            <a:gdLst/>
            <a:ahLst/>
            <a:cxnLst/>
            <a:rect l="l" t="t" r="r" b="b"/>
            <a:pathLst>
              <a:path w="459104" h="172719">
                <a:moveTo>
                  <a:pt x="46862" y="0"/>
                </a:moveTo>
                <a:lnTo>
                  <a:pt x="0" y="0"/>
                </a:lnTo>
                <a:lnTo>
                  <a:pt x="0" y="169672"/>
                </a:lnTo>
                <a:lnTo>
                  <a:pt x="44958" y="169672"/>
                </a:lnTo>
                <a:lnTo>
                  <a:pt x="64770" y="168173"/>
                </a:lnTo>
                <a:lnTo>
                  <a:pt x="82486" y="163687"/>
                </a:lnTo>
                <a:lnTo>
                  <a:pt x="98107" y="156223"/>
                </a:lnTo>
                <a:lnTo>
                  <a:pt x="104055" y="151637"/>
                </a:lnTo>
                <a:lnTo>
                  <a:pt x="19812" y="151637"/>
                </a:lnTo>
                <a:lnTo>
                  <a:pt x="19812" y="18034"/>
                </a:lnTo>
                <a:lnTo>
                  <a:pt x="109362" y="18034"/>
                </a:lnTo>
                <a:lnTo>
                  <a:pt x="86107" y="5167"/>
                </a:lnTo>
                <a:lnTo>
                  <a:pt x="46862" y="0"/>
                </a:lnTo>
                <a:close/>
              </a:path>
              <a:path w="459104" h="172719">
                <a:moveTo>
                  <a:pt x="109362" y="18034"/>
                </a:moveTo>
                <a:lnTo>
                  <a:pt x="46355" y="18034"/>
                </a:lnTo>
                <a:lnTo>
                  <a:pt x="76692" y="22105"/>
                </a:lnTo>
                <a:lnTo>
                  <a:pt x="98361" y="34321"/>
                </a:lnTo>
                <a:lnTo>
                  <a:pt x="111363" y="54681"/>
                </a:lnTo>
                <a:lnTo>
                  <a:pt x="115697" y="83185"/>
                </a:lnTo>
                <a:lnTo>
                  <a:pt x="114532" y="98639"/>
                </a:lnTo>
                <a:lnTo>
                  <a:pt x="97155" y="133858"/>
                </a:lnTo>
                <a:lnTo>
                  <a:pt x="60954" y="150538"/>
                </a:lnTo>
                <a:lnTo>
                  <a:pt x="45212" y="151637"/>
                </a:lnTo>
                <a:lnTo>
                  <a:pt x="104055" y="151637"/>
                </a:lnTo>
                <a:lnTo>
                  <a:pt x="130317" y="118094"/>
                </a:lnTo>
                <a:lnTo>
                  <a:pt x="136525" y="82676"/>
                </a:lnTo>
                <a:lnTo>
                  <a:pt x="130927" y="46505"/>
                </a:lnTo>
                <a:lnTo>
                  <a:pt x="114125" y="20669"/>
                </a:lnTo>
                <a:lnTo>
                  <a:pt x="109362" y="18034"/>
                </a:lnTo>
                <a:close/>
              </a:path>
              <a:path w="459104" h="172719">
                <a:moveTo>
                  <a:pt x="245393" y="61975"/>
                </a:moveTo>
                <a:lnTo>
                  <a:pt x="208915" y="61975"/>
                </a:lnTo>
                <a:lnTo>
                  <a:pt x="219842" y="63904"/>
                </a:lnTo>
                <a:lnTo>
                  <a:pt x="227663" y="69691"/>
                </a:lnTo>
                <a:lnTo>
                  <a:pt x="232364" y="79335"/>
                </a:lnTo>
                <a:lnTo>
                  <a:pt x="233934" y="92837"/>
                </a:lnTo>
                <a:lnTo>
                  <a:pt x="197612" y="97917"/>
                </a:lnTo>
                <a:lnTo>
                  <a:pt x="180109" y="102518"/>
                </a:lnTo>
                <a:lnTo>
                  <a:pt x="167608" y="110632"/>
                </a:lnTo>
                <a:lnTo>
                  <a:pt x="160106" y="122300"/>
                </a:lnTo>
                <a:lnTo>
                  <a:pt x="157607" y="137541"/>
                </a:lnTo>
                <a:lnTo>
                  <a:pt x="158247" y="145063"/>
                </a:lnTo>
                <a:lnTo>
                  <a:pt x="187537" y="171870"/>
                </a:lnTo>
                <a:lnTo>
                  <a:pt x="196087" y="172466"/>
                </a:lnTo>
                <a:lnTo>
                  <a:pt x="207690" y="171108"/>
                </a:lnTo>
                <a:lnTo>
                  <a:pt x="217757" y="167036"/>
                </a:lnTo>
                <a:lnTo>
                  <a:pt x="226323" y="160250"/>
                </a:lnTo>
                <a:lnTo>
                  <a:pt x="229343" y="156210"/>
                </a:lnTo>
                <a:lnTo>
                  <a:pt x="193675" y="156210"/>
                </a:lnTo>
                <a:lnTo>
                  <a:pt x="187960" y="154305"/>
                </a:lnTo>
                <a:lnTo>
                  <a:pt x="183769" y="150622"/>
                </a:lnTo>
                <a:lnTo>
                  <a:pt x="179578" y="146812"/>
                </a:lnTo>
                <a:lnTo>
                  <a:pt x="177419" y="141986"/>
                </a:lnTo>
                <a:lnTo>
                  <a:pt x="177434" y="127851"/>
                </a:lnTo>
                <a:lnTo>
                  <a:pt x="179713" y="122295"/>
                </a:lnTo>
                <a:lnTo>
                  <a:pt x="188849" y="115950"/>
                </a:lnTo>
                <a:lnTo>
                  <a:pt x="195707" y="113664"/>
                </a:lnTo>
                <a:lnTo>
                  <a:pt x="233934" y="108331"/>
                </a:lnTo>
                <a:lnTo>
                  <a:pt x="253237" y="108331"/>
                </a:lnTo>
                <a:lnTo>
                  <a:pt x="253237" y="90932"/>
                </a:lnTo>
                <a:lnTo>
                  <a:pt x="250571" y="71116"/>
                </a:lnTo>
                <a:lnTo>
                  <a:pt x="245393" y="61975"/>
                </a:lnTo>
                <a:close/>
              </a:path>
              <a:path w="459104" h="172719">
                <a:moveTo>
                  <a:pt x="253237" y="150749"/>
                </a:moveTo>
                <a:lnTo>
                  <a:pt x="233934" y="150749"/>
                </a:lnTo>
                <a:lnTo>
                  <a:pt x="233934" y="169672"/>
                </a:lnTo>
                <a:lnTo>
                  <a:pt x="253237" y="169672"/>
                </a:lnTo>
                <a:lnTo>
                  <a:pt x="253237" y="150749"/>
                </a:lnTo>
                <a:close/>
              </a:path>
              <a:path w="459104" h="172719">
                <a:moveTo>
                  <a:pt x="253237" y="108331"/>
                </a:moveTo>
                <a:lnTo>
                  <a:pt x="233934" y="108331"/>
                </a:lnTo>
                <a:lnTo>
                  <a:pt x="233934" y="120396"/>
                </a:lnTo>
                <a:lnTo>
                  <a:pt x="233330" y="127888"/>
                </a:lnTo>
                <a:lnTo>
                  <a:pt x="200660" y="156210"/>
                </a:lnTo>
                <a:lnTo>
                  <a:pt x="229343" y="156210"/>
                </a:lnTo>
                <a:lnTo>
                  <a:pt x="233425" y="150749"/>
                </a:lnTo>
                <a:lnTo>
                  <a:pt x="253237" y="150749"/>
                </a:lnTo>
                <a:lnTo>
                  <a:pt x="253237" y="108331"/>
                </a:lnTo>
                <a:close/>
              </a:path>
              <a:path w="459104" h="172719">
                <a:moveTo>
                  <a:pt x="210566" y="45720"/>
                </a:moveTo>
                <a:lnTo>
                  <a:pt x="169477" y="56991"/>
                </a:lnTo>
                <a:lnTo>
                  <a:pt x="169418" y="76962"/>
                </a:lnTo>
                <a:lnTo>
                  <a:pt x="178464" y="70387"/>
                </a:lnTo>
                <a:lnTo>
                  <a:pt x="188071" y="65706"/>
                </a:lnTo>
                <a:lnTo>
                  <a:pt x="198225" y="62906"/>
                </a:lnTo>
                <a:lnTo>
                  <a:pt x="208915" y="61975"/>
                </a:lnTo>
                <a:lnTo>
                  <a:pt x="245393" y="61975"/>
                </a:lnTo>
                <a:lnTo>
                  <a:pt x="242570" y="56991"/>
                </a:lnTo>
                <a:lnTo>
                  <a:pt x="229235" y="48533"/>
                </a:lnTo>
                <a:lnTo>
                  <a:pt x="210566" y="45720"/>
                </a:lnTo>
                <a:close/>
              </a:path>
              <a:path w="459104" h="172719">
                <a:moveTo>
                  <a:pt x="315722" y="65024"/>
                </a:moveTo>
                <a:lnTo>
                  <a:pt x="296291" y="65024"/>
                </a:lnTo>
                <a:lnTo>
                  <a:pt x="296291" y="136779"/>
                </a:lnTo>
                <a:lnTo>
                  <a:pt x="298269" y="152300"/>
                </a:lnTo>
                <a:lnTo>
                  <a:pt x="304212" y="163417"/>
                </a:lnTo>
                <a:lnTo>
                  <a:pt x="314132" y="170104"/>
                </a:lnTo>
                <a:lnTo>
                  <a:pt x="328041" y="172338"/>
                </a:lnTo>
                <a:lnTo>
                  <a:pt x="335534" y="172338"/>
                </a:lnTo>
                <a:lnTo>
                  <a:pt x="341630" y="171069"/>
                </a:lnTo>
                <a:lnTo>
                  <a:pt x="346202" y="168529"/>
                </a:lnTo>
                <a:lnTo>
                  <a:pt x="346202" y="155956"/>
                </a:lnTo>
                <a:lnTo>
                  <a:pt x="327152" y="155956"/>
                </a:lnTo>
                <a:lnTo>
                  <a:pt x="322580" y="154178"/>
                </a:lnTo>
                <a:lnTo>
                  <a:pt x="319786" y="150749"/>
                </a:lnTo>
                <a:lnTo>
                  <a:pt x="317119" y="147320"/>
                </a:lnTo>
                <a:lnTo>
                  <a:pt x="315722" y="141478"/>
                </a:lnTo>
                <a:lnTo>
                  <a:pt x="315722" y="65024"/>
                </a:lnTo>
                <a:close/>
              </a:path>
              <a:path w="459104" h="172719">
                <a:moveTo>
                  <a:pt x="346202" y="151892"/>
                </a:moveTo>
                <a:lnTo>
                  <a:pt x="342646" y="154559"/>
                </a:lnTo>
                <a:lnTo>
                  <a:pt x="338455" y="155956"/>
                </a:lnTo>
                <a:lnTo>
                  <a:pt x="346202" y="155956"/>
                </a:lnTo>
                <a:lnTo>
                  <a:pt x="346202" y="151892"/>
                </a:lnTo>
                <a:close/>
              </a:path>
              <a:path w="459104" h="172719">
                <a:moveTo>
                  <a:pt x="346202" y="48513"/>
                </a:moveTo>
                <a:lnTo>
                  <a:pt x="275463" y="48513"/>
                </a:lnTo>
                <a:lnTo>
                  <a:pt x="275463" y="65024"/>
                </a:lnTo>
                <a:lnTo>
                  <a:pt x="346202" y="65024"/>
                </a:lnTo>
                <a:lnTo>
                  <a:pt x="346202" y="48513"/>
                </a:lnTo>
                <a:close/>
              </a:path>
              <a:path w="459104" h="172719">
                <a:moveTo>
                  <a:pt x="315722" y="12700"/>
                </a:moveTo>
                <a:lnTo>
                  <a:pt x="296291" y="18923"/>
                </a:lnTo>
                <a:lnTo>
                  <a:pt x="296291" y="48513"/>
                </a:lnTo>
                <a:lnTo>
                  <a:pt x="315722" y="48513"/>
                </a:lnTo>
                <a:lnTo>
                  <a:pt x="315722" y="12700"/>
                </a:lnTo>
                <a:close/>
              </a:path>
              <a:path w="459104" h="172719">
                <a:moveTo>
                  <a:pt x="451133" y="61975"/>
                </a:moveTo>
                <a:lnTo>
                  <a:pt x="414655" y="61975"/>
                </a:lnTo>
                <a:lnTo>
                  <a:pt x="425582" y="63904"/>
                </a:lnTo>
                <a:lnTo>
                  <a:pt x="433403" y="69691"/>
                </a:lnTo>
                <a:lnTo>
                  <a:pt x="438104" y="79335"/>
                </a:lnTo>
                <a:lnTo>
                  <a:pt x="439674" y="92837"/>
                </a:lnTo>
                <a:lnTo>
                  <a:pt x="403352" y="97917"/>
                </a:lnTo>
                <a:lnTo>
                  <a:pt x="385849" y="102518"/>
                </a:lnTo>
                <a:lnTo>
                  <a:pt x="373348" y="110632"/>
                </a:lnTo>
                <a:lnTo>
                  <a:pt x="365846" y="122300"/>
                </a:lnTo>
                <a:lnTo>
                  <a:pt x="363347" y="137541"/>
                </a:lnTo>
                <a:lnTo>
                  <a:pt x="363987" y="145063"/>
                </a:lnTo>
                <a:lnTo>
                  <a:pt x="393277" y="171870"/>
                </a:lnTo>
                <a:lnTo>
                  <a:pt x="401828" y="172466"/>
                </a:lnTo>
                <a:lnTo>
                  <a:pt x="413430" y="171108"/>
                </a:lnTo>
                <a:lnTo>
                  <a:pt x="423497" y="167036"/>
                </a:lnTo>
                <a:lnTo>
                  <a:pt x="432063" y="160250"/>
                </a:lnTo>
                <a:lnTo>
                  <a:pt x="435083" y="156210"/>
                </a:lnTo>
                <a:lnTo>
                  <a:pt x="399415" y="156210"/>
                </a:lnTo>
                <a:lnTo>
                  <a:pt x="393700" y="154305"/>
                </a:lnTo>
                <a:lnTo>
                  <a:pt x="389509" y="150622"/>
                </a:lnTo>
                <a:lnTo>
                  <a:pt x="385318" y="146812"/>
                </a:lnTo>
                <a:lnTo>
                  <a:pt x="383159" y="141986"/>
                </a:lnTo>
                <a:lnTo>
                  <a:pt x="383174" y="127851"/>
                </a:lnTo>
                <a:lnTo>
                  <a:pt x="385453" y="122295"/>
                </a:lnTo>
                <a:lnTo>
                  <a:pt x="394588" y="115950"/>
                </a:lnTo>
                <a:lnTo>
                  <a:pt x="401447" y="113664"/>
                </a:lnTo>
                <a:lnTo>
                  <a:pt x="439674" y="108331"/>
                </a:lnTo>
                <a:lnTo>
                  <a:pt x="458978" y="108331"/>
                </a:lnTo>
                <a:lnTo>
                  <a:pt x="458978" y="90932"/>
                </a:lnTo>
                <a:lnTo>
                  <a:pt x="456311" y="71116"/>
                </a:lnTo>
                <a:lnTo>
                  <a:pt x="451133" y="61975"/>
                </a:lnTo>
                <a:close/>
              </a:path>
              <a:path w="459104" h="172719">
                <a:moveTo>
                  <a:pt x="458978" y="150749"/>
                </a:moveTo>
                <a:lnTo>
                  <a:pt x="439674" y="150749"/>
                </a:lnTo>
                <a:lnTo>
                  <a:pt x="439674" y="169672"/>
                </a:lnTo>
                <a:lnTo>
                  <a:pt x="458978" y="169672"/>
                </a:lnTo>
                <a:lnTo>
                  <a:pt x="458978" y="150749"/>
                </a:lnTo>
                <a:close/>
              </a:path>
              <a:path w="459104" h="172719">
                <a:moveTo>
                  <a:pt x="458978" y="108331"/>
                </a:moveTo>
                <a:lnTo>
                  <a:pt x="439674" y="108331"/>
                </a:lnTo>
                <a:lnTo>
                  <a:pt x="439674" y="120396"/>
                </a:lnTo>
                <a:lnTo>
                  <a:pt x="439070" y="127888"/>
                </a:lnTo>
                <a:lnTo>
                  <a:pt x="406400" y="156210"/>
                </a:lnTo>
                <a:lnTo>
                  <a:pt x="435083" y="156210"/>
                </a:lnTo>
                <a:lnTo>
                  <a:pt x="439166" y="150749"/>
                </a:lnTo>
                <a:lnTo>
                  <a:pt x="458978" y="150749"/>
                </a:lnTo>
                <a:lnTo>
                  <a:pt x="458978" y="108331"/>
                </a:lnTo>
                <a:close/>
              </a:path>
              <a:path w="459104" h="172719">
                <a:moveTo>
                  <a:pt x="416306" y="45720"/>
                </a:moveTo>
                <a:lnTo>
                  <a:pt x="375217" y="56991"/>
                </a:lnTo>
                <a:lnTo>
                  <a:pt x="375158" y="76962"/>
                </a:lnTo>
                <a:lnTo>
                  <a:pt x="384204" y="70387"/>
                </a:lnTo>
                <a:lnTo>
                  <a:pt x="393811" y="65706"/>
                </a:lnTo>
                <a:lnTo>
                  <a:pt x="403965" y="62906"/>
                </a:lnTo>
                <a:lnTo>
                  <a:pt x="414655" y="61975"/>
                </a:lnTo>
                <a:lnTo>
                  <a:pt x="451133" y="61975"/>
                </a:lnTo>
                <a:lnTo>
                  <a:pt x="448310" y="56991"/>
                </a:lnTo>
                <a:lnTo>
                  <a:pt x="434975" y="48533"/>
                </a:lnTo>
                <a:lnTo>
                  <a:pt x="416306" y="45720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729190" y="1869956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89" h="429894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D73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2927108" y="1969030"/>
            <a:ext cx="959700" cy="230882"/>
          </a:xfrm>
          <a:custGeom>
            <a:avLst/>
            <a:gdLst/>
            <a:ahLst/>
            <a:cxnLst/>
            <a:rect l="l" t="t" r="r" b="b"/>
            <a:pathLst>
              <a:path w="1304925" h="235585">
                <a:moveTo>
                  <a:pt x="85598" y="9779"/>
                </a:moveTo>
                <a:lnTo>
                  <a:pt x="65024" y="9779"/>
                </a:lnTo>
                <a:lnTo>
                  <a:pt x="0" y="179450"/>
                </a:lnTo>
                <a:lnTo>
                  <a:pt x="22098" y="179450"/>
                </a:lnTo>
                <a:lnTo>
                  <a:pt x="38988" y="131825"/>
                </a:lnTo>
                <a:lnTo>
                  <a:pt x="132553" y="131825"/>
                </a:lnTo>
                <a:lnTo>
                  <a:pt x="125663" y="113919"/>
                </a:lnTo>
                <a:lnTo>
                  <a:pt x="45593" y="113919"/>
                </a:lnTo>
                <a:lnTo>
                  <a:pt x="73025" y="38862"/>
                </a:lnTo>
                <a:lnTo>
                  <a:pt x="73913" y="35179"/>
                </a:lnTo>
                <a:lnTo>
                  <a:pt x="74675" y="30353"/>
                </a:lnTo>
                <a:lnTo>
                  <a:pt x="93513" y="30353"/>
                </a:lnTo>
                <a:lnTo>
                  <a:pt x="85598" y="9779"/>
                </a:lnTo>
                <a:close/>
              </a:path>
              <a:path w="1304925" h="235585">
                <a:moveTo>
                  <a:pt x="132553" y="131825"/>
                </a:moveTo>
                <a:lnTo>
                  <a:pt x="110871" y="131825"/>
                </a:lnTo>
                <a:lnTo>
                  <a:pt x="128905" y="179450"/>
                </a:lnTo>
                <a:lnTo>
                  <a:pt x="150875" y="179450"/>
                </a:lnTo>
                <a:lnTo>
                  <a:pt x="132553" y="131825"/>
                </a:lnTo>
                <a:close/>
              </a:path>
              <a:path w="1304925" h="235585">
                <a:moveTo>
                  <a:pt x="93513" y="30353"/>
                </a:moveTo>
                <a:lnTo>
                  <a:pt x="75184" y="30353"/>
                </a:lnTo>
                <a:lnTo>
                  <a:pt x="76073" y="35560"/>
                </a:lnTo>
                <a:lnTo>
                  <a:pt x="76962" y="39370"/>
                </a:lnTo>
                <a:lnTo>
                  <a:pt x="77850" y="41656"/>
                </a:lnTo>
                <a:lnTo>
                  <a:pt x="104394" y="113919"/>
                </a:lnTo>
                <a:lnTo>
                  <a:pt x="125663" y="113919"/>
                </a:lnTo>
                <a:lnTo>
                  <a:pt x="93513" y="30353"/>
                </a:lnTo>
                <a:close/>
              </a:path>
              <a:path w="1304925" h="235585">
                <a:moveTo>
                  <a:pt x="193421" y="58293"/>
                </a:moveTo>
                <a:lnTo>
                  <a:pt x="173989" y="58293"/>
                </a:lnTo>
                <a:lnTo>
                  <a:pt x="173989" y="235077"/>
                </a:lnTo>
                <a:lnTo>
                  <a:pt x="193421" y="235077"/>
                </a:lnTo>
                <a:lnTo>
                  <a:pt x="193421" y="161925"/>
                </a:lnTo>
                <a:lnTo>
                  <a:pt x="211787" y="161925"/>
                </a:lnTo>
                <a:lnTo>
                  <a:pt x="193421" y="129921"/>
                </a:lnTo>
                <a:lnTo>
                  <a:pt x="193421" y="113030"/>
                </a:lnTo>
                <a:lnTo>
                  <a:pt x="208073" y="79502"/>
                </a:lnTo>
                <a:lnTo>
                  <a:pt x="193421" y="79502"/>
                </a:lnTo>
                <a:lnTo>
                  <a:pt x="193421" y="58293"/>
                </a:lnTo>
                <a:close/>
              </a:path>
              <a:path w="1304925" h="235585">
                <a:moveTo>
                  <a:pt x="211787" y="161925"/>
                </a:moveTo>
                <a:lnTo>
                  <a:pt x="193801" y="161925"/>
                </a:lnTo>
                <a:lnTo>
                  <a:pt x="200870" y="170832"/>
                </a:lnTo>
                <a:lnTo>
                  <a:pt x="209296" y="177180"/>
                </a:lnTo>
                <a:lnTo>
                  <a:pt x="219055" y="180980"/>
                </a:lnTo>
                <a:lnTo>
                  <a:pt x="230124" y="182245"/>
                </a:lnTo>
                <a:lnTo>
                  <a:pt x="242294" y="181101"/>
                </a:lnTo>
                <a:lnTo>
                  <a:pt x="253095" y="177673"/>
                </a:lnTo>
                <a:lnTo>
                  <a:pt x="262538" y="171958"/>
                </a:lnTo>
                <a:lnTo>
                  <a:pt x="268708" y="165862"/>
                </a:lnTo>
                <a:lnTo>
                  <a:pt x="227964" y="165862"/>
                </a:lnTo>
                <a:lnTo>
                  <a:pt x="220771" y="165217"/>
                </a:lnTo>
                <a:lnTo>
                  <a:pt x="214233" y="163274"/>
                </a:lnTo>
                <a:lnTo>
                  <a:pt x="211787" y="161925"/>
                </a:lnTo>
                <a:close/>
              </a:path>
              <a:path w="1304925" h="235585">
                <a:moveTo>
                  <a:pt x="272370" y="71755"/>
                </a:moveTo>
                <a:lnTo>
                  <a:pt x="230886" y="71755"/>
                </a:lnTo>
                <a:lnTo>
                  <a:pt x="238460" y="72469"/>
                </a:lnTo>
                <a:lnTo>
                  <a:pt x="245189" y="74612"/>
                </a:lnTo>
                <a:lnTo>
                  <a:pt x="265438" y="113030"/>
                </a:lnTo>
                <a:lnTo>
                  <a:pt x="265536" y="115316"/>
                </a:lnTo>
                <a:lnTo>
                  <a:pt x="264935" y="126271"/>
                </a:lnTo>
                <a:lnTo>
                  <a:pt x="243649" y="162512"/>
                </a:lnTo>
                <a:lnTo>
                  <a:pt x="227964" y="165862"/>
                </a:lnTo>
                <a:lnTo>
                  <a:pt x="268708" y="165862"/>
                </a:lnTo>
                <a:lnTo>
                  <a:pt x="284460" y="129720"/>
                </a:lnTo>
                <a:lnTo>
                  <a:pt x="285369" y="115316"/>
                </a:lnTo>
                <a:lnTo>
                  <a:pt x="284557" y="102310"/>
                </a:lnTo>
                <a:lnTo>
                  <a:pt x="282114" y="90709"/>
                </a:lnTo>
                <a:lnTo>
                  <a:pt x="278028" y="80490"/>
                </a:lnTo>
                <a:lnTo>
                  <a:pt x="272370" y="71755"/>
                </a:lnTo>
                <a:close/>
              </a:path>
              <a:path w="1304925" h="235585">
                <a:moveTo>
                  <a:pt x="235712" y="55372"/>
                </a:moveTo>
                <a:lnTo>
                  <a:pt x="222734" y="56892"/>
                </a:lnTo>
                <a:lnTo>
                  <a:pt x="211423" y="61436"/>
                </a:lnTo>
                <a:lnTo>
                  <a:pt x="201779" y="68980"/>
                </a:lnTo>
                <a:lnTo>
                  <a:pt x="193801" y="79502"/>
                </a:lnTo>
                <a:lnTo>
                  <a:pt x="208073" y="79502"/>
                </a:lnTo>
                <a:lnTo>
                  <a:pt x="209258" y="78398"/>
                </a:lnTo>
                <a:lnTo>
                  <a:pt x="215630" y="74707"/>
                </a:lnTo>
                <a:lnTo>
                  <a:pt x="222835" y="72493"/>
                </a:lnTo>
                <a:lnTo>
                  <a:pt x="230886" y="71755"/>
                </a:lnTo>
                <a:lnTo>
                  <a:pt x="272370" y="71755"/>
                </a:lnTo>
                <a:lnTo>
                  <a:pt x="265072" y="64533"/>
                </a:lnTo>
                <a:lnTo>
                  <a:pt x="256571" y="59451"/>
                </a:lnTo>
                <a:lnTo>
                  <a:pt x="246784" y="56393"/>
                </a:lnTo>
                <a:lnTo>
                  <a:pt x="235712" y="55372"/>
                </a:lnTo>
                <a:close/>
              </a:path>
              <a:path w="1304925" h="235585">
                <a:moveTo>
                  <a:pt x="335152" y="58293"/>
                </a:moveTo>
                <a:lnTo>
                  <a:pt x="315722" y="58293"/>
                </a:lnTo>
                <a:lnTo>
                  <a:pt x="315722" y="235077"/>
                </a:lnTo>
                <a:lnTo>
                  <a:pt x="335152" y="235077"/>
                </a:lnTo>
                <a:lnTo>
                  <a:pt x="335152" y="161925"/>
                </a:lnTo>
                <a:lnTo>
                  <a:pt x="353519" y="161925"/>
                </a:lnTo>
                <a:lnTo>
                  <a:pt x="335152" y="129921"/>
                </a:lnTo>
                <a:lnTo>
                  <a:pt x="335152" y="113030"/>
                </a:lnTo>
                <a:lnTo>
                  <a:pt x="349805" y="79502"/>
                </a:lnTo>
                <a:lnTo>
                  <a:pt x="335152" y="79502"/>
                </a:lnTo>
                <a:lnTo>
                  <a:pt x="335152" y="58293"/>
                </a:lnTo>
                <a:close/>
              </a:path>
              <a:path w="1304925" h="235585">
                <a:moveTo>
                  <a:pt x="353519" y="161925"/>
                </a:moveTo>
                <a:lnTo>
                  <a:pt x="335534" y="161925"/>
                </a:lnTo>
                <a:lnTo>
                  <a:pt x="342602" y="170832"/>
                </a:lnTo>
                <a:lnTo>
                  <a:pt x="351028" y="177180"/>
                </a:lnTo>
                <a:lnTo>
                  <a:pt x="360787" y="180980"/>
                </a:lnTo>
                <a:lnTo>
                  <a:pt x="371856" y="182245"/>
                </a:lnTo>
                <a:lnTo>
                  <a:pt x="384026" y="181101"/>
                </a:lnTo>
                <a:lnTo>
                  <a:pt x="394827" y="177673"/>
                </a:lnTo>
                <a:lnTo>
                  <a:pt x="404270" y="171958"/>
                </a:lnTo>
                <a:lnTo>
                  <a:pt x="410440" y="165862"/>
                </a:lnTo>
                <a:lnTo>
                  <a:pt x="369697" y="165862"/>
                </a:lnTo>
                <a:lnTo>
                  <a:pt x="362503" y="165217"/>
                </a:lnTo>
                <a:lnTo>
                  <a:pt x="355965" y="163274"/>
                </a:lnTo>
                <a:lnTo>
                  <a:pt x="353519" y="161925"/>
                </a:lnTo>
                <a:close/>
              </a:path>
              <a:path w="1304925" h="235585">
                <a:moveTo>
                  <a:pt x="414102" y="71755"/>
                </a:moveTo>
                <a:lnTo>
                  <a:pt x="372618" y="71755"/>
                </a:lnTo>
                <a:lnTo>
                  <a:pt x="380192" y="72469"/>
                </a:lnTo>
                <a:lnTo>
                  <a:pt x="386921" y="74612"/>
                </a:lnTo>
                <a:lnTo>
                  <a:pt x="407170" y="113030"/>
                </a:lnTo>
                <a:lnTo>
                  <a:pt x="407268" y="115316"/>
                </a:lnTo>
                <a:lnTo>
                  <a:pt x="406667" y="126271"/>
                </a:lnTo>
                <a:lnTo>
                  <a:pt x="385381" y="162512"/>
                </a:lnTo>
                <a:lnTo>
                  <a:pt x="369697" y="165862"/>
                </a:lnTo>
                <a:lnTo>
                  <a:pt x="410440" y="165862"/>
                </a:lnTo>
                <a:lnTo>
                  <a:pt x="426192" y="129720"/>
                </a:lnTo>
                <a:lnTo>
                  <a:pt x="427100" y="115316"/>
                </a:lnTo>
                <a:lnTo>
                  <a:pt x="426289" y="102310"/>
                </a:lnTo>
                <a:lnTo>
                  <a:pt x="423846" y="90709"/>
                </a:lnTo>
                <a:lnTo>
                  <a:pt x="419760" y="80490"/>
                </a:lnTo>
                <a:lnTo>
                  <a:pt x="414102" y="71755"/>
                </a:lnTo>
                <a:close/>
              </a:path>
              <a:path w="1304925" h="235585">
                <a:moveTo>
                  <a:pt x="377444" y="55372"/>
                </a:moveTo>
                <a:lnTo>
                  <a:pt x="364466" y="56892"/>
                </a:lnTo>
                <a:lnTo>
                  <a:pt x="353155" y="61436"/>
                </a:lnTo>
                <a:lnTo>
                  <a:pt x="343511" y="68980"/>
                </a:lnTo>
                <a:lnTo>
                  <a:pt x="335534" y="79502"/>
                </a:lnTo>
                <a:lnTo>
                  <a:pt x="349805" y="79502"/>
                </a:lnTo>
                <a:lnTo>
                  <a:pt x="350990" y="78398"/>
                </a:lnTo>
                <a:lnTo>
                  <a:pt x="357362" y="74707"/>
                </a:lnTo>
                <a:lnTo>
                  <a:pt x="364567" y="72493"/>
                </a:lnTo>
                <a:lnTo>
                  <a:pt x="372618" y="71755"/>
                </a:lnTo>
                <a:lnTo>
                  <a:pt x="414102" y="71755"/>
                </a:lnTo>
                <a:lnTo>
                  <a:pt x="406804" y="64533"/>
                </a:lnTo>
                <a:lnTo>
                  <a:pt x="398303" y="59451"/>
                </a:lnTo>
                <a:lnTo>
                  <a:pt x="388516" y="56393"/>
                </a:lnTo>
                <a:lnTo>
                  <a:pt x="377444" y="55372"/>
                </a:lnTo>
                <a:close/>
              </a:path>
              <a:path w="1304925" h="235585">
                <a:moveTo>
                  <a:pt x="476885" y="0"/>
                </a:moveTo>
                <a:lnTo>
                  <a:pt x="457454" y="0"/>
                </a:lnTo>
                <a:lnTo>
                  <a:pt x="457454" y="179450"/>
                </a:lnTo>
                <a:lnTo>
                  <a:pt x="476885" y="179450"/>
                </a:lnTo>
                <a:lnTo>
                  <a:pt x="476885" y="0"/>
                </a:lnTo>
                <a:close/>
              </a:path>
              <a:path w="1304925" h="235585">
                <a:moveTo>
                  <a:pt x="530351" y="2286"/>
                </a:moveTo>
                <a:lnTo>
                  <a:pt x="523367" y="2286"/>
                </a:lnTo>
                <a:lnTo>
                  <a:pt x="520319" y="3429"/>
                </a:lnTo>
                <a:lnTo>
                  <a:pt x="515493" y="8255"/>
                </a:lnTo>
                <a:lnTo>
                  <a:pt x="514223" y="11303"/>
                </a:lnTo>
                <a:lnTo>
                  <a:pt x="514223" y="18542"/>
                </a:lnTo>
                <a:lnTo>
                  <a:pt x="515493" y="21590"/>
                </a:lnTo>
                <a:lnTo>
                  <a:pt x="517906" y="23875"/>
                </a:lnTo>
                <a:lnTo>
                  <a:pt x="520319" y="26289"/>
                </a:lnTo>
                <a:lnTo>
                  <a:pt x="523367" y="27432"/>
                </a:lnTo>
                <a:lnTo>
                  <a:pt x="530351" y="27432"/>
                </a:lnTo>
                <a:lnTo>
                  <a:pt x="533400" y="26289"/>
                </a:lnTo>
                <a:lnTo>
                  <a:pt x="538352" y="21336"/>
                </a:lnTo>
                <a:lnTo>
                  <a:pt x="539567" y="18542"/>
                </a:lnTo>
                <a:lnTo>
                  <a:pt x="539623" y="11303"/>
                </a:lnTo>
                <a:lnTo>
                  <a:pt x="538352" y="8255"/>
                </a:lnTo>
                <a:lnTo>
                  <a:pt x="535813" y="5842"/>
                </a:lnTo>
                <a:lnTo>
                  <a:pt x="533400" y="3429"/>
                </a:lnTo>
                <a:lnTo>
                  <a:pt x="530351" y="2286"/>
                </a:lnTo>
                <a:close/>
              </a:path>
              <a:path w="1304925" h="235585">
                <a:moveTo>
                  <a:pt x="536321" y="58293"/>
                </a:moveTo>
                <a:lnTo>
                  <a:pt x="516889" y="58293"/>
                </a:lnTo>
                <a:lnTo>
                  <a:pt x="516889" y="179450"/>
                </a:lnTo>
                <a:lnTo>
                  <a:pt x="536321" y="179450"/>
                </a:lnTo>
                <a:lnTo>
                  <a:pt x="536321" y="58293"/>
                </a:lnTo>
                <a:close/>
              </a:path>
              <a:path w="1304925" h="235585">
                <a:moveTo>
                  <a:pt x="630936" y="55372"/>
                </a:moveTo>
                <a:lnTo>
                  <a:pt x="585216" y="73533"/>
                </a:lnTo>
                <a:lnTo>
                  <a:pt x="568071" y="121666"/>
                </a:lnTo>
                <a:lnTo>
                  <a:pt x="569051" y="134475"/>
                </a:lnTo>
                <a:lnTo>
                  <a:pt x="592492" y="172761"/>
                </a:lnTo>
                <a:lnTo>
                  <a:pt x="625729" y="182245"/>
                </a:lnTo>
                <a:lnTo>
                  <a:pt x="635015" y="181721"/>
                </a:lnTo>
                <a:lnTo>
                  <a:pt x="643636" y="180149"/>
                </a:lnTo>
                <a:lnTo>
                  <a:pt x="651589" y="177530"/>
                </a:lnTo>
                <a:lnTo>
                  <a:pt x="658876" y="173862"/>
                </a:lnTo>
                <a:lnTo>
                  <a:pt x="658876" y="165862"/>
                </a:lnTo>
                <a:lnTo>
                  <a:pt x="629031" y="165862"/>
                </a:lnTo>
                <a:lnTo>
                  <a:pt x="620097" y="165100"/>
                </a:lnTo>
                <a:lnTo>
                  <a:pt x="590661" y="139080"/>
                </a:lnTo>
                <a:lnTo>
                  <a:pt x="587883" y="120015"/>
                </a:lnTo>
                <a:lnTo>
                  <a:pt x="588623" y="109700"/>
                </a:lnTo>
                <a:lnTo>
                  <a:pt x="613346" y="75088"/>
                </a:lnTo>
                <a:lnTo>
                  <a:pt x="630301" y="71755"/>
                </a:lnTo>
                <a:lnTo>
                  <a:pt x="659130" y="71755"/>
                </a:lnTo>
                <a:lnTo>
                  <a:pt x="659130" y="61341"/>
                </a:lnTo>
                <a:lnTo>
                  <a:pt x="652795" y="58747"/>
                </a:lnTo>
                <a:lnTo>
                  <a:pt x="645985" y="56880"/>
                </a:lnTo>
                <a:lnTo>
                  <a:pt x="638698" y="55751"/>
                </a:lnTo>
                <a:lnTo>
                  <a:pt x="630936" y="55372"/>
                </a:lnTo>
                <a:close/>
              </a:path>
              <a:path w="1304925" h="235585">
                <a:moveTo>
                  <a:pt x="658876" y="155448"/>
                </a:moveTo>
                <a:lnTo>
                  <a:pt x="651783" y="160021"/>
                </a:lnTo>
                <a:lnTo>
                  <a:pt x="644429" y="163274"/>
                </a:lnTo>
                <a:lnTo>
                  <a:pt x="636837" y="165217"/>
                </a:lnTo>
                <a:lnTo>
                  <a:pt x="629031" y="165862"/>
                </a:lnTo>
                <a:lnTo>
                  <a:pt x="658876" y="165862"/>
                </a:lnTo>
                <a:lnTo>
                  <a:pt x="658876" y="155448"/>
                </a:lnTo>
                <a:close/>
              </a:path>
              <a:path w="1304925" h="235585">
                <a:moveTo>
                  <a:pt x="659130" y="71755"/>
                </a:moveTo>
                <a:lnTo>
                  <a:pt x="630301" y="71755"/>
                </a:lnTo>
                <a:lnTo>
                  <a:pt x="637823" y="72348"/>
                </a:lnTo>
                <a:lnTo>
                  <a:pt x="645144" y="74120"/>
                </a:lnTo>
                <a:lnTo>
                  <a:pt x="652250" y="77059"/>
                </a:lnTo>
                <a:lnTo>
                  <a:pt x="659130" y="81153"/>
                </a:lnTo>
                <a:lnTo>
                  <a:pt x="659130" y="71755"/>
                </a:lnTo>
                <a:close/>
              </a:path>
              <a:path w="1304925" h="235585">
                <a:moveTo>
                  <a:pt x="766507" y="71755"/>
                </a:moveTo>
                <a:lnTo>
                  <a:pt x="729869" y="71755"/>
                </a:lnTo>
                <a:lnTo>
                  <a:pt x="740796" y="73683"/>
                </a:lnTo>
                <a:lnTo>
                  <a:pt x="748617" y="79470"/>
                </a:lnTo>
                <a:lnTo>
                  <a:pt x="753318" y="89114"/>
                </a:lnTo>
                <a:lnTo>
                  <a:pt x="754888" y="102616"/>
                </a:lnTo>
                <a:lnTo>
                  <a:pt x="718566" y="107696"/>
                </a:lnTo>
                <a:lnTo>
                  <a:pt x="701063" y="112242"/>
                </a:lnTo>
                <a:lnTo>
                  <a:pt x="688562" y="120348"/>
                </a:lnTo>
                <a:lnTo>
                  <a:pt x="681061" y="132002"/>
                </a:lnTo>
                <a:lnTo>
                  <a:pt x="678561" y="147193"/>
                </a:lnTo>
                <a:lnTo>
                  <a:pt x="679203" y="154717"/>
                </a:lnTo>
                <a:lnTo>
                  <a:pt x="708600" y="181649"/>
                </a:lnTo>
                <a:lnTo>
                  <a:pt x="717169" y="182245"/>
                </a:lnTo>
                <a:lnTo>
                  <a:pt x="728716" y="180887"/>
                </a:lnTo>
                <a:lnTo>
                  <a:pt x="738774" y="176815"/>
                </a:lnTo>
                <a:lnTo>
                  <a:pt x="747333" y="170029"/>
                </a:lnTo>
                <a:lnTo>
                  <a:pt x="750424" y="165862"/>
                </a:lnTo>
                <a:lnTo>
                  <a:pt x="714629" y="165862"/>
                </a:lnTo>
                <a:lnTo>
                  <a:pt x="709041" y="164084"/>
                </a:lnTo>
                <a:lnTo>
                  <a:pt x="700532" y="156591"/>
                </a:lnTo>
                <a:lnTo>
                  <a:pt x="698373" y="151765"/>
                </a:lnTo>
                <a:lnTo>
                  <a:pt x="698410" y="137576"/>
                </a:lnTo>
                <a:lnTo>
                  <a:pt x="754888" y="118110"/>
                </a:lnTo>
                <a:lnTo>
                  <a:pt x="774319" y="118110"/>
                </a:lnTo>
                <a:lnTo>
                  <a:pt x="774319" y="100584"/>
                </a:lnTo>
                <a:lnTo>
                  <a:pt x="771650" y="80821"/>
                </a:lnTo>
                <a:lnTo>
                  <a:pt x="766507" y="71755"/>
                </a:lnTo>
                <a:close/>
              </a:path>
              <a:path w="1304925" h="235585">
                <a:moveTo>
                  <a:pt x="774319" y="160528"/>
                </a:moveTo>
                <a:lnTo>
                  <a:pt x="754888" y="160528"/>
                </a:lnTo>
                <a:lnTo>
                  <a:pt x="754888" y="179450"/>
                </a:lnTo>
                <a:lnTo>
                  <a:pt x="774319" y="179450"/>
                </a:lnTo>
                <a:lnTo>
                  <a:pt x="774319" y="160528"/>
                </a:lnTo>
                <a:close/>
              </a:path>
              <a:path w="1304925" h="235585">
                <a:moveTo>
                  <a:pt x="774319" y="118110"/>
                </a:moveTo>
                <a:lnTo>
                  <a:pt x="754888" y="118110"/>
                </a:lnTo>
                <a:lnTo>
                  <a:pt x="754888" y="130175"/>
                </a:lnTo>
                <a:lnTo>
                  <a:pt x="754294" y="137576"/>
                </a:lnTo>
                <a:lnTo>
                  <a:pt x="721613" y="165862"/>
                </a:lnTo>
                <a:lnTo>
                  <a:pt x="750424" y="165862"/>
                </a:lnTo>
                <a:lnTo>
                  <a:pt x="754380" y="160528"/>
                </a:lnTo>
                <a:lnTo>
                  <a:pt x="774319" y="160528"/>
                </a:lnTo>
                <a:lnTo>
                  <a:pt x="774319" y="118110"/>
                </a:lnTo>
                <a:close/>
              </a:path>
              <a:path w="1304925" h="235585">
                <a:moveTo>
                  <a:pt x="731520" y="55372"/>
                </a:moveTo>
                <a:lnTo>
                  <a:pt x="720232" y="56086"/>
                </a:lnTo>
                <a:lnTo>
                  <a:pt x="709612" y="58229"/>
                </a:lnTo>
                <a:lnTo>
                  <a:pt x="699658" y="61801"/>
                </a:lnTo>
                <a:lnTo>
                  <a:pt x="690372" y="66802"/>
                </a:lnTo>
                <a:lnTo>
                  <a:pt x="690372" y="86614"/>
                </a:lnTo>
                <a:lnTo>
                  <a:pt x="699472" y="80113"/>
                </a:lnTo>
                <a:lnTo>
                  <a:pt x="709072" y="75469"/>
                </a:lnTo>
                <a:lnTo>
                  <a:pt x="719197" y="72683"/>
                </a:lnTo>
                <a:lnTo>
                  <a:pt x="729869" y="71755"/>
                </a:lnTo>
                <a:lnTo>
                  <a:pt x="766507" y="71755"/>
                </a:lnTo>
                <a:lnTo>
                  <a:pt x="763635" y="66690"/>
                </a:lnTo>
                <a:lnTo>
                  <a:pt x="750262" y="58203"/>
                </a:lnTo>
                <a:lnTo>
                  <a:pt x="731520" y="55372"/>
                </a:lnTo>
                <a:close/>
              </a:path>
              <a:path w="1304925" h="235585">
                <a:moveTo>
                  <a:pt x="836676" y="74803"/>
                </a:moveTo>
                <a:lnTo>
                  <a:pt x="817245" y="74803"/>
                </a:lnTo>
                <a:lnTo>
                  <a:pt x="817245" y="146558"/>
                </a:lnTo>
                <a:lnTo>
                  <a:pt x="819243" y="162059"/>
                </a:lnTo>
                <a:lnTo>
                  <a:pt x="825230" y="173132"/>
                </a:lnTo>
                <a:lnTo>
                  <a:pt x="835193" y="179776"/>
                </a:lnTo>
                <a:lnTo>
                  <a:pt x="849122" y="181991"/>
                </a:lnTo>
                <a:lnTo>
                  <a:pt x="856614" y="181991"/>
                </a:lnTo>
                <a:lnTo>
                  <a:pt x="862584" y="180721"/>
                </a:lnTo>
                <a:lnTo>
                  <a:pt x="867156" y="178181"/>
                </a:lnTo>
                <a:lnTo>
                  <a:pt x="867156" y="165735"/>
                </a:lnTo>
                <a:lnTo>
                  <a:pt x="848106" y="165735"/>
                </a:lnTo>
                <a:lnTo>
                  <a:pt x="843534" y="163957"/>
                </a:lnTo>
                <a:lnTo>
                  <a:pt x="838073" y="156972"/>
                </a:lnTo>
                <a:lnTo>
                  <a:pt x="836676" y="151257"/>
                </a:lnTo>
                <a:lnTo>
                  <a:pt x="836676" y="74803"/>
                </a:lnTo>
                <a:close/>
              </a:path>
              <a:path w="1304925" h="235585">
                <a:moveTo>
                  <a:pt x="867156" y="161671"/>
                </a:moveTo>
                <a:lnTo>
                  <a:pt x="863600" y="164337"/>
                </a:lnTo>
                <a:lnTo>
                  <a:pt x="859409" y="165735"/>
                </a:lnTo>
                <a:lnTo>
                  <a:pt x="867156" y="165735"/>
                </a:lnTo>
                <a:lnTo>
                  <a:pt x="867156" y="161671"/>
                </a:lnTo>
                <a:close/>
              </a:path>
              <a:path w="1304925" h="235585">
                <a:moveTo>
                  <a:pt x="867156" y="58293"/>
                </a:moveTo>
                <a:lnTo>
                  <a:pt x="796417" y="58293"/>
                </a:lnTo>
                <a:lnTo>
                  <a:pt x="796417" y="74803"/>
                </a:lnTo>
                <a:lnTo>
                  <a:pt x="867156" y="74803"/>
                </a:lnTo>
                <a:lnTo>
                  <a:pt x="867156" y="58293"/>
                </a:lnTo>
                <a:close/>
              </a:path>
              <a:path w="1304925" h="235585">
                <a:moveTo>
                  <a:pt x="836676" y="22352"/>
                </a:moveTo>
                <a:lnTo>
                  <a:pt x="817245" y="28702"/>
                </a:lnTo>
                <a:lnTo>
                  <a:pt x="817245" y="58293"/>
                </a:lnTo>
                <a:lnTo>
                  <a:pt x="836676" y="58293"/>
                </a:lnTo>
                <a:lnTo>
                  <a:pt x="836676" y="22352"/>
                </a:lnTo>
                <a:close/>
              </a:path>
              <a:path w="1304925" h="235585">
                <a:moveTo>
                  <a:pt x="906780" y="2286"/>
                </a:moveTo>
                <a:lnTo>
                  <a:pt x="899795" y="2286"/>
                </a:lnTo>
                <a:lnTo>
                  <a:pt x="896747" y="3429"/>
                </a:lnTo>
                <a:lnTo>
                  <a:pt x="891921" y="8255"/>
                </a:lnTo>
                <a:lnTo>
                  <a:pt x="890651" y="11303"/>
                </a:lnTo>
                <a:lnTo>
                  <a:pt x="890651" y="18542"/>
                </a:lnTo>
                <a:lnTo>
                  <a:pt x="891921" y="21590"/>
                </a:lnTo>
                <a:lnTo>
                  <a:pt x="894334" y="23875"/>
                </a:lnTo>
                <a:lnTo>
                  <a:pt x="896747" y="26289"/>
                </a:lnTo>
                <a:lnTo>
                  <a:pt x="899795" y="27432"/>
                </a:lnTo>
                <a:lnTo>
                  <a:pt x="906780" y="27432"/>
                </a:lnTo>
                <a:lnTo>
                  <a:pt x="909827" y="26289"/>
                </a:lnTo>
                <a:lnTo>
                  <a:pt x="914781" y="21336"/>
                </a:lnTo>
                <a:lnTo>
                  <a:pt x="915995" y="18542"/>
                </a:lnTo>
                <a:lnTo>
                  <a:pt x="916051" y="11303"/>
                </a:lnTo>
                <a:lnTo>
                  <a:pt x="914781" y="8255"/>
                </a:lnTo>
                <a:lnTo>
                  <a:pt x="912241" y="5842"/>
                </a:lnTo>
                <a:lnTo>
                  <a:pt x="909827" y="3429"/>
                </a:lnTo>
                <a:lnTo>
                  <a:pt x="906780" y="2286"/>
                </a:lnTo>
                <a:close/>
              </a:path>
              <a:path w="1304925" h="235585">
                <a:moveTo>
                  <a:pt x="912749" y="58293"/>
                </a:moveTo>
                <a:lnTo>
                  <a:pt x="893318" y="58293"/>
                </a:lnTo>
                <a:lnTo>
                  <a:pt x="893318" y="179450"/>
                </a:lnTo>
                <a:lnTo>
                  <a:pt x="912749" y="179450"/>
                </a:lnTo>
                <a:lnTo>
                  <a:pt x="912749" y="58293"/>
                </a:lnTo>
                <a:close/>
              </a:path>
              <a:path w="1304925" h="235585">
                <a:moveTo>
                  <a:pt x="1006221" y="55372"/>
                </a:moveTo>
                <a:lnTo>
                  <a:pt x="961115" y="72542"/>
                </a:lnTo>
                <a:lnTo>
                  <a:pt x="944499" y="120269"/>
                </a:lnTo>
                <a:lnTo>
                  <a:pt x="945499" y="133580"/>
                </a:lnTo>
                <a:lnTo>
                  <a:pt x="969170" y="172654"/>
                </a:lnTo>
                <a:lnTo>
                  <a:pt x="1003300" y="182245"/>
                </a:lnTo>
                <a:lnTo>
                  <a:pt x="1016418" y="181151"/>
                </a:lnTo>
                <a:lnTo>
                  <a:pt x="1028144" y="177879"/>
                </a:lnTo>
                <a:lnTo>
                  <a:pt x="1038465" y="172440"/>
                </a:lnTo>
                <a:lnTo>
                  <a:pt x="1046177" y="165862"/>
                </a:lnTo>
                <a:lnTo>
                  <a:pt x="1004824" y="165862"/>
                </a:lnTo>
                <a:lnTo>
                  <a:pt x="996041" y="165098"/>
                </a:lnTo>
                <a:lnTo>
                  <a:pt x="967073" y="138763"/>
                </a:lnTo>
                <a:lnTo>
                  <a:pt x="964362" y="120269"/>
                </a:lnTo>
                <a:lnTo>
                  <a:pt x="964385" y="118364"/>
                </a:lnTo>
                <a:lnTo>
                  <a:pt x="981160" y="78880"/>
                </a:lnTo>
                <a:lnTo>
                  <a:pt x="1004824" y="71755"/>
                </a:lnTo>
                <a:lnTo>
                  <a:pt x="1048077" y="71755"/>
                </a:lnTo>
                <a:lnTo>
                  <a:pt x="1040153" y="64801"/>
                </a:lnTo>
                <a:lnTo>
                  <a:pt x="1030319" y="59562"/>
                </a:lnTo>
                <a:lnTo>
                  <a:pt x="1019008" y="56419"/>
                </a:lnTo>
                <a:lnTo>
                  <a:pt x="1006221" y="55372"/>
                </a:lnTo>
                <a:close/>
              </a:path>
              <a:path w="1304925" h="235585">
                <a:moveTo>
                  <a:pt x="1048077" y="71755"/>
                </a:moveTo>
                <a:lnTo>
                  <a:pt x="1004824" y="71755"/>
                </a:lnTo>
                <a:lnTo>
                  <a:pt x="1013609" y="72517"/>
                </a:lnTo>
                <a:lnTo>
                  <a:pt x="1021381" y="74818"/>
                </a:lnTo>
                <a:lnTo>
                  <a:pt x="1043189" y="108362"/>
                </a:lnTo>
                <a:lnTo>
                  <a:pt x="1043768" y="118364"/>
                </a:lnTo>
                <a:lnTo>
                  <a:pt x="1043745" y="120269"/>
                </a:lnTo>
                <a:lnTo>
                  <a:pt x="1028059" y="159003"/>
                </a:lnTo>
                <a:lnTo>
                  <a:pt x="1004824" y="165862"/>
                </a:lnTo>
                <a:lnTo>
                  <a:pt x="1046177" y="165862"/>
                </a:lnTo>
                <a:lnTo>
                  <a:pt x="1063752" y="118364"/>
                </a:lnTo>
                <a:lnTo>
                  <a:pt x="1062799" y="104390"/>
                </a:lnTo>
                <a:lnTo>
                  <a:pt x="1059941" y="92011"/>
                </a:lnTo>
                <a:lnTo>
                  <a:pt x="1055179" y="81252"/>
                </a:lnTo>
                <a:lnTo>
                  <a:pt x="1048512" y="72136"/>
                </a:lnTo>
                <a:lnTo>
                  <a:pt x="1048077" y="71755"/>
                </a:lnTo>
                <a:close/>
              </a:path>
              <a:path w="1304925" h="235585">
                <a:moveTo>
                  <a:pt x="1113917" y="58293"/>
                </a:moveTo>
                <a:lnTo>
                  <a:pt x="1094486" y="58293"/>
                </a:lnTo>
                <a:lnTo>
                  <a:pt x="1094486" y="179450"/>
                </a:lnTo>
                <a:lnTo>
                  <a:pt x="1113917" y="179450"/>
                </a:lnTo>
                <a:lnTo>
                  <a:pt x="1113917" y="110362"/>
                </a:lnTo>
                <a:lnTo>
                  <a:pt x="1114512" y="102340"/>
                </a:lnTo>
                <a:lnTo>
                  <a:pt x="1116298" y="95043"/>
                </a:lnTo>
                <a:lnTo>
                  <a:pt x="1119274" y="88485"/>
                </a:lnTo>
                <a:lnTo>
                  <a:pt x="1123442" y="82677"/>
                </a:lnTo>
                <a:lnTo>
                  <a:pt x="1128042" y="78359"/>
                </a:lnTo>
                <a:lnTo>
                  <a:pt x="1113917" y="78359"/>
                </a:lnTo>
                <a:lnTo>
                  <a:pt x="1113917" y="58293"/>
                </a:lnTo>
                <a:close/>
              </a:path>
              <a:path w="1304925" h="235585">
                <a:moveTo>
                  <a:pt x="1186807" y="71755"/>
                </a:moveTo>
                <a:lnTo>
                  <a:pt x="1147445" y="71755"/>
                </a:lnTo>
                <a:lnTo>
                  <a:pt x="1159779" y="74162"/>
                </a:lnTo>
                <a:lnTo>
                  <a:pt x="1168590" y="81391"/>
                </a:lnTo>
                <a:lnTo>
                  <a:pt x="1173876" y="93454"/>
                </a:lnTo>
                <a:lnTo>
                  <a:pt x="1175639" y="110362"/>
                </a:lnTo>
                <a:lnTo>
                  <a:pt x="1175639" y="179450"/>
                </a:lnTo>
                <a:lnTo>
                  <a:pt x="1195070" y="179450"/>
                </a:lnTo>
                <a:lnTo>
                  <a:pt x="1195070" y="105283"/>
                </a:lnTo>
                <a:lnTo>
                  <a:pt x="1194405" y="93898"/>
                </a:lnTo>
                <a:lnTo>
                  <a:pt x="1192418" y="83931"/>
                </a:lnTo>
                <a:lnTo>
                  <a:pt x="1189122" y="75368"/>
                </a:lnTo>
                <a:lnTo>
                  <a:pt x="1186807" y="71755"/>
                </a:lnTo>
                <a:close/>
              </a:path>
              <a:path w="1304925" h="235585">
                <a:moveTo>
                  <a:pt x="1154049" y="55372"/>
                </a:moveTo>
                <a:lnTo>
                  <a:pt x="1141837" y="56820"/>
                </a:lnTo>
                <a:lnTo>
                  <a:pt x="1131125" y="61150"/>
                </a:lnTo>
                <a:lnTo>
                  <a:pt x="1121937" y="68337"/>
                </a:lnTo>
                <a:lnTo>
                  <a:pt x="1114298" y="78359"/>
                </a:lnTo>
                <a:lnTo>
                  <a:pt x="1128042" y="78359"/>
                </a:lnTo>
                <a:lnTo>
                  <a:pt x="1128514" y="77916"/>
                </a:lnTo>
                <a:lnTo>
                  <a:pt x="1134205" y="74501"/>
                </a:lnTo>
                <a:lnTo>
                  <a:pt x="1140515" y="72443"/>
                </a:lnTo>
                <a:lnTo>
                  <a:pt x="1147445" y="71755"/>
                </a:lnTo>
                <a:lnTo>
                  <a:pt x="1186807" y="71755"/>
                </a:lnTo>
                <a:lnTo>
                  <a:pt x="1184529" y="68199"/>
                </a:lnTo>
                <a:lnTo>
                  <a:pt x="1178641" y="62605"/>
                </a:lnTo>
                <a:lnTo>
                  <a:pt x="1171622" y="58594"/>
                </a:lnTo>
                <a:lnTo>
                  <a:pt x="1163437" y="56179"/>
                </a:lnTo>
                <a:lnTo>
                  <a:pt x="1154049" y="55372"/>
                </a:lnTo>
                <a:close/>
              </a:path>
              <a:path w="1304925" h="235585">
                <a:moveTo>
                  <a:pt x="1224280" y="154178"/>
                </a:moveTo>
                <a:lnTo>
                  <a:pt x="1224280" y="175006"/>
                </a:lnTo>
                <a:lnTo>
                  <a:pt x="1231447" y="178173"/>
                </a:lnTo>
                <a:lnTo>
                  <a:pt x="1239234" y="180435"/>
                </a:lnTo>
                <a:lnTo>
                  <a:pt x="1247640" y="181792"/>
                </a:lnTo>
                <a:lnTo>
                  <a:pt x="1256664" y="182245"/>
                </a:lnTo>
                <a:lnTo>
                  <a:pt x="1263014" y="182245"/>
                </a:lnTo>
                <a:lnTo>
                  <a:pt x="1298067" y="167005"/>
                </a:lnTo>
                <a:lnTo>
                  <a:pt x="1298720" y="165862"/>
                </a:lnTo>
                <a:lnTo>
                  <a:pt x="1259205" y="165862"/>
                </a:lnTo>
                <a:lnTo>
                  <a:pt x="1249872" y="165143"/>
                </a:lnTo>
                <a:lnTo>
                  <a:pt x="1240932" y="162972"/>
                </a:lnTo>
                <a:lnTo>
                  <a:pt x="1232398" y="159325"/>
                </a:lnTo>
                <a:lnTo>
                  <a:pt x="1224280" y="154178"/>
                </a:lnTo>
                <a:close/>
              </a:path>
              <a:path w="1304925" h="235585">
                <a:moveTo>
                  <a:pt x="1270889" y="55372"/>
                </a:moveTo>
                <a:lnTo>
                  <a:pt x="1264920" y="55372"/>
                </a:lnTo>
                <a:lnTo>
                  <a:pt x="1259205" y="56134"/>
                </a:lnTo>
                <a:lnTo>
                  <a:pt x="1248156" y="59182"/>
                </a:lnTo>
                <a:lnTo>
                  <a:pt x="1243202" y="61341"/>
                </a:lnTo>
                <a:lnTo>
                  <a:pt x="1238885" y="64389"/>
                </a:lnTo>
                <a:lnTo>
                  <a:pt x="1234439" y="67310"/>
                </a:lnTo>
                <a:lnTo>
                  <a:pt x="1231011" y="70993"/>
                </a:lnTo>
                <a:lnTo>
                  <a:pt x="1228471" y="75311"/>
                </a:lnTo>
                <a:lnTo>
                  <a:pt x="1225804" y="79756"/>
                </a:lnTo>
                <a:lnTo>
                  <a:pt x="1224534" y="84709"/>
                </a:lnTo>
                <a:lnTo>
                  <a:pt x="1224534" y="95123"/>
                </a:lnTo>
                <a:lnTo>
                  <a:pt x="1225169" y="99187"/>
                </a:lnTo>
                <a:lnTo>
                  <a:pt x="1227963" y="106045"/>
                </a:lnTo>
                <a:lnTo>
                  <a:pt x="1229995" y="109220"/>
                </a:lnTo>
                <a:lnTo>
                  <a:pt x="1232789" y="111887"/>
                </a:lnTo>
                <a:lnTo>
                  <a:pt x="1235456" y="114681"/>
                </a:lnTo>
                <a:lnTo>
                  <a:pt x="1260856" y="127127"/>
                </a:lnTo>
                <a:lnTo>
                  <a:pt x="1267841" y="130048"/>
                </a:lnTo>
                <a:lnTo>
                  <a:pt x="1284732" y="145669"/>
                </a:lnTo>
                <a:lnTo>
                  <a:pt x="1284732" y="148844"/>
                </a:lnTo>
                <a:lnTo>
                  <a:pt x="1283136" y="156325"/>
                </a:lnTo>
                <a:lnTo>
                  <a:pt x="1278350" y="161639"/>
                </a:lnTo>
                <a:lnTo>
                  <a:pt x="1270373" y="164810"/>
                </a:lnTo>
                <a:lnTo>
                  <a:pt x="1259205" y="165862"/>
                </a:lnTo>
                <a:lnTo>
                  <a:pt x="1298720" y="165862"/>
                </a:lnTo>
                <a:lnTo>
                  <a:pt x="1300607" y="162560"/>
                </a:lnTo>
                <a:lnTo>
                  <a:pt x="1303274" y="158242"/>
                </a:lnTo>
                <a:lnTo>
                  <a:pt x="1304671" y="153035"/>
                </a:lnTo>
                <a:lnTo>
                  <a:pt x="1304671" y="142112"/>
                </a:lnTo>
                <a:lnTo>
                  <a:pt x="1303782" y="137922"/>
                </a:lnTo>
                <a:lnTo>
                  <a:pt x="1302131" y="134366"/>
                </a:lnTo>
                <a:lnTo>
                  <a:pt x="1300607" y="130810"/>
                </a:lnTo>
                <a:lnTo>
                  <a:pt x="1298321" y="127635"/>
                </a:lnTo>
                <a:lnTo>
                  <a:pt x="1295273" y="124968"/>
                </a:lnTo>
                <a:lnTo>
                  <a:pt x="1292225" y="122174"/>
                </a:lnTo>
                <a:lnTo>
                  <a:pt x="1288669" y="119761"/>
                </a:lnTo>
                <a:lnTo>
                  <a:pt x="1284351" y="117602"/>
                </a:lnTo>
                <a:lnTo>
                  <a:pt x="1280160" y="115443"/>
                </a:lnTo>
                <a:lnTo>
                  <a:pt x="1275334" y="113284"/>
                </a:lnTo>
                <a:lnTo>
                  <a:pt x="1265936" y="109728"/>
                </a:lnTo>
                <a:lnTo>
                  <a:pt x="1262380" y="108204"/>
                </a:lnTo>
                <a:lnTo>
                  <a:pt x="1246124" y="96647"/>
                </a:lnTo>
                <a:lnTo>
                  <a:pt x="1244981" y="94615"/>
                </a:lnTo>
                <a:lnTo>
                  <a:pt x="1244346" y="91948"/>
                </a:lnTo>
                <a:lnTo>
                  <a:pt x="1244346" y="86233"/>
                </a:lnTo>
                <a:lnTo>
                  <a:pt x="1244981" y="83947"/>
                </a:lnTo>
                <a:lnTo>
                  <a:pt x="1246124" y="81915"/>
                </a:lnTo>
                <a:lnTo>
                  <a:pt x="1247267" y="79756"/>
                </a:lnTo>
                <a:lnTo>
                  <a:pt x="1258443" y="73025"/>
                </a:lnTo>
                <a:lnTo>
                  <a:pt x="1261364" y="72136"/>
                </a:lnTo>
                <a:lnTo>
                  <a:pt x="1264666" y="71755"/>
                </a:lnTo>
                <a:lnTo>
                  <a:pt x="1299083" y="71755"/>
                </a:lnTo>
                <a:lnTo>
                  <a:pt x="1299083" y="60833"/>
                </a:lnTo>
                <a:lnTo>
                  <a:pt x="1292677" y="58479"/>
                </a:lnTo>
                <a:lnTo>
                  <a:pt x="1285843" y="56769"/>
                </a:lnTo>
                <a:lnTo>
                  <a:pt x="1278580" y="55725"/>
                </a:lnTo>
                <a:lnTo>
                  <a:pt x="1270889" y="55372"/>
                </a:lnTo>
                <a:close/>
              </a:path>
              <a:path w="1304925" h="235585">
                <a:moveTo>
                  <a:pt x="1299083" y="71755"/>
                </a:moveTo>
                <a:lnTo>
                  <a:pt x="1268349" y="71755"/>
                </a:lnTo>
                <a:lnTo>
                  <a:pt x="1276776" y="72302"/>
                </a:lnTo>
                <a:lnTo>
                  <a:pt x="1284716" y="73945"/>
                </a:lnTo>
                <a:lnTo>
                  <a:pt x="1292155" y="76684"/>
                </a:lnTo>
                <a:lnTo>
                  <a:pt x="1299083" y="80518"/>
                </a:lnTo>
                <a:lnTo>
                  <a:pt x="1299083" y="71755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2729190" y="2876625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89" h="429895">
                <a:moveTo>
                  <a:pt x="0" y="429767"/>
                </a:moveTo>
                <a:lnTo>
                  <a:pt x="1850136" y="429767"/>
                </a:lnTo>
                <a:lnTo>
                  <a:pt x="1850136" y="0"/>
                </a:lnTo>
                <a:lnTo>
                  <a:pt x="0" y="0"/>
                </a:lnTo>
                <a:lnTo>
                  <a:pt x="0" y="429767"/>
                </a:lnTo>
                <a:close/>
              </a:path>
            </a:pathLst>
          </a:custGeom>
          <a:solidFill>
            <a:srgbClr val="D73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096164" y="2977317"/>
            <a:ext cx="636063" cy="176740"/>
          </a:xfrm>
          <a:custGeom>
            <a:avLst/>
            <a:gdLst/>
            <a:ahLst/>
            <a:cxnLst/>
            <a:rect l="l" t="t" r="r" b="b"/>
            <a:pathLst>
              <a:path w="864870" h="180339">
                <a:moveTo>
                  <a:pt x="58038" y="7365"/>
                </a:moveTo>
                <a:lnTo>
                  <a:pt x="0" y="7365"/>
                </a:lnTo>
                <a:lnTo>
                  <a:pt x="0" y="177037"/>
                </a:lnTo>
                <a:lnTo>
                  <a:pt x="19812" y="177037"/>
                </a:lnTo>
                <a:lnTo>
                  <a:pt x="19812" y="104901"/>
                </a:lnTo>
                <a:lnTo>
                  <a:pt x="74311" y="104901"/>
                </a:lnTo>
                <a:lnTo>
                  <a:pt x="74040" y="104647"/>
                </a:lnTo>
                <a:lnTo>
                  <a:pt x="69850" y="101472"/>
                </a:lnTo>
                <a:lnTo>
                  <a:pt x="67437" y="100075"/>
                </a:lnTo>
                <a:lnTo>
                  <a:pt x="64642" y="98805"/>
                </a:lnTo>
                <a:lnTo>
                  <a:pt x="64642" y="98297"/>
                </a:lnTo>
                <a:lnTo>
                  <a:pt x="70357" y="96773"/>
                </a:lnTo>
                <a:lnTo>
                  <a:pt x="75564" y="94741"/>
                </a:lnTo>
                <a:lnTo>
                  <a:pt x="80137" y="91947"/>
                </a:lnTo>
                <a:lnTo>
                  <a:pt x="84836" y="89280"/>
                </a:lnTo>
                <a:lnTo>
                  <a:pt x="87561" y="86994"/>
                </a:lnTo>
                <a:lnTo>
                  <a:pt x="19812" y="86994"/>
                </a:lnTo>
                <a:lnTo>
                  <a:pt x="19812" y="25400"/>
                </a:lnTo>
                <a:lnTo>
                  <a:pt x="94364" y="25400"/>
                </a:lnTo>
                <a:lnTo>
                  <a:pt x="92075" y="22478"/>
                </a:lnTo>
                <a:lnTo>
                  <a:pt x="82930" y="14858"/>
                </a:lnTo>
                <a:lnTo>
                  <a:pt x="77469" y="12064"/>
                </a:lnTo>
                <a:lnTo>
                  <a:pt x="71119" y="10159"/>
                </a:lnTo>
                <a:lnTo>
                  <a:pt x="64897" y="8381"/>
                </a:lnTo>
                <a:lnTo>
                  <a:pt x="58038" y="7365"/>
                </a:lnTo>
                <a:close/>
              </a:path>
              <a:path w="864870" h="180339">
                <a:moveTo>
                  <a:pt x="74311" y="104901"/>
                </a:moveTo>
                <a:lnTo>
                  <a:pt x="39877" y="104901"/>
                </a:lnTo>
                <a:lnTo>
                  <a:pt x="43179" y="105409"/>
                </a:lnTo>
                <a:lnTo>
                  <a:pt x="46227" y="106298"/>
                </a:lnTo>
                <a:lnTo>
                  <a:pt x="49149" y="107187"/>
                </a:lnTo>
                <a:lnTo>
                  <a:pt x="51942" y="108584"/>
                </a:lnTo>
                <a:lnTo>
                  <a:pt x="54482" y="110616"/>
                </a:lnTo>
                <a:lnTo>
                  <a:pt x="57023" y="112521"/>
                </a:lnTo>
                <a:lnTo>
                  <a:pt x="59562" y="115062"/>
                </a:lnTo>
                <a:lnTo>
                  <a:pt x="61975" y="118237"/>
                </a:lnTo>
                <a:lnTo>
                  <a:pt x="64388" y="121284"/>
                </a:lnTo>
                <a:lnTo>
                  <a:pt x="66928" y="125094"/>
                </a:lnTo>
                <a:lnTo>
                  <a:pt x="69596" y="129539"/>
                </a:lnTo>
                <a:lnTo>
                  <a:pt x="97916" y="177037"/>
                </a:lnTo>
                <a:lnTo>
                  <a:pt x="121665" y="177037"/>
                </a:lnTo>
                <a:lnTo>
                  <a:pt x="89788" y="126110"/>
                </a:lnTo>
                <a:lnTo>
                  <a:pt x="85471" y="119125"/>
                </a:lnTo>
                <a:lnTo>
                  <a:pt x="83565" y="116331"/>
                </a:lnTo>
                <a:lnTo>
                  <a:pt x="81787" y="113537"/>
                </a:lnTo>
                <a:lnTo>
                  <a:pt x="79882" y="110997"/>
                </a:lnTo>
                <a:lnTo>
                  <a:pt x="77977" y="108838"/>
                </a:lnTo>
                <a:lnTo>
                  <a:pt x="76073" y="106552"/>
                </a:lnTo>
                <a:lnTo>
                  <a:pt x="74311" y="104901"/>
                </a:lnTo>
                <a:close/>
              </a:path>
              <a:path w="864870" h="180339">
                <a:moveTo>
                  <a:pt x="94364" y="25400"/>
                </a:moveTo>
                <a:lnTo>
                  <a:pt x="47116" y="25400"/>
                </a:lnTo>
                <a:lnTo>
                  <a:pt x="54927" y="25876"/>
                </a:lnTo>
                <a:lnTo>
                  <a:pt x="61785" y="27304"/>
                </a:lnTo>
                <a:lnTo>
                  <a:pt x="81406" y="59308"/>
                </a:lnTo>
                <a:lnTo>
                  <a:pt x="80517" y="63880"/>
                </a:lnTo>
                <a:lnTo>
                  <a:pt x="78739" y="67944"/>
                </a:lnTo>
                <a:lnTo>
                  <a:pt x="77088" y="72008"/>
                </a:lnTo>
                <a:lnTo>
                  <a:pt x="60578" y="84708"/>
                </a:lnTo>
                <a:lnTo>
                  <a:pt x="56387" y="86232"/>
                </a:lnTo>
                <a:lnTo>
                  <a:pt x="51815" y="86994"/>
                </a:lnTo>
                <a:lnTo>
                  <a:pt x="87561" y="86994"/>
                </a:lnTo>
                <a:lnTo>
                  <a:pt x="88773" y="85978"/>
                </a:lnTo>
                <a:lnTo>
                  <a:pt x="91948" y="82041"/>
                </a:lnTo>
                <a:lnTo>
                  <a:pt x="95250" y="78231"/>
                </a:lnTo>
                <a:lnTo>
                  <a:pt x="97789" y="73787"/>
                </a:lnTo>
                <a:lnTo>
                  <a:pt x="99567" y="68833"/>
                </a:lnTo>
                <a:lnTo>
                  <a:pt x="101346" y="64007"/>
                </a:lnTo>
                <a:lnTo>
                  <a:pt x="102110" y="59308"/>
                </a:lnTo>
                <a:lnTo>
                  <a:pt x="102235" y="45084"/>
                </a:lnTo>
                <a:lnTo>
                  <a:pt x="100964" y="38480"/>
                </a:lnTo>
                <a:lnTo>
                  <a:pt x="98298" y="32765"/>
                </a:lnTo>
                <a:lnTo>
                  <a:pt x="95757" y="27177"/>
                </a:lnTo>
                <a:lnTo>
                  <a:pt x="94364" y="25400"/>
                </a:lnTo>
                <a:close/>
              </a:path>
              <a:path w="864870" h="180339">
                <a:moveTo>
                  <a:pt x="158876" y="55879"/>
                </a:moveTo>
                <a:lnTo>
                  <a:pt x="139573" y="55879"/>
                </a:lnTo>
                <a:lnTo>
                  <a:pt x="139573" y="128396"/>
                </a:lnTo>
                <a:lnTo>
                  <a:pt x="142285" y="150919"/>
                </a:lnTo>
                <a:lnTo>
                  <a:pt x="150415" y="167036"/>
                </a:lnTo>
                <a:lnTo>
                  <a:pt x="163951" y="176724"/>
                </a:lnTo>
                <a:lnTo>
                  <a:pt x="182879" y="179958"/>
                </a:lnTo>
                <a:lnTo>
                  <a:pt x="194714" y="178579"/>
                </a:lnTo>
                <a:lnTo>
                  <a:pt x="204882" y="174450"/>
                </a:lnTo>
                <a:lnTo>
                  <a:pt x="213383" y="167582"/>
                </a:lnTo>
                <a:lnTo>
                  <a:pt x="216237" y="163575"/>
                </a:lnTo>
                <a:lnTo>
                  <a:pt x="188213" y="163575"/>
                </a:lnTo>
                <a:lnTo>
                  <a:pt x="175379" y="161190"/>
                </a:lnTo>
                <a:lnTo>
                  <a:pt x="166211" y="154019"/>
                </a:lnTo>
                <a:lnTo>
                  <a:pt x="160710" y="142037"/>
                </a:lnTo>
                <a:lnTo>
                  <a:pt x="158932" y="125729"/>
                </a:lnTo>
                <a:lnTo>
                  <a:pt x="158876" y="55879"/>
                </a:lnTo>
                <a:close/>
              </a:path>
              <a:path w="864870" h="180339">
                <a:moveTo>
                  <a:pt x="240156" y="157987"/>
                </a:moveTo>
                <a:lnTo>
                  <a:pt x="220725" y="157987"/>
                </a:lnTo>
                <a:lnTo>
                  <a:pt x="220725" y="177037"/>
                </a:lnTo>
                <a:lnTo>
                  <a:pt x="240156" y="177037"/>
                </a:lnTo>
                <a:lnTo>
                  <a:pt x="240156" y="157987"/>
                </a:lnTo>
                <a:close/>
              </a:path>
              <a:path w="864870" h="180339">
                <a:moveTo>
                  <a:pt x="240156" y="55879"/>
                </a:moveTo>
                <a:lnTo>
                  <a:pt x="220725" y="55879"/>
                </a:lnTo>
                <a:lnTo>
                  <a:pt x="220725" y="125729"/>
                </a:lnTo>
                <a:lnTo>
                  <a:pt x="220154" y="133802"/>
                </a:lnTo>
                <a:lnTo>
                  <a:pt x="194972" y="162931"/>
                </a:lnTo>
                <a:lnTo>
                  <a:pt x="188213" y="163575"/>
                </a:lnTo>
                <a:lnTo>
                  <a:pt x="216237" y="163575"/>
                </a:lnTo>
                <a:lnTo>
                  <a:pt x="220217" y="157987"/>
                </a:lnTo>
                <a:lnTo>
                  <a:pt x="240156" y="157987"/>
                </a:lnTo>
                <a:lnTo>
                  <a:pt x="240156" y="55879"/>
                </a:lnTo>
                <a:close/>
              </a:path>
              <a:path w="864870" h="180339">
                <a:moveTo>
                  <a:pt x="298703" y="55879"/>
                </a:moveTo>
                <a:lnTo>
                  <a:pt x="279273" y="55879"/>
                </a:lnTo>
                <a:lnTo>
                  <a:pt x="279273" y="177037"/>
                </a:lnTo>
                <a:lnTo>
                  <a:pt x="298703" y="177037"/>
                </a:lnTo>
                <a:lnTo>
                  <a:pt x="298703" y="107950"/>
                </a:lnTo>
                <a:lnTo>
                  <a:pt x="299299" y="100000"/>
                </a:lnTo>
                <a:lnTo>
                  <a:pt x="301085" y="92741"/>
                </a:lnTo>
                <a:lnTo>
                  <a:pt x="304061" y="86197"/>
                </a:lnTo>
                <a:lnTo>
                  <a:pt x="308228" y="80390"/>
                </a:lnTo>
                <a:lnTo>
                  <a:pt x="312780" y="76072"/>
                </a:lnTo>
                <a:lnTo>
                  <a:pt x="298703" y="76072"/>
                </a:lnTo>
                <a:lnTo>
                  <a:pt x="298703" y="55879"/>
                </a:lnTo>
                <a:close/>
              </a:path>
              <a:path w="864870" h="180339">
                <a:moveTo>
                  <a:pt x="371621" y="69468"/>
                </a:moveTo>
                <a:lnTo>
                  <a:pt x="332359" y="69468"/>
                </a:lnTo>
                <a:lnTo>
                  <a:pt x="344693" y="71874"/>
                </a:lnTo>
                <a:lnTo>
                  <a:pt x="353504" y="79089"/>
                </a:lnTo>
                <a:lnTo>
                  <a:pt x="358790" y="91114"/>
                </a:lnTo>
                <a:lnTo>
                  <a:pt x="360552" y="107950"/>
                </a:lnTo>
                <a:lnTo>
                  <a:pt x="360552" y="177037"/>
                </a:lnTo>
                <a:lnTo>
                  <a:pt x="379856" y="177037"/>
                </a:lnTo>
                <a:lnTo>
                  <a:pt x="379856" y="102996"/>
                </a:lnTo>
                <a:lnTo>
                  <a:pt x="379210" y="91612"/>
                </a:lnTo>
                <a:lnTo>
                  <a:pt x="377253" y="81645"/>
                </a:lnTo>
                <a:lnTo>
                  <a:pt x="373963" y="73082"/>
                </a:lnTo>
                <a:lnTo>
                  <a:pt x="371621" y="69468"/>
                </a:lnTo>
                <a:close/>
              </a:path>
              <a:path w="864870" h="180339">
                <a:moveTo>
                  <a:pt x="338963" y="53085"/>
                </a:moveTo>
                <a:lnTo>
                  <a:pt x="326697" y="54516"/>
                </a:lnTo>
                <a:lnTo>
                  <a:pt x="315991" y="58816"/>
                </a:lnTo>
                <a:lnTo>
                  <a:pt x="306833" y="65998"/>
                </a:lnTo>
                <a:lnTo>
                  <a:pt x="299212" y="76072"/>
                </a:lnTo>
                <a:lnTo>
                  <a:pt x="312780" y="76072"/>
                </a:lnTo>
                <a:lnTo>
                  <a:pt x="313303" y="75576"/>
                </a:lnTo>
                <a:lnTo>
                  <a:pt x="319008" y="72167"/>
                </a:lnTo>
                <a:lnTo>
                  <a:pt x="325356" y="70139"/>
                </a:lnTo>
                <a:lnTo>
                  <a:pt x="332359" y="69468"/>
                </a:lnTo>
                <a:lnTo>
                  <a:pt x="371621" y="69468"/>
                </a:lnTo>
                <a:lnTo>
                  <a:pt x="369315" y="65912"/>
                </a:lnTo>
                <a:lnTo>
                  <a:pt x="363483" y="60319"/>
                </a:lnTo>
                <a:lnTo>
                  <a:pt x="356473" y="56308"/>
                </a:lnTo>
                <a:lnTo>
                  <a:pt x="348295" y="53893"/>
                </a:lnTo>
                <a:lnTo>
                  <a:pt x="338963" y="53085"/>
                </a:lnTo>
                <a:close/>
              </a:path>
              <a:path w="864870" h="180339">
                <a:moveTo>
                  <a:pt x="442213" y="72516"/>
                </a:moveTo>
                <a:lnTo>
                  <a:pt x="422782" y="72516"/>
                </a:lnTo>
                <a:lnTo>
                  <a:pt x="422782" y="144144"/>
                </a:lnTo>
                <a:lnTo>
                  <a:pt x="424761" y="159720"/>
                </a:lnTo>
                <a:lnTo>
                  <a:pt x="430704" y="170830"/>
                </a:lnTo>
                <a:lnTo>
                  <a:pt x="440624" y="177488"/>
                </a:lnTo>
                <a:lnTo>
                  <a:pt x="454532" y="179704"/>
                </a:lnTo>
                <a:lnTo>
                  <a:pt x="462025" y="179704"/>
                </a:lnTo>
                <a:lnTo>
                  <a:pt x="468122" y="178434"/>
                </a:lnTo>
                <a:lnTo>
                  <a:pt x="472693" y="175894"/>
                </a:lnTo>
                <a:lnTo>
                  <a:pt x="472693" y="163321"/>
                </a:lnTo>
                <a:lnTo>
                  <a:pt x="453643" y="163321"/>
                </a:lnTo>
                <a:lnTo>
                  <a:pt x="449072" y="161670"/>
                </a:lnTo>
                <a:lnTo>
                  <a:pt x="443611" y="154685"/>
                </a:lnTo>
                <a:lnTo>
                  <a:pt x="442213" y="148843"/>
                </a:lnTo>
                <a:lnTo>
                  <a:pt x="442213" y="72516"/>
                </a:lnTo>
                <a:close/>
              </a:path>
              <a:path w="864870" h="180339">
                <a:moveTo>
                  <a:pt x="472693" y="159384"/>
                </a:moveTo>
                <a:lnTo>
                  <a:pt x="469138" y="162051"/>
                </a:lnTo>
                <a:lnTo>
                  <a:pt x="464947" y="163321"/>
                </a:lnTo>
                <a:lnTo>
                  <a:pt x="472693" y="163321"/>
                </a:lnTo>
                <a:lnTo>
                  <a:pt x="472693" y="159384"/>
                </a:lnTo>
                <a:close/>
              </a:path>
              <a:path w="864870" h="180339">
                <a:moveTo>
                  <a:pt x="472693" y="55879"/>
                </a:moveTo>
                <a:lnTo>
                  <a:pt x="401954" y="55879"/>
                </a:lnTo>
                <a:lnTo>
                  <a:pt x="401954" y="72516"/>
                </a:lnTo>
                <a:lnTo>
                  <a:pt x="472693" y="72516"/>
                </a:lnTo>
                <a:lnTo>
                  <a:pt x="472693" y="55879"/>
                </a:lnTo>
                <a:close/>
              </a:path>
              <a:path w="864870" h="180339">
                <a:moveTo>
                  <a:pt x="442213" y="20065"/>
                </a:moveTo>
                <a:lnTo>
                  <a:pt x="422782" y="26415"/>
                </a:lnTo>
                <a:lnTo>
                  <a:pt x="422782" y="55879"/>
                </a:lnTo>
                <a:lnTo>
                  <a:pt x="442213" y="55879"/>
                </a:lnTo>
                <a:lnTo>
                  <a:pt x="442213" y="20065"/>
                </a:lnTo>
                <a:close/>
              </a:path>
              <a:path w="864870" h="180339">
                <a:moveTo>
                  <a:pt x="512317" y="0"/>
                </a:moveTo>
                <a:lnTo>
                  <a:pt x="505205" y="0"/>
                </a:lnTo>
                <a:lnTo>
                  <a:pt x="502285" y="1142"/>
                </a:lnTo>
                <a:lnTo>
                  <a:pt x="497459" y="5968"/>
                </a:lnTo>
                <a:lnTo>
                  <a:pt x="496188" y="9016"/>
                </a:lnTo>
                <a:lnTo>
                  <a:pt x="496188" y="16255"/>
                </a:lnTo>
                <a:lnTo>
                  <a:pt x="497459" y="19303"/>
                </a:lnTo>
                <a:lnTo>
                  <a:pt x="499872" y="21589"/>
                </a:lnTo>
                <a:lnTo>
                  <a:pt x="502285" y="24002"/>
                </a:lnTo>
                <a:lnTo>
                  <a:pt x="505205" y="25145"/>
                </a:lnTo>
                <a:lnTo>
                  <a:pt x="512317" y="25145"/>
                </a:lnTo>
                <a:lnTo>
                  <a:pt x="515238" y="24002"/>
                </a:lnTo>
                <a:lnTo>
                  <a:pt x="517778" y="21462"/>
                </a:lnTo>
                <a:lnTo>
                  <a:pt x="520318" y="19050"/>
                </a:lnTo>
                <a:lnTo>
                  <a:pt x="521412" y="16255"/>
                </a:lnTo>
                <a:lnTo>
                  <a:pt x="521462" y="9016"/>
                </a:lnTo>
                <a:lnTo>
                  <a:pt x="520318" y="5968"/>
                </a:lnTo>
                <a:lnTo>
                  <a:pt x="515238" y="1142"/>
                </a:lnTo>
                <a:lnTo>
                  <a:pt x="512317" y="0"/>
                </a:lnTo>
                <a:close/>
              </a:path>
              <a:path w="864870" h="180339">
                <a:moveTo>
                  <a:pt x="518160" y="55879"/>
                </a:moveTo>
                <a:lnTo>
                  <a:pt x="498728" y="55879"/>
                </a:lnTo>
                <a:lnTo>
                  <a:pt x="498728" y="177037"/>
                </a:lnTo>
                <a:lnTo>
                  <a:pt x="518160" y="177037"/>
                </a:lnTo>
                <a:lnTo>
                  <a:pt x="518160" y="55879"/>
                </a:lnTo>
                <a:close/>
              </a:path>
              <a:path w="864870" h="180339">
                <a:moveTo>
                  <a:pt x="577596" y="55879"/>
                </a:moveTo>
                <a:lnTo>
                  <a:pt x="558164" y="55879"/>
                </a:lnTo>
                <a:lnTo>
                  <a:pt x="558164" y="177037"/>
                </a:lnTo>
                <a:lnTo>
                  <a:pt x="577596" y="177037"/>
                </a:lnTo>
                <a:lnTo>
                  <a:pt x="577620" y="107568"/>
                </a:lnTo>
                <a:lnTo>
                  <a:pt x="578117" y="99782"/>
                </a:lnTo>
                <a:lnTo>
                  <a:pt x="579675" y="92424"/>
                </a:lnTo>
                <a:lnTo>
                  <a:pt x="582257" y="85875"/>
                </a:lnTo>
                <a:lnTo>
                  <a:pt x="585851" y="80137"/>
                </a:lnTo>
                <a:lnTo>
                  <a:pt x="589842" y="75056"/>
                </a:lnTo>
                <a:lnTo>
                  <a:pt x="577596" y="75056"/>
                </a:lnTo>
                <a:lnTo>
                  <a:pt x="577596" y="55879"/>
                </a:lnTo>
                <a:close/>
              </a:path>
              <a:path w="864870" h="180339">
                <a:moveTo>
                  <a:pt x="646826" y="69468"/>
                </a:moveTo>
                <a:lnTo>
                  <a:pt x="606932" y="69468"/>
                </a:lnTo>
                <a:lnTo>
                  <a:pt x="619007" y="71687"/>
                </a:lnTo>
                <a:lnTo>
                  <a:pt x="627618" y="78358"/>
                </a:lnTo>
                <a:lnTo>
                  <a:pt x="632775" y="89507"/>
                </a:lnTo>
                <a:lnTo>
                  <a:pt x="634491" y="105155"/>
                </a:lnTo>
                <a:lnTo>
                  <a:pt x="634491" y="177037"/>
                </a:lnTo>
                <a:lnTo>
                  <a:pt x="653923" y="177037"/>
                </a:lnTo>
                <a:lnTo>
                  <a:pt x="653950" y="107568"/>
                </a:lnTo>
                <a:lnTo>
                  <a:pt x="664590" y="78231"/>
                </a:lnTo>
                <a:lnTo>
                  <a:pt x="649986" y="78231"/>
                </a:lnTo>
                <a:lnTo>
                  <a:pt x="647700" y="70738"/>
                </a:lnTo>
                <a:lnTo>
                  <a:pt x="646826" y="69468"/>
                </a:lnTo>
                <a:close/>
              </a:path>
              <a:path w="864870" h="180339">
                <a:moveTo>
                  <a:pt x="722199" y="69468"/>
                </a:moveTo>
                <a:lnTo>
                  <a:pt x="693547" y="69468"/>
                </a:lnTo>
                <a:lnTo>
                  <a:pt x="700531" y="72389"/>
                </a:lnTo>
                <a:lnTo>
                  <a:pt x="704596" y="78358"/>
                </a:lnTo>
                <a:lnTo>
                  <a:pt x="710818" y="177037"/>
                </a:lnTo>
                <a:lnTo>
                  <a:pt x="730250" y="177037"/>
                </a:lnTo>
                <a:lnTo>
                  <a:pt x="730250" y="102488"/>
                </a:lnTo>
                <a:lnTo>
                  <a:pt x="727749" y="80893"/>
                </a:lnTo>
                <a:lnTo>
                  <a:pt x="722199" y="69468"/>
                </a:lnTo>
                <a:close/>
              </a:path>
              <a:path w="864870" h="180339">
                <a:moveTo>
                  <a:pt x="690244" y="53085"/>
                </a:moveTo>
                <a:lnTo>
                  <a:pt x="677721" y="54657"/>
                </a:lnTo>
                <a:lnTo>
                  <a:pt x="666829" y="59372"/>
                </a:lnTo>
                <a:lnTo>
                  <a:pt x="657580" y="67230"/>
                </a:lnTo>
                <a:lnTo>
                  <a:pt x="649986" y="78231"/>
                </a:lnTo>
                <a:lnTo>
                  <a:pt x="664590" y="78231"/>
                </a:lnTo>
                <a:lnTo>
                  <a:pt x="668401" y="73151"/>
                </a:lnTo>
                <a:lnTo>
                  <a:pt x="675513" y="69468"/>
                </a:lnTo>
                <a:lnTo>
                  <a:pt x="722199" y="69468"/>
                </a:lnTo>
                <a:lnTo>
                  <a:pt x="720248" y="65452"/>
                </a:lnTo>
                <a:lnTo>
                  <a:pt x="707747" y="56179"/>
                </a:lnTo>
                <a:lnTo>
                  <a:pt x="690244" y="53085"/>
                </a:lnTo>
                <a:close/>
              </a:path>
              <a:path w="864870" h="180339">
                <a:moveTo>
                  <a:pt x="623951" y="53085"/>
                </a:moveTo>
                <a:lnTo>
                  <a:pt x="615696" y="53085"/>
                </a:lnTo>
                <a:lnTo>
                  <a:pt x="604071" y="54465"/>
                </a:lnTo>
                <a:lnTo>
                  <a:pt x="593947" y="58594"/>
                </a:lnTo>
                <a:lnTo>
                  <a:pt x="585299" y="65462"/>
                </a:lnTo>
                <a:lnTo>
                  <a:pt x="578103" y="75056"/>
                </a:lnTo>
                <a:lnTo>
                  <a:pt x="589842" y="75056"/>
                </a:lnTo>
                <a:lnTo>
                  <a:pt x="591438" y="73025"/>
                </a:lnTo>
                <a:lnTo>
                  <a:pt x="598424" y="69468"/>
                </a:lnTo>
                <a:lnTo>
                  <a:pt x="646826" y="69468"/>
                </a:lnTo>
                <a:lnTo>
                  <a:pt x="643509" y="64642"/>
                </a:lnTo>
                <a:lnTo>
                  <a:pt x="631189" y="55371"/>
                </a:lnTo>
                <a:lnTo>
                  <a:pt x="623951" y="53085"/>
                </a:lnTo>
                <a:close/>
              </a:path>
              <a:path w="864870" h="180339">
                <a:moveTo>
                  <a:pt x="814577" y="53085"/>
                </a:moveTo>
                <a:lnTo>
                  <a:pt x="774826" y="70865"/>
                </a:lnTo>
                <a:lnTo>
                  <a:pt x="758698" y="116966"/>
                </a:lnTo>
                <a:lnTo>
                  <a:pt x="759624" y="131087"/>
                </a:lnTo>
                <a:lnTo>
                  <a:pt x="781452" y="170636"/>
                </a:lnTo>
                <a:lnTo>
                  <a:pt x="813688" y="179958"/>
                </a:lnTo>
                <a:lnTo>
                  <a:pt x="826190" y="179222"/>
                </a:lnTo>
                <a:lnTo>
                  <a:pt x="837406" y="177022"/>
                </a:lnTo>
                <a:lnTo>
                  <a:pt x="847336" y="173368"/>
                </a:lnTo>
                <a:lnTo>
                  <a:pt x="855979" y="168275"/>
                </a:lnTo>
                <a:lnTo>
                  <a:pt x="855979" y="163575"/>
                </a:lnTo>
                <a:lnTo>
                  <a:pt x="818388" y="163575"/>
                </a:lnTo>
                <a:lnTo>
                  <a:pt x="809742" y="162887"/>
                </a:lnTo>
                <a:lnTo>
                  <a:pt x="779720" y="130937"/>
                </a:lnTo>
                <a:lnTo>
                  <a:pt x="778890" y="121412"/>
                </a:lnTo>
                <a:lnTo>
                  <a:pt x="864362" y="121412"/>
                </a:lnTo>
                <a:lnTo>
                  <a:pt x="864362" y="111251"/>
                </a:lnTo>
                <a:lnTo>
                  <a:pt x="863965" y="104901"/>
                </a:lnTo>
                <a:lnTo>
                  <a:pt x="779144" y="104901"/>
                </a:lnTo>
                <a:lnTo>
                  <a:pt x="780669" y="97375"/>
                </a:lnTo>
                <a:lnTo>
                  <a:pt x="805052" y="69468"/>
                </a:lnTo>
                <a:lnTo>
                  <a:pt x="852088" y="69468"/>
                </a:lnTo>
                <a:lnTo>
                  <a:pt x="851407" y="68452"/>
                </a:lnTo>
                <a:lnTo>
                  <a:pt x="844188" y="61712"/>
                </a:lnTo>
                <a:lnTo>
                  <a:pt x="835660" y="56911"/>
                </a:lnTo>
                <a:lnTo>
                  <a:pt x="825797" y="54040"/>
                </a:lnTo>
                <a:lnTo>
                  <a:pt x="814577" y="53085"/>
                </a:lnTo>
                <a:close/>
              </a:path>
              <a:path w="864870" h="180339">
                <a:moveTo>
                  <a:pt x="855979" y="150113"/>
                </a:moveTo>
                <a:lnTo>
                  <a:pt x="847195" y="156021"/>
                </a:lnTo>
                <a:lnTo>
                  <a:pt x="837993" y="160226"/>
                </a:lnTo>
                <a:lnTo>
                  <a:pt x="828387" y="162740"/>
                </a:lnTo>
                <a:lnTo>
                  <a:pt x="818388" y="163575"/>
                </a:lnTo>
                <a:lnTo>
                  <a:pt x="855979" y="163575"/>
                </a:lnTo>
                <a:lnTo>
                  <a:pt x="855979" y="150113"/>
                </a:lnTo>
                <a:close/>
              </a:path>
              <a:path w="864870" h="180339">
                <a:moveTo>
                  <a:pt x="852088" y="69468"/>
                </a:moveTo>
                <a:lnTo>
                  <a:pt x="823722" y="69468"/>
                </a:lnTo>
                <a:lnTo>
                  <a:pt x="831088" y="72516"/>
                </a:lnTo>
                <a:lnTo>
                  <a:pt x="836422" y="78739"/>
                </a:lnTo>
                <a:lnTo>
                  <a:pt x="839924" y="83881"/>
                </a:lnTo>
                <a:lnTo>
                  <a:pt x="842438" y="89963"/>
                </a:lnTo>
                <a:lnTo>
                  <a:pt x="843976" y="96974"/>
                </a:lnTo>
                <a:lnTo>
                  <a:pt x="844550" y="104901"/>
                </a:lnTo>
                <a:lnTo>
                  <a:pt x="863965" y="104901"/>
                </a:lnTo>
                <a:lnTo>
                  <a:pt x="863552" y="98296"/>
                </a:lnTo>
                <a:lnTo>
                  <a:pt x="861123" y="86852"/>
                </a:lnTo>
                <a:lnTo>
                  <a:pt x="857075" y="76908"/>
                </a:lnTo>
                <a:lnTo>
                  <a:pt x="852088" y="69468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098267" y="4341076"/>
            <a:ext cx="189605" cy="1950983"/>
          </a:xfrm>
          <a:custGeom>
            <a:avLst/>
            <a:gdLst/>
            <a:ahLst/>
            <a:cxnLst/>
            <a:rect l="l" t="t" r="r" b="b"/>
            <a:pathLst>
              <a:path w="257810" h="1990725">
                <a:moveTo>
                  <a:pt x="0" y="1990343"/>
                </a:moveTo>
                <a:lnTo>
                  <a:pt x="50125" y="1990343"/>
                </a:lnTo>
                <a:lnTo>
                  <a:pt x="91059" y="1990343"/>
                </a:lnTo>
                <a:lnTo>
                  <a:pt x="118657" y="1990343"/>
                </a:lnTo>
                <a:lnTo>
                  <a:pt x="128778" y="1990343"/>
                </a:lnTo>
                <a:lnTo>
                  <a:pt x="128778" y="995171"/>
                </a:lnTo>
                <a:lnTo>
                  <a:pt x="163222" y="995171"/>
                </a:lnTo>
                <a:lnTo>
                  <a:pt x="188118" y="995171"/>
                </a:lnTo>
                <a:lnTo>
                  <a:pt x="215538" y="995171"/>
                </a:lnTo>
                <a:lnTo>
                  <a:pt x="257556" y="995171"/>
                </a:lnTo>
                <a:lnTo>
                  <a:pt x="207430" y="995171"/>
                </a:lnTo>
                <a:lnTo>
                  <a:pt x="166497" y="995171"/>
                </a:lnTo>
                <a:lnTo>
                  <a:pt x="138898" y="995171"/>
                </a:lnTo>
                <a:lnTo>
                  <a:pt x="128778" y="995171"/>
                </a:lnTo>
                <a:lnTo>
                  <a:pt x="128778" y="0"/>
                </a:lnTo>
                <a:lnTo>
                  <a:pt x="94333" y="0"/>
                </a:lnTo>
                <a:lnTo>
                  <a:pt x="69437" y="0"/>
                </a:lnTo>
                <a:lnTo>
                  <a:pt x="42017" y="0"/>
                </a:lnTo>
                <a:lnTo>
                  <a:pt x="0" y="0"/>
                </a:lnTo>
              </a:path>
            </a:pathLst>
          </a:custGeom>
          <a:ln w="19811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4307581" y="4231547"/>
            <a:ext cx="162518" cy="216798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2615426" y="1870702"/>
            <a:ext cx="110214" cy="2433283"/>
          </a:xfrm>
          <a:custGeom>
            <a:avLst/>
            <a:gdLst/>
            <a:ahLst/>
            <a:cxnLst/>
            <a:rect l="l" t="t" r="r" b="b"/>
            <a:pathLst>
              <a:path w="149860" h="2482850">
                <a:moveTo>
                  <a:pt x="149351" y="2482596"/>
                </a:moveTo>
                <a:lnTo>
                  <a:pt x="120270" y="2482596"/>
                </a:lnTo>
                <a:lnTo>
                  <a:pt x="96535" y="2482596"/>
                </a:lnTo>
                <a:lnTo>
                  <a:pt x="80539" y="2482596"/>
                </a:lnTo>
                <a:lnTo>
                  <a:pt x="74675" y="2482596"/>
                </a:lnTo>
                <a:lnTo>
                  <a:pt x="74675" y="1241298"/>
                </a:lnTo>
                <a:lnTo>
                  <a:pt x="54721" y="1241298"/>
                </a:lnTo>
                <a:lnTo>
                  <a:pt x="40290" y="1241298"/>
                </a:lnTo>
                <a:lnTo>
                  <a:pt x="24383" y="1241298"/>
                </a:lnTo>
                <a:lnTo>
                  <a:pt x="0" y="1241298"/>
                </a:lnTo>
                <a:lnTo>
                  <a:pt x="29081" y="1241298"/>
                </a:lnTo>
                <a:lnTo>
                  <a:pt x="52816" y="1241298"/>
                </a:lnTo>
                <a:lnTo>
                  <a:pt x="68812" y="1241298"/>
                </a:lnTo>
                <a:lnTo>
                  <a:pt x="74675" y="1241298"/>
                </a:lnTo>
                <a:lnTo>
                  <a:pt x="74675" y="0"/>
                </a:lnTo>
                <a:lnTo>
                  <a:pt x="94630" y="0"/>
                </a:lnTo>
                <a:lnTo>
                  <a:pt x="109061" y="0"/>
                </a:lnTo>
                <a:lnTo>
                  <a:pt x="124968" y="0"/>
                </a:lnTo>
                <a:lnTo>
                  <a:pt x="149351" y="0"/>
                </a:lnTo>
              </a:path>
            </a:pathLst>
          </a:custGeom>
          <a:ln w="19812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2384351" y="2497132"/>
            <a:ext cx="154112" cy="1188637"/>
          </a:xfrm>
          <a:custGeom>
            <a:avLst/>
            <a:gdLst/>
            <a:ahLst/>
            <a:cxnLst/>
            <a:rect l="l" t="t" r="r" b="b"/>
            <a:pathLst>
              <a:path w="209550" h="1212850">
                <a:moveTo>
                  <a:pt x="0" y="1092073"/>
                </a:moveTo>
                <a:lnTo>
                  <a:pt x="0" y="1111504"/>
                </a:lnTo>
                <a:lnTo>
                  <a:pt x="74803" y="1150366"/>
                </a:lnTo>
                <a:lnTo>
                  <a:pt x="78105" y="1151763"/>
                </a:lnTo>
                <a:lnTo>
                  <a:pt x="80518" y="1152398"/>
                </a:lnTo>
                <a:lnTo>
                  <a:pt x="80518" y="1152779"/>
                </a:lnTo>
                <a:lnTo>
                  <a:pt x="74930" y="1154938"/>
                </a:lnTo>
                <a:lnTo>
                  <a:pt x="71755" y="1156208"/>
                </a:lnTo>
                <a:lnTo>
                  <a:pt x="70866" y="1156589"/>
                </a:lnTo>
                <a:lnTo>
                  <a:pt x="0" y="1191768"/>
                </a:lnTo>
                <a:lnTo>
                  <a:pt x="0" y="1212596"/>
                </a:lnTo>
                <a:lnTo>
                  <a:pt x="99314" y="1162177"/>
                </a:lnTo>
                <a:lnTo>
                  <a:pt x="156844" y="1162177"/>
                </a:lnTo>
                <a:lnTo>
                  <a:pt x="156844" y="1143762"/>
                </a:lnTo>
                <a:lnTo>
                  <a:pt x="98932" y="1143762"/>
                </a:lnTo>
                <a:lnTo>
                  <a:pt x="0" y="1092073"/>
                </a:lnTo>
                <a:close/>
              </a:path>
              <a:path w="209550" h="1212850">
                <a:moveTo>
                  <a:pt x="100456" y="990219"/>
                </a:moveTo>
                <a:lnTo>
                  <a:pt x="57657" y="1004188"/>
                </a:lnTo>
                <a:lnTo>
                  <a:pt x="42291" y="1043305"/>
                </a:lnTo>
                <a:lnTo>
                  <a:pt x="43269" y="1055778"/>
                </a:lnTo>
                <a:lnTo>
                  <a:pt x="66784" y="1091721"/>
                </a:lnTo>
                <a:lnTo>
                  <a:pt x="102234" y="1100455"/>
                </a:lnTo>
                <a:lnTo>
                  <a:pt x="114546" y="1099526"/>
                </a:lnTo>
                <a:lnTo>
                  <a:pt x="125571" y="1096740"/>
                </a:lnTo>
                <a:lnTo>
                  <a:pt x="135341" y="1092073"/>
                </a:lnTo>
                <a:lnTo>
                  <a:pt x="143764" y="1085596"/>
                </a:lnTo>
                <a:lnTo>
                  <a:pt x="146815" y="1082039"/>
                </a:lnTo>
                <a:lnTo>
                  <a:pt x="101472" y="1082039"/>
                </a:lnTo>
                <a:lnTo>
                  <a:pt x="91724" y="1081416"/>
                </a:lnTo>
                <a:lnTo>
                  <a:pt x="58015" y="1052843"/>
                </a:lnTo>
                <a:lnTo>
                  <a:pt x="57392" y="1045972"/>
                </a:lnTo>
                <a:lnTo>
                  <a:pt x="57398" y="1043305"/>
                </a:lnTo>
                <a:lnTo>
                  <a:pt x="82518" y="1010872"/>
                </a:lnTo>
                <a:lnTo>
                  <a:pt x="101092" y="1008507"/>
                </a:lnTo>
                <a:lnTo>
                  <a:pt x="146107" y="1008507"/>
                </a:lnTo>
                <a:lnTo>
                  <a:pt x="143382" y="1005332"/>
                </a:lnTo>
                <a:lnTo>
                  <a:pt x="134621" y="998684"/>
                </a:lnTo>
                <a:lnTo>
                  <a:pt x="124539" y="993965"/>
                </a:lnTo>
                <a:lnTo>
                  <a:pt x="113147" y="991151"/>
                </a:lnTo>
                <a:lnTo>
                  <a:pt x="100456" y="990219"/>
                </a:lnTo>
                <a:close/>
              </a:path>
              <a:path w="209550" h="1212850">
                <a:moveTo>
                  <a:pt x="146107" y="1008507"/>
                </a:moveTo>
                <a:lnTo>
                  <a:pt x="101092" y="1008507"/>
                </a:lnTo>
                <a:lnTo>
                  <a:pt x="110878" y="1009100"/>
                </a:lnTo>
                <a:lnTo>
                  <a:pt x="119475" y="1010872"/>
                </a:lnTo>
                <a:lnTo>
                  <a:pt x="144278" y="1043305"/>
                </a:lnTo>
                <a:lnTo>
                  <a:pt x="144286" y="1045972"/>
                </a:lnTo>
                <a:lnTo>
                  <a:pt x="143684" y="1052770"/>
                </a:lnTo>
                <a:lnTo>
                  <a:pt x="110900" y="1081418"/>
                </a:lnTo>
                <a:lnTo>
                  <a:pt x="101472" y="1082039"/>
                </a:lnTo>
                <a:lnTo>
                  <a:pt x="146815" y="1082039"/>
                </a:lnTo>
                <a:lnTo>
                  <a:pt x="150671" y="1077547"/>
                </a:lnTo>
                <a:lnTo>
                  <a:pt x="155590" y="1068260"/>
                </a:lnTo>
                <a:lnTo>
                  <a:pt x="158533" y="1057735"/>
                </a:lnTo>
                <a:lnTo>
                  <a:pt x="159511" y="1045972"/>
                </a:lnTo>
                <a:lnTo>
                  <a:pt x="158509" y="1033871"/>
                </a:lnTo>
                <a:lnTo>
                  <a:pt x="155492" y="1023074"/>
                </a:lnTo>
                <a:lnTo>
                  <a:pt x="150457" y="1013575"/>
                </a:lnTo>
                <a:lnTo>
                  <a:pt x="146107" y="1008507"/>
                </a:lnTo>
                <a:close/>
              </a:path>
              <a:path w="209550" h="1212850">
                <a:moveTo>
                  <a:pt x="139192" y="889126"/>
                </a:moveTo>
                <a:lnTo>
                  <a:pt x="109346" y="889126"/>
                </a:lnTo>
                <a:lnTo>
                  <a:pt x="116851" y="889650"/>
                </a:lnTo>
                <a:lnTo>
                  <a:pt x="123570" y="891222"/>
                </a:lnTo>
                <a:lnTo>
                  <a:pt x="129528" y="893841"/>
                </a:lnTo>
                <a:lnTo>
                  <a:pt x="134746" y="897509"/>
                </a:lnTo>
                <a:lnTo>
                  <a:pt x="141223" y="903224"/>
                </a:lnTo>
                <a:lnTo>
                  <a:pt x="144398" y="910463"/>
                </a:lnTo>
                <a:lnTo>
                  <a:pt x="144398" y="919226"/>
                </a:lnTo>
                <a:lnTo>
                  <a:pt x="142184" y="931060"/>
                </a:lnTo>
                <a:lnTo>
                  <a:pt x="135540" y="939514"/>
                </a:lnTo>
                <a:lnTo>
                  <a:pt x="124467" y="944586"/>
                </a:lnTo>
                <a:lnTo>
                  <a:pt x="108966" y="946276"/>
                </a:lnTo>
                <a:lnTo>
                  <a:pt x="44831" y="946276"/>
                </a:lnTo>
                <a:lnTo>
                  <a:pt x="44831" y="964184"/>
                </a:lnTo>
                <a:lnTo>
                  <a:pt x="111759" y="964184"/>
                </a:lnTo>
                <a:lnTo>
                  <a:pt x="132669" y="961681"/>
                </a:lnTo>
                <a:lnTo>
                  <a:pt x="147589" y="954166"/>
                </a:lnTo>
                <a:lnTo>
                  <a:pt x="156533" y="941627"/>
                </a:lnTo>
                <a:lnTo>
                  <a:pt x="159511" y="924051"/>
                </a:lnTo>
                <a:lnTo>
                  <a:pt x="158247" y="913118"/>
                </a:lnTo>
                <a:lnTo>
                  <a:pt x="154447" y="903731"/>
                </a:lnTo>
                <a:lnTo>
                  <a:pt x="148099" y="895869"/>
                </a:lnTo>
                <a:lnTo>
                  <a:pt x="139192" y="889508"/>
                </a:lnTo>
                <a:lnTo>
                  <a:pt x="139192" y="889126"/>
                </a:lnTo>
                <a:close/>
              </a:path>
              <a:path w="209550" h="1212850">
                <a:moveTo>
                  <a:pt x="156844" y="871093"/>
                </a:moveTo>
                <a:lnTo>
                  <a:pt x="44831" y="871093"/>
                </a:lnTo>
                <a:lnTo>
                  <a:pt x="44831" y="889126"/>
                </a:lnTo>
                <a:lnTo>
                  <a:pt x="156844" y="889126"/>
                </a:lnTo>
                <a:lnTo>
                  <a:pt x="156844" y="871093"/>
                </a:lnTo>
                <a:close/>
              </a:path>
              <a:path w="209550" h="1212850">
                <a:moveTo>
                  <a:pt x="156844" y="753237"/>
                </a:moveTo>
                <a:lnTo>
                  <a:pt x="44831" y="753237"/>
                </a:lnTo>
                <a:lnTo>
                  <a:pt x="44831" y="771271"/>
                </a:lnTo>
                <a:lnTo>
                  <a:pt x="156844" y="771271"/>
                </a:lnTo>
                <a:lnTo>
                  <a:pt x="156844" y="753237"/>
                </a:lnTo>
                <a:close/>
              </a:path>
              <a:path w="209550" h="1212850">
                <a:moveTo>
                  <a:pt x="156844" y="612139"/>
                </a:moveTo>
                <a:lnTo>
                  <a:pt x="87883" y="612139"/>
                </a:lnTo>
                <a:lnTo>
                  <a:pt x="67901" y="614449"/>
                </a:lnTo>
                <a:lnTo>
                  <a:pt x="53657" y="621379"/>
                </a:lnTo>
                <a:lnTo>
                  <a:pt x="45128" y="632928"/>
                </a:lnTo>
                <a:lnTo>
                  <a:pt x="42291" y="649097"/>
                </a:lnTo>
                <a:lnTo>
                  <a:pt x="43723" y="660715"/>
                </a:lnTo>
                <a:lnTo>
                  <a:pt x="48037" y="670798"/>
                </a:lnTo>
                <a:lnTo>
                  <a:pt x="55256" y="679332"/>
                </a:lnTo>
                <a:lnTo>
                  <a:pt x="65405" y="686308"/>
                </a:lnTo>
                <a:lnTo>
                  <a:pt x="58546" y="688467"/>
                </a:lnTo>
                <a:lnTo>
                  <a:pt x="52958" y="692404"/>
                </a:lnTo>
                <a:lnTo>
                  <a:pt x="48641" y="697992"/>
                </a:lnTo>
                <a:lnTo>
                  <a:pt x="44322" y="703707"/>
                </a:lnTo>
                <a:lnTo>
                  <a:pt x="42291" y="710438"/>
                </a:lnTo>
                <a:lnTo>
                  <a:pt x="42291" y="718058"/>
                </a:lnTo>
                <a:lnTo>
                  <a:pt x="43555" y="728799"/>
                </a:lnTo>
                <a:lnTo>
                  <a:pt x="47355" y="738171"/>
                </a:lnTo>
                <a:lnTo>
                  <a:pt x="53703" y="746186"/>
                </a:lnTo>
                <a:lnTo>
                  <a:pt x="62610" y="752856"/>
                </a:lnTo>
                <a:lnTo>
                  <a:pt x="62610" y="753237"/>
                </a:lnTo>
                <a:lnTo>
                  <a:pt x="92964" y="753237"/>
                </a:lnTo>
                <a:lnTo>
                  <a:pt x="85417" y="752760"/>
                </a:lnTo>
                <a:lnTo>
                  <a:pt x="78597" y="751332"/>
                </a:lnTo>
                <a:lnTo>
                  <a:pt x="72515" y="748950"/>
                </a:lnTo>
                <a:lnTo>
                  <a:pt x="67182" y="745617"/>
                </a:lnTo>
                <a:lnTo>
                  <a:pt x="60579" y="740537"/>
                </a:lnTo>
                <a:lnTo>
                  <a:pt x="57277" y="734060"/>
                </a:lnTo>
                <a:lnTo>
                  <a:pt x="57277" y="726186"/>
                </a:lnTo>
                <a:lnTo>
                  <a:pt x="59348" y="715017"/>
                </a:lnTo>
                <a:lnTo>
                  <a:pt x="65563" y="707040"/>
                </a:lnTo>
                <a:lnTo>
                  <a:pt x="75922" y="702254"/>
                </a:lnTo>
                <a:lnTo>
                  <a:pt x="90423" y="700659"/>
                </a:lnTo>
                <a:lnTo>
                  <a:pt x="156844" y="700659"/>
                </a:lnTo>
                <a:lnTo>
                  <a:pt x="156844" y="682751"/>
                </a:lnTo>
                <a:lnTo>
                  <a:pt x="92964" y="682751"/>
                </a:lnTo>
                <a:lnTo>
                  <a:pt x="85891" y="682251"/>
                </a:lnTo>
                <a:lnTo>
                  <a:pt x="57277" y="662813"/>
                </a:lnTo>
                <a:lnTo>
                  <a:pt x="57277" y="646176"/>
                </a:lnTo>
                <a:lnTo>
                  <a:pt x="92582" y="630174"/>
                </a:lnTo>
                <a:lnTo>
                  <a:pt x="156844" y="630174"/>
                </a:lnTo>
                <a:lnTo>
                  <a:pt x="156844" y="612139"/>
                </a:lnTo>
                <a:close/>
              </a:path>
              <a:path w="209550" h="1212850">
                <a:moveTo>
                  <a:pt x="100203" y="515493"/>
                </a:moveTo>
                <a:lnTo>
                  <a:pt x="85852" y="515493"/>
                </a:lnTo>
                <a:lnTo>
                  <a:pt x="90551" y="549021"/>
                </a:lnTo>
                <a:lnTo>
                  <a:pt x="94765" y="565189"/>
                </a:lnTo>
                <a:lnTo>
                  <a:pt x="102266" y="576738"/>
                </a:lnTo>
                <a:lnTo>
                  <a:pt x="113053" y="583668"/>
                </a:lnTo>
                <a:lnTo>
                  <a:pt x="127127" y="585978"/>
                </a:lnTo>
                <a:lnTo>
                  <a:pt x="136906" y="585978"/>
                </a:lnTo>
                <a:lnTo>
                  <a:pt x="144780" y="582803"/>
                </a:lnTo>
                <a:lnTo>
                  <a:pt x="150621" y="576580"/>
                </a:lnTo>
                <a:lnTo>
                  <a:pt x="154529" y="571365"/>
                </a:lnTo>
                <a:lnTo>
                  <a:pt x="156253" y="567563"/>
                </a:lnTo>
                <a:lnTo>
                  <a:pt x="118236" y="567563"/>
                </a:lnTo>
                <a:lnTo>
                  <a:pt x="113030" y="565531"/>
                </a:lnTo>
                <a:lnTo>
                  <a:pt x="110108" y="561213"/>
                </a:lnTo>
                <a:lnTo>
                  <a:pt x="107188" y="557022"/>
                </a:lnTo>
                <a:lnTo>
                  <a:pt x="105156" y="550799"/>
                </a:lnTo>
                <a:lnTo>
                  <a:pt x="103885" y="542417"/>
                </a:lnTo>
                <a:lnTo>
                  <a:pt x="100203" y="515493"/>
                </a:lnTo>
                <a:close/>
              </a:path>
              <a:path w="209550" h="1212850">
                <a:moveTo>
                  <a:pt x="156844" y="497459"/>
                </a:moveTo>
                <a:lnTo>
                  <a:pt x="84073" y="497459"/>
                </a:lnTo>
                <a:lnTo>
                  <a:pt x="65758" y="499933"/>
                </a:lnTo>
                <a:lnTo>
                  <a:pt x="52705" y="507349"/>
                </a:lnTo>
                <a:lnTo>
                  <a:pt x="44890" y="519693"/>
                </a:lnTo>
                <a:lnTo>
                  <a:pt x="42291" y="536956"/>
                </a:lnTo>
                <a:lnTo>
                  <a:pt x="42935" y="547409"/>
                </a:lnTo>
                <a:lnTo>
                  <a:pt x="44878" y="557244"/>
                </a:lnTo>
                <a:lnTo>
                  <a:pt x="48131" y="566459"/>
                </a:lnTo>
                <a:lnTo>
                  <a:pt x="52705" y="575056"/>
                </a:lnTo>
                <a:lnTo>
                  <a:pt x="71119" y="575056"/>
                </a:lnTo>
                <a:lnTo>
                  <a:pt x="65099" y="566644"/>
                </a:lnTo>
                <a:lnTo>
                  <a:pt x="60769" y="557768"/>
                </a:lnTo>
                <a:lnTo>
                  <a:pt x="58154" y="548391"/>
                </a:lnTo>
                <a:lnTo>
                  <a:pt x="57277" y="538480"/>
                </a:lnTo>
                <a:lnTo>
                  <a:pt x="59062" y="528405"/>
                </a:lnTo>
                <a:lnTo>
                  <a:pt x="64420" y="521223"/>
                </a:lnTo>
                <a:lnTo>
                  <a:pt x="73350" y="516923"/>
                </a:lnTo>
                <a:lnTo>
                  <a:pt x="85852" y="515493"/>
                </a:lnTo>
                <a:lnTo>
                  <a:pt x="156844" y="515493"/>
                </a:lnTo>
                <a:lnTo>
                  <a:pt x="156844" y="497459"/>
                </a:lnTo>
                <a:close/>
              </a:path>
              <a:path w="209550" h="1212850">
                <a:moveTo>
                  <a:pt x="139319" y="515493"/>
                </a:moveTo>
                <a:lnTo>
                  <a:pt x="120904" y="515493"/>
                </a:lnTo>
                <a:lnTo>
                  <a:pt x="128778" y="518287"/>
                </a:lnTo>
                <a:lnTo>
                  <a:pt x="135001" y="524129"/>
                </a:lnTo>
                <a:lnTo>
                  <a:pt x="141351" y="529971"/>
                </a:lnTo>
                <a:lnTo>
                  <a:pt x="144398" y="537337"/>
                </a:lnTo>
                <a:lnTo>
                  <a:pt x="144398" y="552704"/>
                </a:lnTo>
                <a:lnTo>
                  <a:pt x="142620" y="557911"/>
                </a:lnTo>
                <a:lnTo>
                  <a:pt x="139192" y="561721"/>
                </a:lnTo>
                <a:lnTo>
                  <a:pt x="135763" y="565658"/>
                </a:lnTo>
                <a:lnTo>
                  <a:pt x="131318" y="567563"/>
                </a:lnTo>
                <a:lnTo>
                  <a:pt x="156253" y="567563"/>
                </a:lnTo>
                <a:lnTo>
                  <a:pt x="157318" y="565189"/>
                </a:lnTo>
                <a:lnTo>
                  <a:pt x="158962" y="558220"/>
                </a:lnTo>
                <a:lnTo>
                  <a:pt x="159511" y="550291"/>
                </a:lnTo>
                <a:lnTo>
                  <a:pt x="158249" y="539626"/>
                </a:lnTo>
                <a:lnTo>
                  <a:pt x="154463" y="530320"/>
                </a:lnTo>
                <a:lnTo>
                  <a:pt x="148153" y="522394"/>
                </a:lnTo>
                <a:lnTo>
                  <a:pt x="139319" y="515874"/>
                </a:lnTo>
                <a:lnTo>
                  <a:pt x="139319" y="515493"/>
                </a:lnTo>
                <a:close/>
              </a:path>
              <a:path w="209550" h="1212850">
                <a:moveTo>
                  <a:pt x="156844" y="445388"/>
                </a:moveTo>
                <a:lnTo>
                  <a:pt x="44831" y="445388"/>
                </a:lnTo>
                <a:lnTo>
                  <a:pt x="44831" y="463423"/>
                </a:lnTo>
                <a:lnTo>
                  <a:pt x="156844" y="463423"/>
                </a:lnTo>
                <a:lnTo>
                  <a:pt x="156844" y="445388"/>
                </a:lnTo>
                <a:close/>
              </a:path>
              <a:path w="209550" h="1212850">
                <a:moveTo>
                  <a:pt x="156844" y="370459"/>
                </a:moveTo>
                <a:lnTo>
                  <a:pt x="88392" y="370459"/>
                </a:lnTo>
                <a:lnTo>
                  <a:pt x="77819" y="371056"/>
                </a:lnTo>
                <a:lnTo>
                  <a:pt x="45243" y="392017"/>
                </a:lnTo>
                <a:lnTo>
                  <a:pt x="42291" y="408305"/>
                </a:lnTo>
                <a:lnTo>
                  <a:pt x="43604" y="419594"/>
                </a:lnTo>
                <a:lnTo>
                  <a:pt x="47561" y="429466"/>
                </a:lnTo>
                <a:lnTo>
                  <a:pt x="54185" y="437933"/>
                </a:lnTo>
                <a:lnTo>
                  <a:pt x="63499" y="445008"/>
                </a:lnTo>
                <a:lnTo>
                  <a:pt x="63499" y="445388"/>
                </a:lnTo>
                <a:lnTo>
                  <a:pt x="92964" y="445388"/>
                </a:lnTo>
                <a:lnTo>
                  <a:pt x="85582" y="444841"/>
                </a:lnTo>
                <a:lnTo>
                  <a:pt x="78867" y="443198"/>
                </a:lnTo>
                <a:lnTo>
                  <a:pt x="72818" y="440459"/>
                </a:lnTo>
                <a:lnTo>
                  <a:pt x="67436" y="436625"/>
                </a:lnTo>
                <a:lnTo>
                  <a:pt x="60706" y="430784"/>
                </a:lnTo>
                <a:lnTo>
                  <a:pt x="57277" y="423291"/>
                </a:lnTo>
                <a:lnTo>
                  <a:pt x="57277" y="414400"/>
                </a:lnTo>
                <a:lnTo>
                  <a:pt x="59513" y="402992"/>
                </a:lnTo>
                <a:lnTo>
                  <a:pt x="66214" y="394858"/>
                </a:lnTo>
                <a:lnTo>
                  <a:pt x="77368" y="389987"/>
                </a:lnTo>
                <a:lnTo>
                  <a:pt x="92964" y="388366"/>
                </a:lnTo>
                <a:lnTo>
                  <a:pt x="156844" y="388366"/>
                </a:lnTo>
                <a:lnTo>
                  <a:pt x="156844" y="370459"/>
                </a:lnTo>
                <a:close/>
              </a:path>
              <a:path w="209550" h="1212850">
                <a:moveTo>
                  <a:pt x="100203" y="274700"/>
                </a:moveTo>
                <a:lnTo>
                  <a:pt x="85852" y="274700"/>
                </a:lnTo>
                <a:lnTo>
                  <a:pt x="90551" y="308229"/>
                </a:lnTo>
                <a:lnTo>
                  <a:pt x="94765" y="324397"/>
                </a:lnTo>
                <a:lnTo>
                  <a:pt x="102266" y="335946"/>
                </a:lnTo>
                <a:lnTo>
                  <a:pt x="113053" y="342876"/>
                </a:lnTo>
                <a:lnTo>
                  <a:pt x="127127" y="345186"/>
                </a:lnTo>
                <a:lnTo>
                  <a:pt x="136906" y="345186"/>
                </a:lnTo>
                <a:lnTo>
                  <a:pt x="144780" y="342011"/>
                </a:lnTo>
                <a:lnTo>
                  <a:pt x="150621" y="335788"/>
                </a:lnTo>
                <a:lnTo>
                  <a:pt x="154529" y="330573"/>
                </a:lnTo>
                <a:lnTo>
                  <a:pt x="156253" y="326771"/>
                </a:lnTo>
                <a:lnTo>
                  <a:pt x="118236" y="326771"/>
                </a:lnTo>
                <a:lnTo>
                  <a:pt x="113030" y="324738"/>
                </a:lnTo>
                <a:lnTo>
                  <a:pt x="110108" y="320421"/>
                </a:lnTo>
                <a:lnTo>
                  <a:pt x="107188" y="316230"/>
                </a:lnTo>
                <a:lnTo>
                  <a:pt x="105156" y="310007"/>
                </a:lnTo>
                <a:lnTo>
                  <a:pt x="103885" y="301625"/>
                </a:lnTo>
                <a:lnTo>
                  <a:pt x="100203" y="274700"/>
                </a:lnTo>
                <a:close/>
              </a:path>
              <a:path w="209550" h="1212850">
                <a:moveTo>
                  <a:pt x="156844" y="256667"/>
                </a:moveTo>
                <a:lnTo>
                  <a:pt x="84073" y="256667"/>
                </a:lnTo>
                <a:lnTo>
                  <a:pt x="65758" y="259141"/>
                </a:lnTo>
                <a:lnTo>
                  <a:pt x="52705" y="266557"/>
                </a:lnTo>
                <a:lnTo>
                  <a:pt x="44890" y="278901"/>
                </a:lnTo>
                <a:lnTo>
                  <a:pt x="42291" y="296163"/>
                </a:lnTo>
                <a:lnTo>
                  <a:pt x="42935" y="306617"/>
                </a:lnTo>
                <a:lnTo>
                  <a:pt x="44878" y="316452"/>
                </a:lnTo>
                <a:lnTo>
                  <a:pt x="48131" y="325667"/>
                </a:lnTo>
                <a:lnTo>
                  <a:pt x="52705" y="334263"/>
                </a:lnTo>
                <a:lnTo>
                  <a:pt x="71119" y="334263"/>
                </a:lnTo>
                <a:lnTo>
                  <a:pt x="65099" y="325852"/>
                </a:lnTo>
                <a:lnTo>
                  <a:pt x="60769" y="316976"/>
                </a:lnTo>
                <a:lnTo>
                  <a:pt x="58154" y="307599"/>
                </a:lnTo>
                <a:lnTo>
                  <a:pt x="57277" y="297688"/>
                </a:lnTo>
                <a:lnTo>
                  <a:pt x="59062" y="287613"/>
                </a:lnTo>
                <a:lnTo>
                  <a:pt x="64420" y="280431"/>
                </a:lnTo>
                <a:lnTo>
                  <a:pt x="73350" y="276131"/>
                </a:lnTo>
                <a:lnTo>
                  <a:pt x="85852" y="274700"/>
                </a:lnTo>
                <a:lnTo>
                  <a:pt x="156844" y="274700"/>
                </a:lnTo>
                <a:lnTo>
                  <a:pt x="156844" y="256667"/>
                </a:lnTo>
                <a:close/>
              </a:path>
              <a:path w="209550" h="1212850">
                <a:moveTo>
                  <a:pt x="139319" y="274700"/>
                </a:moveTo>
                <a:lnTo>
                  <a:pt x="120904" y="274700"/>
                </a:lnTo>
                <a:lnTo>
                  <a:pt x="128778" y="277495"/>
                </a:lnTo>
                <a:lnTo>
                  <a:pt x="135001" y="283337"/>
                </a:lnTo>
                <a:lnTo>
                  <a:pt x="141351" y="289179"/>
                </a:lnTo>
                <a:lnTo>
                  <a:pt x="144398" y="296545"/>
                </a:lnTo>
                <a:lnTo>
                  <a:pt x="144398" y="311912"/>
                </a:lnTo>
                <a:lnTo>
                  <a:pt x="142620" y="317119"/>
                </a:lnTo>
                <a:lnTo>
                  <a:pt x="139192" y="320929"/>
                </a:lnTo>
                <a:lnTo>
                  <a:pt x="135763" y="324866"/>
                </a:lnTo>
                <a:lnTo>
                  <a:pt x="131318" y="326771"/>
                </a:lnTo>
                <a:lnTo>
                  <a:pt x="156253" y="326771"/>
                </a:lnTo>
                <a:lnTo>
                  <a:pt x="157318" y="324397"/>
                </a:lnTo>
                <a:lnTo>
                  <a:pt x="158962" y="317428"/>
                </a:lnTo>
                <a:lnTo>
                  <a:pt x="159511" y="309499"/>
                </a:lnTo>
                <a:lnTo>
                  <a:pt x="158249" y="298834"/>
                </a:lnTo>
                <a:lnTo>
                  <a:pt x="154463" y="289528"/>
                </a:lnTo>
                <a:lnTo>
                  <a:pt x="148153" y="281602"/>
                </a:lnTo>
                <a:lnTo>
                  <a:pt x="139319" y="275082"/>
                </a:lnTo>
                <a:lnTo>
                  <a:pt x="139319" y="274700"/>
                </a:lnTo>
                <a:close/>
              </a:path>
              <a:path w="209550" h="1212850">
                <a:moveTo>
                  <a:pt x="80771" y="144907"/>
                </a:moveTo>
                <a:lnTo>
                  <a:pt x="60452" y="144907"/>
                </a:lnTo>
                <a:lnTo>
                  <a:pt x="60339" y="145502"/>
                </a:lnTo>
                <a:lnTo>
                  <a:pt x="52470" y="151582"/>
                </a:lnTo>
                <a:lnTo>
                  <a:pt x="46799" y="159226"/>
                </a:lnTo>
                <a:lnTo>
                  <a:pt x="43414" y="168346"/>
                </a:lnTo>
                <a:lnTo>
                  <a:pt x="42291" y="178943"/>
                </a:lnTo>
                <a:lnTo>
                  <a:pt x="43338" y="190228"/>
                </a:lnTo>
                <a:lnTo>
                  <a:pt x="68248" y="222535"/>
                </a:lnTo>
                <a:lnTo>
                  <a:pt x="104520" y="230250"/>
                </a:lnTo>
                <a:lnTo>
                  <a:pt x="116451" y="229445"/>
                </a:lnTo>
                <a:lnTo>
                  <a:pt x="127095" y="227044"/>
                </a:lnTo>
                <a:lnTo>
                  <a:pt x="136453" y="223071"/>
                </a:lnTo>
                <a:lnTo>
                  <a:pt x="144526" y="217550"/>
                </a:lnTo>
                <a:lnTo>
                  <a:pt x="149969" y="211836"/>
                </a:lnTo>
                <a:lnTo>
                  <a:pt x="103251" y="211836"/>
                </a:lnTo>
                <a:lnTo>
                  <a:pt x="92989" y="211260"/>
                </a:lnTo>
                <a:lnTo>
                  <a:pt x="60325" y="191230"/>
                </a:lnTo>
                <a:lnTo>
                  <a:pt x="57277" y="176403"/>
                </a:lnTo>
                <a:lnTo>
                  <a:pt x="57277" y="167512"/>
                </a:lnTo>
                <a:lnTo>
                  <a:pt x="60452" y="160020"/>
                </a:lnTo>
                <a:lnTo>
                  <a:pt x="66802" y="153924"/>
                </a:lnTo>
                <a:lnTo>
                  <a:pt x="73152" y="147955"/>
                </a:lnTo>
                <a:lnTo>
                  <a:pt x="80771" y="144907"/>
                </a:lnTo>
                <a:close/>
              </a:path>
              <a:path w="209550" h="1212850">
                <a:moveTo>
                  <a:pt x="147955" y="127000"/>
                </a:moveTo>
                <a:lnTo>
                  <a:pt x="44831" y="127000"/>
                </a:lnTo>
                <a:lnTo>
                  <a:pt x="44831" y="144907"/>
                </a:lnTo>
                <a:lnTo>
                  <a:pt x="150368" y="144907"/>
                </a:lnTo>
                <a:lnTo>
                  <a:pt x="169556" y="147500"/>
                </a:lnTo>
                <a:lnTo>
                  <a:pt x="183292" y="155273"/>
                </a:lnTo>
                <a:lnTo>
                  <a:pt x="191551" y="168213"/>
                </a:lnTo>
                <a:lnTo>
                  <a:pt x="194309" y="186309"/>
                </a:lnTo>
                <a:lnTo>
                  <a:pt x="193645" y="194998"/>
                </a:lnTo>
                <a:lnTo>
                  <a:pt x="191658" y="203914"/>
                </a:lnTo>
                <a:lnTo>
                  <a:pt x="188362" y="213044"/>
                </a:lnTo>
                <a:lnTo>
                  <a:pt x="183769" y="222376"/>
                </a:lnTo>
                <a:lnTo>
                  <a:pt x="201676" y="222376"/>
                </a:lnTo>
                <a:lnTo>
                  <a:pt x="205156" y="214254"/>
                </a:lnTo>
                <a:lnTo>
                  <a:pt x="207613" y="205501"/>
                </a:lnTo>
                <a:lnTo>
                  <a:pt x="209069" y="196105"/>
                </a:lnTo>
                <a:lnTo>
                  <a:pt x="209543" y="186013"/>
                </a:lnTo>
                <a:lnTo>
                  <a:pt x="205694" y="160218"/>
                </a:lnTo>
                <a:lnTo>
                  <a:pt x="194135" y="141763"/>
                </a:lnTo>
                <a:lnTo>
                  <a:pt x="174884" y="130690"/>
                </a:lnTo>
                <a:lnTo>
                  <a:pt x="147955" y="127000"/>
                </a:lnTo>
                <a:close/>
              </a:path>
              <a:path w="209550" h="1212850">
                <a:moveTo>
                  <a:pt x="138048" y="144907"/>
                </a:moveTo>
                <a:lnTo>
                  <a:pt x="106171" y="144907"/>
                </a:lnTo>
                <a:lnTo>
                  <a:pt x="114174" y="145502"/>
                </a:lnTo>
                <a:lnTo>
                  <a:pt x="121427" y="147288"/>
                </a:lnTo>
                <a:lnTo>
                  <a:pt x="144398" y="178943"/>
                </a:lnTo>
                <a:lnTo>
                  <a:pt x="143706" y="186013"/>
                </a:lnTo>
                <a:lnTo>
                  <a:pt x="112131" y="211284"/>
                </a:lnTo>
                <a:lnTo>
                  <a:pt x="103251" y="211836"/>
                </a:lnTo>
                <a:lnTo>
                  <a:pt x="149969" y="211836"/>
                </a:lnTo>
                <a:lnTo>
                  <a:pt x="151100" y="210649"/>
                </a:lnTo>
                <a:lnTo>
                  <a:pt x="155781" y="202723"/>
                </a:lnTo>
                <a:lnTo>
                  <a:pt x="158581" y="193798"/>
                </a:lnTo>
                <a:lnTo>
                  <a:pt x="159511" y="183896"/>
                </a:lnTo>
                <a:lnTo>
                  <a:pt x="158176" y="171846"/>
                </a:lnTo>
                <a:lnTo>
                  <a:pt x="154162" y="161417"/>
                </a:lnTo>
                <a:lnTo>
                  <a:pt x="147456" y="152606"/>
                </a:lnTo>
                <a:lnTo>
                  <a:pt x="138163" y="145502"/>
                </a:lnTo>
                <a:lnTo>
                  <a:pt x="138048" y="144907"/>
                </a:lnTo>
                <a:close/>
              </a:path>
              <a:path w="209550" h="1212850">
                <a:moveTo>
                  <a:pt x="105409" y="0"/>
                </a:moveTo>
                <a:lnTo>
                  <a:pt x="95884" y="0"/>
                </a:lnTo>
                <a:lnTo>
                  <a:pt x="83982" y="742"/>
                </a:lnTo>
                <a:lnTo>
                  <a:pt x="50274" y="18684"/>
                </a:lnTo>
                <a:lnTo>
                  <a:pt x="42291" y="45974"/>
                </a:lnTo>
                <a:lnTo>
                  <a:pt x="43314" y="56550"/>
                </a:lnTo>
                <a:lnTo>
                  <a:pt x="67538" y="89304"/>
                </a:lnTo>
                <a:lnTo>
                  <a:pt x="101345" y="97662"/>
                </a:lnTo>
                <a:lnTo>
                  <a:pt x="114393" y="96807"/>
                </a:lnTo>
                <a:lnTo>
                  <a:pt x="125904" y="94249"/>
                </a:lnTo>
                <a:lnTo>
                  <a:pt x="135868" y="90001"/>
                </a:lnTo>
                <a:lnTo>
                  <a:pt x="144271" y="84074"/>
                </a:lnTo>
                <a:lnTo>
                  <a:pt x="148731" y="79121"/>
                </a:lnTo>
                <a:lnTo>
                  <a:pt x="105409" y="79121"/>
                </a:lnTo>
                <a:lnTo>
                  <a:pt x="105409" y="78867"/>
                </a:lnTo>
                <a:lnTo>
                  <a:pt x="90169" y="78867"/>
                </a:lnTo>
                <a:lnTo>
                  <a:pt x="83190" y="77392"/>
                </a:lnTo>
                <a:lnTo>
                  <a:pt x="57277" y="54863"/>
                </a:lnTo>
                <a:lnTo>
                  <a:pt x="57277" y="37592"/>
                </a:lnTo>
                <a:lnTo>
                  <a:pt x="90169" y="18287"/>
                </a:lnTo>
                <a:lnTo>
                  <a:pt x="105409" y="18287"/>
                </a:lnTo>
                <a:lnTo>
                  <a:pt x="105409" y="0"/>
                </a:lnTo>
                <a:close/>
              </a:path>
              <a:path w="209550" h="1212850">
                <a:moveTo>
                  <a:pt x="148844" y="7747"/>
                </a:moveTo>
                <a:lnTo>
                  <a:pt x="131953" y="7747"/>
                </a:lnTo>
                <a:lnTo>
                  <a:pt x="137380" y="15845"/>
                </a:lnTo>
                <a:lnTo>
                  <a:pt x="141271" y="24336"/>
                </a:lnTo>
                <a:lnTo>
                  <a:pt x="143615" y="33232"/>
                </a:lnTo>
                <a:lnTo>
                  <a:pt x="144398" y="42545"/>
                </a:lnTo>
                <a:lnTo>
                  <a:pt x="143758" y="50494"/>
                </a:lnTo>
                <a:lnTo>
                  <a:pt x="114218" y="78283"/>
                </a:lnTo>
                <a:lnTo>
                  <a:pt x="105409" y="79121"/>
                </a:lnTo>
                <a:lnTo>
                  <a:pt x="148731" y="79121"/>
                </a:lnTo>
                <a:lnTo>
                  <a:pt x="150939" y="76668"/>
                </a:lnTo>
                <a:lnTo>
                  <a:pt x="155711" y="67945"/>
                </a:lnTo>
                <a:lnTo>
                  <a:pt x="158559" y="57999"/>
                </a:lnTo>
                <a:lnTo>
                  <a:pt x="159511" y="46736"/>
                </a:lnTo>
                <a:lnTo>
                  <a:pt x="158845" y="35214"/>
                </a:lnTo>
                <a:lnTo>
                  <a:pt x="156844" y="24860"/>
                </a:lnTo>
                <a:lnTo>
                  <a:pt x="153511" y="15696"/>
                </a:lnTo>
                <a:lnTo>
                  <a:pt x="148844" y="7747"/>
                </a:lnTo>
                <a:close/>
              </a:path>
              <a:path w="209550" h="1212850">
                <a:moveTo>
                  <a:pt x="105409" y="18287"/>
                </a:moveTo>
                <a:lnTo>
                  <a:pt x="90169" y="18287"/>
                </a:lnTo>
                <a:lnTo>
                  <a:pt x="90169" y="78867"/>
                </a:lnTo>
                <a:lnTo>
                  <a:pt x="105409" y="78867"/>
                </a:lnTo>
                <a:lnTo>
                  <a:pt x="105409" y="18287"/>
                </a:lnTo>
                <a:close/>
              </a:path>
            </a:pathLst>
          </a:custGeom>
          <a:solidFill>
            <a:srgbClr val="585858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311272" y="1213404"/>
            <a:ext cx="822400" cy="232749"/>
          </a:xfrm>
          <a:custGeom>
            <a:avLst/>
            <a:gdLst/>
            <a:ahLst/>
            <a:cxnLst/>
            <a:rect l="l" t="t" r="r" b="b"/>
            <a:pathLst>
              <a:path w="1118234" h="237490">
                <a:moveTo>
                  <a:pt x="59817" y="15748"/>
                </a:moveTo>
                <a:lnTo>
                  <a:pt x="0" y="15748"/>
                </a:lnTo>
                <a:lnTo>
                  <a:pt x="0" y="233552"/>
                </a:lnTo>
                <a:lnTo>
                  <a:pt x="25400" y="233552"/>
                </a:lnTo>
                <a:lnTo>
                  <a:pt x="25400" y="151257"/>
                </a:lnTo>
                <a:lnTo>
                  <a:pt x="54101" y="151257"/>
                </a:lnTo>
                <a:lnTo>
                  <a:pt x="100161" y="140112"/>
                </a:lnTo>
                <a:lnTo>
                  <a:pt x="114688" y="128142"/>
                </a:lnTo>
                <a:lnTo>
                  <a:pt x="25400" y="128142"/>
                </a:lnTo>
                <a:lnTo>
                  <a:pt x="25400" y="38862"/>
                </a:lnTo>
                <a:lnTo>
                  <a:pt x="119364" y="38862"/>
                </a:lnTo>
                <a:lnTo>
                  <a:pt x="113919" y="32765"/>
                </a:lnTo>
                <a:lnTo>
                  <a:pt x="103322" y="25338"/>
                </a:lnTo>
                <a:lnTo>
                  <a:pt x="90773" y="20018"/>
                </a:lnTo>
                <a:lnTo>
                  <a:pt x="76271" y="16817"/>
                </a:lnTo>
                <a:lnTo>
                  <a:pt x="59817" y="15748"/>
                </a:lnTo>
                <a:close/>
              </a:path>
              <a:path w="1118234" h="237490">
                <a:moveTo>
                  <a:pt x="119364" y="38862"/>
                </a:moveTo>
                <a:lnTo>
                  <a:pt x="55372" y="38862"/>
                </a:lnTo>
                <a:lnTo>
                  <a:pt x="77708" y="41554"/>
                </a:lnTo>
                <a:lnTo>
                  <a:pt x="93662" y="49641"/>
                </a:lnTo>
                <a:lnTo>
                  <a:pt x="103235" y="63132"/>
                </a:lnTo>
                <a:lnTo>
                  <a:pt x="106425" y="82041"/>
                </a:lnTo>
                <a:lnTo>
                  <a:pt x="105546" y="92396"/>
                </a:lnTo>
                <a:lnTo>
                  <a:pt x="75422" y="125110"/>
                </a:lnTo>
                <a:lnTo>
                  <a:pt x="52197" y="128142"/>
                </a:lnTo>
                <a:lnTo>
                  <a:pt x="114688" y="128142"/>
                </a:lnTo>
                <a:lnTo>
                  <a:pt x="121094" y="120919"/>
                </a:lnTo>
                <a:lnTo>
                  <a:pt x="127762" y="108965"/>
                </a:lnTo>
                <a:lnTo>
                  <a:pt x="131762" y="95583"/>
                </a:lnTo>
                <a:lnTo>
                  <a:pt x="133096" y="80772"/>
                </a:lnTo>
                <a:lnTo>
                  <a:pt x="131903" y="66145"/>
                </a:lnTo>
                <a:lnTo>
                  <a:pt x="128317" y="53292"/>
                </a:lnTo>
                <a:lnTo>
                  <a:pt x="122326" y="42177"/>
                </a:lnTo>
                <a:lnTo>
                  <a:pt x="119364" y="38862"/>
                </a:lnTo>
                <a:close/>
              </a:path>
              <a:path w="1118234" h="237490">
                <a:moveTo>
                  <a:pt x="195199" y="3301"/>
                </a:moveTo>
                <a:lnTo>
                  <a:pt x="170306" y="3301"/>
                </a:lnTo>
                <a:lnTo>
                  <a:pt x="170306" y="233552"/>
                </a:lnTo>
                <a:lnTo>
                  <a:pt x="195199" y="233552"/>
                </a:lnTo>
                <a:lnTo>
                  <a:pt x="195199" y="3301"/>
                </a:lnTo>
                <a:close/>
              </a:path>
              <a:path w="1118234" h="237490">
                <a:moveTo>
                  <a:pt x="346327" y="95376"/>
                </a:moveTo>
                <a:lnTo>
                  <a:pt x="299339" y="95376"/>
                </a:lnTo>
                <a:lnTo>
                  <a:pt x="313340" y="97853"/>
                </a:lnTo>
                <a:lnTo>
                  <a:pt x="323342" y="105282"/>
                </a:lnTo>
                <a:lnTo>
                  <a:pt x="329342" y="117665"/>
                </a:lnTo>
                <a:lnTo>
                  <a:pt x="331343" y="135000"/>
                </a:lnTo>
                <a:lnTo>
                  <a:pt x="284861" y="141477"/>
                </a:lnTo>
                <a:lnTo>
                  <a:pt x="262378" y="147359"/>
                </a:lnTo>
                <a:lnTo>
                  <a:pt x="246348" y="157765"/>
                </a:lnTo>
                <a:lnTo>
                  <a:pt x="236743" y="172720"/>
                </a:lnTo>
                <a:lnTo>
                  <a:pt x="233552" y="192150"/>
                </a:lnTo>
                <a:lnTo>
                  <a:pt x="234364" y="201840"/>
                </a:lnTo>
                <a:lnTo>
                  <a:pt x="262270" y="234045"/>
                </a:lnTo>
                <a:lnTo>
                  <a:pt x="282955" y="237109"/>
                </a:lnTo>
                <a:lnTo>
                  <a:pt x="297795" y="235368"/>
                </a:lnTo>
                <a:lnTo>
                  <a:pt x="310705" y="230139"/>
                </a:lnTo>
                <a:lnTo>
                  <a:pt x="321710" y="221410"/>
                </a:lnTo>
                <a:lnTo>
                  <a:pt x="325628" y="216153"/>
                </a:lnTo>
                <a:lnTo>
                  <a:pt x="279780" y="216153"/>
                </a:lnTo>
                <a:lnTo>
                  <a:pt x="272542" y="213740"/>
                </a:lnTo>
                <a:lnTo>
                  <a:pt x="261747" y="204215"/>
                </a:lnTo>
                <a:lnTo>
                  <a:pt x="258952" y="197992"/>
                </a:lnTo>
                <a:lnTo>
                  <a:pt x="258993" y="179857"/>
                </a:lnTo>
                <a:lnTo>
                  <a:pt x="293877" y="160020"/>
                </a:lnTo>
                <a:lnTo>
                  <a:pt x="331343" y="154812"/>
                </a:lnTo>
                <a:lnTo>
                  <a:pt x="356362" y="154812"/>
                </a:lnTo>
                <a:lnTo>
                  <a:pt x="356362" y="132334"/>
                </a:lnTo>
                <a:lnTo>
                  <a:pt x="352933" y="106997"/>
                </a:lnTo>
                <a:lnTo>
                  <a:pt x="346327" y="95376"/>
                </a:lnTo>
                <a:close/>
              </a:path>
              <a:path w="1118234" h="237490">
                <a:moveTo>
                  <a:pt x="356362" y="209169"/>
                </a:moveTo>
                <a:lnTo>
                  <a:pt x="331343" y="209169"/>
                </a:lnTo>
                <a:lnTo>
                  <a:pt x="331343" y="233552"/>
                </a:lnTo>
                <a:lnTo>
                  <a:pt x="356362" y="233552"/>
                </a:lnTo>
                <a:lnTo>
                  <a:pt x="356362" y="209169"/>
                </a:lnTo>
                <a:close/>
              </a:path>
              <a:path w="1118234" h="237490">
                <a:moveTo>
                  <a:pt x="356362" y="154812"/>
                </a:moveTo>
                <a:lnTo>
                  <a:pt x="331343" y="154812"/>
                </a:lnTo>
                <a:lnTo>
                  <a:pt x="331343" y="170307"/>
                </a:lnTo>
                <a:lnTo>
                  <a:pt x="330600" y="179857"/>
                </a:lnTo>
                <a:lnTo>
                  <a:pt x="305657" y="212915"/>
                </a:lnTo>
                <a:lnTo>
                  <a:pt x="288798" y="216153"/>
                </a:lnTo>
                <a:lnTo>
                  <a:pt x="325628" y="216153"/>
                </a:lnTo>
                <a:lnTo>
                  <a:pt x="330835" y="209169"/>
                </a:lnTo>
                <a:lnTo>
                  <a:pt x="356362" y="209169"/>
                </a:lnTo>
                <a:lnTo>
                  <a:pt x="356362" y="154812"/>
                </a:lnTo>
                <a:close/>
              </a:path>
              <a:path w="1118234" h="237490">
                <a:moveTo>
                  <a:pt x="301498" y="74422"/>
                </a:moveTo>
                <a:lnTo>
                  <a:pt x="286974" y="75328"/>
                </a:lnTo>
                <a:lnTo>
                  <a:pt x="273319" y="78057"/>
                </a:lnTo>
                <a:lnTo>
                  <a:pt x="260546" y="82619"/>
                </a:lnTo>
                <a:lnTo>
                  <a:pt x="248666" y="89026"/>
                </a:lnTo>
                <a:lnTo>
                  <a:pt x="248666" y="114426"/>
                </a:lnTo>
                <a:lnTo>
                  <a:pt x="260334" y="106092"/>
                </a:lnTo>
                <a:lnTo>
                  <a:pt x="272668" y="100139"/>
                </a:lnTo>
                <a:lnTo>
                  <a:pt x="285670" y="96567"/>
                </a:lnTo>
                <a:lnTo>
                  <a:pt x="299339" y="95376"/>
                </a:lnTo>
                <a:lnTo>
                  <a:pt x="346327" y="95376"/>
                </a:lnTo>
                <a:lnTo>
                  <a:pt x="342646" y="88900"/>
                </a:lnTo>
                <a:lnTo>
                  <a:pt x="325500" y="78041"/>
                </a:lnTo>
                <a:lnTo>
                  <a:pt x="301498" y="74422"/>
                </a:lnTo>
                <a:close/>
              </a:path>
              <a:path w="1118234" h="237490">
                <a:moveTo>
                  <a:pt x="436499" y="99313"/>
                </a:moveTo>
                <a:lnTo>
                  <a:pt x="411606" y="99313"/>
                </a:lnTo>
                <a:lnTo>
                  <a:pt x="411606" y="191262"/>
                </a:lnTo>
                <a:lnTo>
                  <a:pt x="414154" y="211191"/>
                </a:lnTo>
                <a:lnTo>
                  <a:pt x="421798" y="225440"/>
                </a:lnTo>
                <a:lnTo>
                  <a:pt x="434538" y="233999"/>
                </a:lnTo>
                <a:lnTo>
                  <a:pt x="452374" y="236854"/>
                </a:lnTo>
                <a:lnTo>
                  <a:pt x="462025" y="236854"/>
                </a:lnTo>
                <a:lnTo>
                  <a:pt x="469773" y="235203"/>
                </a:lnTo>
                <a:lnTo>
                  <a:pt x="475615" y="232028"/>
                </a:lnTo>
                <a:lnTo>
                  <a:pt x="475615" y="215900"/>
                </a:lnTo>
                <a:lnTo>
                  <a:pt x="451230" y="215900"/>
                </a:lnTo>
                <a:lnTo>
                  <a:pt x="445262" y="213613"/>
                </a:lnTo>
                <a:lnTo>
                  <a:pt x="441833" y="209169"/>
                </a:lnTo>
                <a:lnTo>
                  <a:pt x="438276" y="204724"/>
                </a:lnTo>
                <a:lnTo>
                  <a:pt x="436499" y="197358"/>
                </a:lnTo>
                <a:lnTo>
                  <a:pt x="436499" y="99313"/>
                </a:lnTo>
                <a:close/>
              </a:path>
              <a:path w="1118234" h="237490">
                <a:moveTo>
                  <a:pt x="475615" y="210692"/>
                </a:moveTo>
                <a:lnTo>
                  <a:pt x="471043" y="214122"/>
                </a:lnTo>
                <a:lnTo>
                  <a:pt x="465709" y="215900"/>
                </a:lnTo>
                <a:lnTo>
                  <a:pt x="475615" y="215900"/>
                </a:lnTo>
                <a:lnTo>
                  <a:pt x="475615" y="210692"/>
                </a:lnTo>
                <a:close/>
              </a:path>
              <a:path w="1118234" h="237490">
                <a:moveTo>
                  <a:pt x="475615" y="78104"/>
                </a:moveTo>
                <a:lnTo>
                  <a:pt x="384810" y="78104"/>
                </a:lnTo>
                <a:lnTo>
                  <a:pt x="384810" y="99313"/>
                </a:lnTo>
                <a:lnTo>
                  <a:pt x="475615" y="99313"/>
                </a:lnTo>
                <a:lnTo>
                  <a:pt x="475615" y="78104"/>
                </a:lnTo>
                <a:close/>
              </a:path>
              <a:path w="1118234" h="237490">
                <a:moveTo>
                  <a:pt x="436499" y="32003"/>
                </a:moveTo>
                <a:lnTo>
                  <a:pt x="411606" y="40132"/>
                </a:lnTo>
                <a:lnTo>
                  <a:pt x="411606" y="78104"/>
                </a:lnTo>
                <a:lnTo>
                  <a:pt x="436499" y="78104"/>
                </a:lnTo>
                <a:lnTo>
                  <a:pt x="436499" y="32003"/>
                </a:lnTo>
                <a:close/>
              </a:path>
              <a:path w="1118234" h="237490">
                <a:moveTo>
                  <a:pt x="542798" y="99313"/>
                </a:moveTo>
                <a:lnTo>
                  <a:pt x="518033" y="99313"/>
                </a:lnTo>
                <a:lnTo>
                  <a:pt x="518033" y="233552"/>
                </a:lnTo>
                <a:lnTo>
                  <a:pt x="542798" y="233552"/>
                </a:lnTo>
                <a:lnTo>
                  <a:pt x="542798" y="99313"/>
                </a:lnTo>
                <a:close/>
              </a:path>
              <a:path w="1118234" h="237490">
                <a:moveTo>
                  <a:pt x="579247" y="78104"/>
                </a:moveTo>
                <a:lnTo>
                  <a:pt x="491490" y="78104"/>
                </a:lnTo>
                <a:lnTo>
                  <a:pt x="491490" y="99313"/>
                </a:lnTo>
                <a:lnTo>
                  <a:pt x="579247" y="99313"/>
                </a:lnTo>
                <a:lnTo>
                  <a:pt x="579247" y="78104"/>
                </a:lnTo>
                <a:close/>
              </a:path>
              <a:path w="1118234" h="237490">
                <a:moveTo>
                  <a:pt x="575055" y="0"/>
                </a:moveTo>
                <a:lnTo>
                  <a:pt x="567436" y="0"/>
                </a:lnTo>
                <a:lnTo>
                  <a:pt x="557293" y="888"/>
                </a:lnTo>
                <a:lnTo>
                  <a:pt x="521620" y="30956"/>
                </a:lnTo>
                <a:lnTo>
                  <a:pt x="518033" y="52832"/>
                </a:lnTo>
                <a:lnTo>
                  <a:pt x="518033" y="78104"/>
                </a:lnTo>
                <a:lnTo>
                  <a:pt x="542798" y="78104"/>
                </a:lnTo>
                <a:lnTo>
                  <a:pt x="542798" y="54101"/>
                </a:lnTo>
                <a:lnTo>
                  <a:pt x="544439" y="39673"/>
                </a:lnTo>
                <a:lnTo>
                  <a:pt x="549354" y="29352"/>
                </a:lnTo>
                <a:lnTo>
                  <a:pt x="557531" y="23151"/>
                </a:lnTo>
                <a:lnTo>
                  <a:pt x="568960" y="21082"/>
                </a:lnTo>
                <a:lnTo>
                  <a:pt x="585470" y="21082"/>
                </a:lnTo>
                <a:lnTo>
                  <a:pt x="585470" y="2794"/>
                </a:lnTo>
                <a:lnTo>
                  <a:pt x="580985" y="883"/>
                </a:lnTo>
                <a:lnTo>
                  <a:pt x="575055" y="0"/>
                </a:lnTo>
                <a:close/>
              </a:path>
              <a:path w="1118234" h="237490">
                <a:moveTo>
                  <a:pt x="585470" y="21082"/>
                </a:moveTo>
                <a:lnTo>
                  <a:pt x="575055" y="21082"/>
                </a:lnTo>
                <a:lnTo>
                  <a:pt x="580644" y="22478"/>
                </a:lnTo>
                <a:lnTo>
                  <a:pt x="585470" y="25273"/>
                </a:lnTo>
                <a:lnTo>
                  <a:pt x="585470" y="21082"/>
                </a:lnTo>
                <a:close/>
              </a:path>
              <a:path w="1118234" h="237490">
                <a:moveTo>
                  <a:pt x="674877" y="74422"/>
                </a:moveTo>
                <a:lnTo>
                  <a:pt x="628640" y="86798"/>
                </a:lnTo>
                <a:lnTo>
                  <a:pt x="600964" y="122713"/>
                </a:lnTo>
                <a:lnTo>
                  <a:pt x="595629" y="157607"/>
                </a:lnTo>
                <a:lnTo>
                  <a:pt x="596915" y="174708"/>
                </a:lnTo>
                <a:lnTo>
                  <a:pt x="616203" y="215391"/>
                </a:lnTo>
                <a:lnTo>
                  <a:pt x="654833" y="235751"/>
                </a:lnTo>
                <a:lnTo>
                  <a:pt x="671195" y="237109"/>
                </a:lnTo>
                <a:lnTo>
                  <a:pt x="688006" y="235706"/>
                </a:lnTo>
                <a:lnTo>
                  <a:pt x="703008" y="231505"/>
                </a:lnTo>
                <a:lnTo>
                  <a:pt x="716200" y="224518"/>
                </a:lnTo>
                <a:lnTo>
                  <a:pt x="725953" y="216153"/>
                </a:lnTo>
                <a:lnTo>
                  <a:pt x="672973" y="216153"/>
                </a:lnTo>
                <a:lnTo>
                  <a:pt x="661757" y="215155"/>
                </a:lnTo>
                <a:lnTo>
                  <a:pt x="629066" y="191561"/>
                </a:lnTo>
                <a:lnTo>
                  <a:pt x="621091" y="157607"/>
                </a:lnTo>
                <a:lnTo>
                  <a:pt x="621128" y="155194"/>
                </a:lnTo>
                <a:lnTo>
                  <a:pt x="635000" y="111633"/>
                </a:lnTo>
                <a:lnTo>
                  <a:pt x="672973" y="95376"/>
                </a:lnTo>
                <a:lnTo>
                  <a:pt x="728670" y="95376"/>
                </a:lnTo>
                <a:lnTo>
                  <a:pt x="718419" y="86423"/>
                </a:lnTo>
                <a:lnTo>
                  <a:pt x="705802" y="79756"/>
                </a:lnTo>
                <a:lnTo>
                  <a:pt x="691280" y="75755"/>
                </a:lnTo>
                <a:lnTo>
                  <a:pt x="674877" y="74422"/>
                </a:lnTo>
                <a:close/>
              </a:path>
              <a:path w="1118234" h="237490">
                <a:moveTo>
                  <a:pt x="728670" y="95376"/>
                </a:moveTo>
                <a:lnTo>
                  <a:pt x="672973" y="95376"/>
                </a:lnTo>
                <a:lnTo>
                  <a:pt x="684359" y="96355"/>
                </a:lnTo>
                <a:lnTo>
                  <a:pt x="694340" y="99298"/>
                </a:lnTo>
                <a:lnTo>
                  <a:pt x="719899" y="130270"/>
                </a:lnTo>
                <a:lnTo>
                  <a:pt x="723085" y="155194"/>
                </a:lnTo>
                <a:lnTo>
                  <a:pt x="723047" y="157607"/>
                </a:lnTo>
                <a:lnTo>
                  <a:pt x="710184" y="200533"/>
                </a:lnTo>
                <a:lnTo>
                  <a:pt x="672973" y="216153"/>
                </a:lnTo>
                <a:lnTo>
                  <a:pt x="725953" y="216153"/>
                </a:lnTo>
                <a:lnTo>
                  <a:pt x="747335" y="172841"/>
                </a:lnTo>
                <a:lnTo>
                  <a:pt x="748665" y="155194"/>
                </a:lnTo>
                <a:lnTo>
                  <a:pt x="747430" y="137263"/>
                </a:lnTo>
                <a:lnTo>
                  <a:pt x="743743" y="121380"/>
                </a:lnTo>
                <a:lnTo>
                  <a:pt x="737627" y="107545"/>
                </a:lnTo>
                <a:lnTo>
                  <a:pt x="729106" y="95758"/>
                </a:lnTo>
                <a:lnTo>
                  <a:pt x="728670" y="95376"/>
                </a:lnTo>
                <a:close/>
              </a:path>
              <a:path w="1118234" h="237490">
                <a:moveTo>
                  <a:pt x="813943" y="78104"/>
                </a:moveTo>
                <a:lnTo>
                  <a:pt x="789051" y="78104"/>
                </a:lnTo>
                <a:lnTo>
                  <a:pt x="789051" y="233552"/>
                </a:lnTo>
                <a:lnTo>
                  <a:pt x="813943" y="233552"/>
                </a:lnTo>
                <a:lnTo>
                  <a:pt x="813943" y="154304"/>
                </a:lnTo>
                <a:lnTo>
                  <a:pt x="814611" y="141966"/>
                </a:lnTo>
                <a:lnTo>
                  <a:pt x="816625" y="131032"/>
                </a:lnTo>
                <a:lnTo>
                  <a:pt x="819997" y="121479"/>
                </a:lnTo>
                <a:lnTo>
                  <a:pt x="824738" y="113284"/>
                </a:lnTo>
                <a:lnTo>
                  <a:pt x="827474" y="110109"/>
                </a:lnTo>
                <a:lnTo>
                  <a:pt x="813943" y="110109"/>
                </a:lnTo>
                <a:lnTo>
                  <a:pt x="813943" y="78104"/>
                </a:lnTo>
                <a:close/>
              </a:path>
              <a:path w="1118234" h="237490">
                <a:moveTo>
                  <a:pt x="861822" y="75311"/>
                </a:moveTo>
                <a:lnTo>
                  <a:pt x="855345" y="75311"/>
                </a:lnTo>
                <a:lnTo>
                  <a:pt x="848729" y="75882"/>
                </a:lnTo>
                <a:lnTo>
                  <a:pt x="817600" y="102367"/>
                </a:lnTo>
                <a:lnTo>
                  <a:pt x="814577" y="110109"/>
                </a:lnTo>
                <a:lnTo>
                  <a:pt x="827474" y="110109"/>
                </a:lnTo>
                <a:lnTo>
                  <a:pt x="830403" y="106709"/>
                </a:lnTo>
                <a:lnTo>
                  <a:pt x="836723" y="102028"/>
                </a:lnTo>
                <a:lnTo>
                  <a:pt x="843686" y="99228"/>
                </a:lnTo>
                <a:lnTo>
                  <a:pt x="851280" y="98298"/>
                </a:lnTo>
                <a:lnTo>
                  <a:pt x="870203" y="98298"/>
                </a:lnTo>
                <a:lnTo>
                  <a:pt x="870203" y="77470"/>
                </a:lnTo>
                <a:lnTo>
                  <a:pt x="866775" y="76073"/>
                </a:lnTo>
                <a:lnTo>
                  <a:pt x="861822" y="75311"/>
                </a:lnTo>
                <a:close/>
              </a:path>
              <a:path w="1118234" h="237490">
                <a:moveTo>
                  <a:pt x="870203" y="98298"/>
                </a:moveTo>
                <a:lnTo>
                  <a:pt x="859536" y="98298"/>
                </a:lnTo>
                <a:lnTo>
                  <a:pt x="865759" y="99949"/>
                </a:lnTo>
                <a:lnTo>
                  <a:pt x="870203" y="103250"/>
                </a:lnTo>
                <a:lnTo>
                  <a:pt x="870203" y="98298"/>
                </a:lnTo>
                <a:close/>
              </a:path>
              <a:path w="1118234" h="237490">
                <a:moveTo>
                  <a:pt x="922147" y="78104"/>
                </a:moveTo>
                <a:lnTo>
                  <a:pt x="897254" y="78104"/>
                </a:lnTo>
                <a:lnTo>
                  <a:pt x="897254" y="233552"/>
                </a:lnTo>
                <a:lnTo>
                  <a:pt x="922147" y="233552"/>
                </a:lnTo>
                <a:lnTo>
                  <a:pt x="922179" y="144272"/>
                </a:lnTo>
                <a:lnTo>
                  <a:pt x="922813" y="134328"/>
                </a:lnTo>
                <a:lnTo>
                  <a:pt x="939217" y="102615"/>
                </a:lnTo>
                <a:lnTo>
                  <a:pt x="922147" y="102615"/>
                </a:lnTo>
                <a:lnTo>
                  <a:pt x="922147" y="78104"/>
                </a:lnTo>
                <a:close/>
              </a:path>
              <a:path w="1118234" h="237490">
                <a:moveTo>
                  <a:pt x="1009906" y="95376"/>
                </a:moveTo>
                <a:lnTo>
                  <a:pt x="959866" y="95376"/>
                </a:lnTo>
                <a:lnTo>
                  <a:pt x="975312" y="98250"/>
                </a:lnTo>
                <a:lnTo>
                  <a:pt x="986329" y="106822"/>
                </a:lnTo>
                <a:lnTo>
                  <a:pt x="992959" y="121148"/>
                </a:lnTo>
                <a:lnTo>
                  <a:pt x="995172" y="141224"/>
                </a:lnTo>
                <a:lnTo>
                  <a:pt x="995172" y="233552"/>
                </a:lnTo>
                <a:lnTo>
                  <a:pt x="1020064" y="233552"/>
                </a:lnTo>
                <a:lnTo>
                  <a:pt x="1020100" y="144272"/>
                </a:lnTo>
                <a:lnTo>
                  <a:pt x="1034401" y="106552"/>
                </a:lnTo>
                <a:lnTo>
                  <a:pt x="1015111" y="106552"/>
                </a:lnTo>
                <a:lnTo>
                  <a:pt x="1012445" y="99724"/>
                </a:lnTo>
                <a:lnTo>
                  <a:pt x="1009906" y="95376"/>
                </a:lnTo>
                <a:close/>
              </a:path>
              <a:path w="1118234" h="237490">
                <a:moveTo>
                  <a:pt x="1107684" y="95376"/>
                </a:moveTo>
                <a:lnTo>
                  <a:pt x="1058418" y="95376"/>
                </a:lnTo>
                <a:lnTo>
                  <a:pt x="1067105" y="96093"/>
                </a:lnTo>
                <a:lnTo>
                  <a:pt x="1074483" y="98250"/>
                </a:lnTo>
                <a:lnTo>
                  <a:pt x="1092590" y="132222"/>
                </a:lnTo>
                <a:lnTo>
                  <a:pt x="1093089" y="233552"/>
                </a:lnTo>
                <a:lnTo>
                  <a:pt x="1117980" y="233552"/>
                </a:lnTo>
                <a:lnTo>
                  <a:pt x="1117980" y="137667"/>
                </a:lnTo>
                <a:lnTo>
                  <a:pt x="1114778" y="109982"/>
                </a:lnTo>
                <a:lnTo>
                  <a:pt x="1107684" y="95376"/>
                </a:lnTo>
                <a:close/>
              </a:path>
              <a:path w="1118234" h="237490">
                <a:moveTo>
                  <a:pt x="1066673" y="74422"/>
                </a:moveTo>
                <a:lnTo>
                  <a:pt x="1050597" y="76424"/>
                </a:lnTo>
                <a:lnTo>
                  <a:pt x="1036653" y="82438"/>
                </a:lnTo>
                <a:lnTo>
                  <a:pt x="1024828" y="92477"/>
                </a:lnTo>
                <a:lnTo>
                  <a:pt x="1015111" y="106552"/>
                </a:lnTo>
                <a:lnTo>
                  <a:pt x="1034401" y="106552"/>
                </a:lnTo>
                <a:lnTo>
                  <a:pt x="1037147" y="103574"/>
                </a:lnTo>
                <a:lnTo>
                  <a:pt x="1043638" y="99012"/>
                </a:lnTo>
                <a:lnTo>
                  <a:pt x="1050724" y="96283"/>
                </a:lnTo>
                <a:lnTo>
                  <a:pt x="1058418" y="95376"/>
                </a:lnTo>
                <a:lnTo>
                  <a:pt x="1107684" y="95376"/>
                </a:lnTo>
                <a:lnTo>
                  <a:pt x="1105185" y="90233"/>
                </a:lnTo>
                <a:lnTo>
                  <a:pt x="1089155" y="78374"/>
                </a:lnTo>
                <a:lnTo>
                  <a:pt x="1066673" y="74422"/>
                </a:lnTo>
                <a:close/>
              </a:path>
              <a:path w="1118234" h="237490">
                <a:moveTo>
                  <a:pt x="971042" y="74422"/>
                </a:moveTo>
                <a:lnTo>
                  <a:pt x="956161" y="76184"/>
                </a:lnTo>
                <a:lnTo>
                  <a:pt x="943149" y="81470"/>
                </a:lnTo>
                <a:lnTo>
                  <a:pt x="932019" y="90281"/>
                </a:lnTo>
                <a:lnTo>
                  <a:pt x="922781" y="102615"/>
                </a:lnTo>
                <a:lnTo>
                  <a:pt x="939217" y="102615"/>
                </a:lnTo>
                <a:lnTo>
                  <a:pt x="944911" y="98805"/>
                </a:lnTo>
                <a:lnTo>
                  <a:pt x="952031" y="96234"/>
                </a:lnTo>
                <a:lnTo>
                  <a:pt x="959866" y="95376"/>
                </a:lnTo>
                <a:lnTo>
                  <a:pt x="1009906" y="95376"/>
                </a:lnTo>
                <a:lnTo>
                  <a:pt x="1008840" y="93551"/>
                </a:lnTo>
                <a:lnTo>
                  <a:pt x="978781" y="74971"/>
                </a:lnTo>
                <a:lnTo>
                  <a:pt x="971042" y="74422"/>
                </a:lnTo>
                <a:close/>
              </a:path>
            </a:pathLst>
          </a:custGeom>
          <a:solidFill>
            <a:srgbClr val="585858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5221700" y="1567382"/>
            <a:ext cx="997060" cy="21134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6426205" y="2869904"/>
            <a:ext cx="175128" cy="3453271"/>
          </a:xfrm>
          <a:custGeom>
            <a:avLst/>
            <a:gdLst/>
            <a:ahLst/>
            <a:cxnLst/>
            <a:rect l="l" t="t" r="r" b="b"/>
            <a:pathLst>
              <a:path w="238125" h="3523615">
                <a:moveTo>
                  <a:pt x="0" y="3523488"/>
                </a:moveTo>
                <a:lnTo>
                  <a:pt x="46273" y="3523488"/>
                </a:lnTo>
                <a:lnTo>
                  <a:pt x="84058" y="3523488"/>
                </a:lnTo>
                <a:lnTo>
                  <a:pt x="109531" y="3523488"/>
                </a:lnTo>
                <a:lnTo>
                  <a:pt x="118872" y="3523488"/>
                </a:lnTo>
                <a:lnTo>
                  <a:pt x="118872" y="1761744"/>
                </a:lnTo>
                <a:lnTo>
                  <a:pt x="150661" y="1761744"/>
                </a:lnTo>
                <a:lnTo>
                  <a:pt x="173640" y="1761744"/>
                </a:lnTo>
                <a:lnTo>
                  <a:pt x="198953" y="1761744"/>
                </a:lnTo>
                <a:lnTo>
                  <a:pt x="237744" y="1761744"/>
                </a:lnTo>
                <a:lnTo>
                  <a:pt x="191470" y="1761744"/>
                </a:lnTo>
                <a:lnTo>
                  <a:pt x="153685" y="1761744"/>
                </a:lnTo>
                <a:lnTo>
                  <a:pt x="128212" y="1761744"/>
                </a:lnTo>
                <a:lnTo>
                  <a:pt x="118872" y="1761744"/>
                </a:lnTo>
                <a:lnTo>
                  <a:pt x="118872" y="0"/>
                </a:lnTo>
                <a:lnTo>
                  <a:pt x="87082" y="0"/>
                </a:lnTo>
                <a:lnTo>
                  <a:pt x="64103" y="0"/>
                </a:lnTo>
                <a:lnTo>
                  <a:pt x="38790" y="0"/>
                </a:lnTo>
                <a:lnTo>
                  <a:pt x="0" y="0"/>
                </a:lnTo>
              </a:path>
            </a:pathLst>
          </a:custGeom>
          <a:ln w="19812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6591993" y="3538901"/>
            <a:ext cx="162518" cy="216789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896289" y="1849792"/>
            <a:ext cx="127026" cy="938463"/>
          </a:xfrm>
          <a:custGeom>
            <a:avLst/>
            <a:gdLst/>
            <a:ahLst/>
            <a:cxnLst/>
            <a:rect l="l" t="t" r="r" b="b"/>
            <a:pathLst>
              <a:path w="172720" h="957580">
                <a:moveTo>
                  <a:pt x="172211" y="957072"/>
                </a:moveTo>
                <a:lnTo>
                  <a:pt x="138719" y="957072"/>
                </a:lnTo>
                <a:lnTo>
                  <a:pt x="111347" y="957072"/>
                </a:lnTo>
                <a:lnTo>
                  <a:pt x="92880" y="957072"/>
                </a:lnTo>
                <a:lnTo>
                  <a:pt x="86105" y="957072"/>
                </a:lnTo>
                <a:lnTo>
                  <a:pt x="86105" y="478536"/>
                </a:lnTo>
                <a:lnTo>
                  <a:pt x="63043" y="478536"/>
                </a:lnTo>
                <a:lnTo>
                  <a:pt x="46386" y="478536"/>
                </a:lnTo>
                <a:lnTo>
                  <a:pt x="28063" y="478536"/>
                </a:lnTo>
                <a:lnTo>
                  <a:pt x="0" y="478536"/>
                </a:lnTo>
                <a:lnTo>
                  <a:pt x="33492" y="478536"/>
                </a:lnTo>
                <a:lnTo>
                  <a:pt x="60864" y="478536"/>
                </a:lnTo>
                <a:lnTo>
                  <a:pt x="79331" y="478536"/>
                </a:lnTo>
                <a:lnTo>
                  <a:pt x="86105" y="478536"/>
                </a:lnTo>
                <a:lnTo>
                  <a:pt x="86105" y="0"/>
                </a:lnTo>
                <a:lnTo>
                  <a:pt x="109168" y="0"/>
                </a:lnTo>
                <a:lnTo>
                  <a:pt x="125825" y="0"/>
                </a:lnTo>
                <a:lnTo>
                  <a:pt x="144148" y="0"/>
                </a:lnTo>
                <a:lnTo>
                  <a:pt x="172211" y="0"/>
                </a:lnTo>
              </a:path>
            </a:pathLst>
          </a:custGeom>
          <a:ln w="19811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4723123" y="1724581"/>
            <a:ext cx="154112" cy="1188637"/>
          </a:xfrm>
          <a:custGeom>
            <a:avLst/>
            <a:gdLst/>
            <a:ahLst/>
            <a:cxnLst/>
            <a:rect l="l" t="t" r="r" b="b"/>
            <a:pathLst>
              <a:path w="209550" h="1212850">
                <a:moveTo>
                  <a:pt x="0" y="1092073"/>
                </a:moveTo>
                <a:lnTo>
                  <a:pt x="0" y="1111631"/>
                </a:lnTo>
                <a:lnTo>
                  <a:pt x="74802" y="1150365"/>
                </a:lnTo>
                <a:lnTo>
                  <a:pt x="77977" y="1151763"/>
                </a:lnTo>
                <a:lnTo>
                  <a:pt x="80517" y="1152525"/>
                </a:lnTo>
                <a:lnTo>
                  <a:pt x="80517" y="1152778"/>
                </a:lnTo>
                <a:lnTo>
                  <a:pt x="74929" y="1154938"/>
                </a:lnTo>
                <a:lnTo>
                  <a:pt x="71754" y="1156208"/>
                </a:lnTo>
                <a:lnTo>
                  <a:pt x="70865" y="1156715"/>
                </a:lnTo>
                <a:lnTo>
                  <a:pt x="0" y="1191768"/>
                </a:lnTo>
                <a:lnTo>
                  <a:pt x="0" y="1212723"/>
                </a:lnTo>
                <a:lnTo>
                  <a:pt x="99313" y="1162303"/>
                </a:lnTo>
                <a:lnTo>
                  <a:pt x="156844" y="1162303"/>
                </a:lnTo>
                <a:lnTo>
                  <a:pt x="156844" y="1143889"/>
                </a:lnTo>
                <a:lnTo>
                  <a:pt x="98806" y="1143889"/>
                </a:lnTo>
                <a:lnTo>
                  <a:pt x="0" y="1092073"/>
                </a:lnTo>
                <a:close/>
              </a:path>
              <a:path w="209550" h="1212850">
                <a:moveTo>
                  <a:pt x="100330" y="990219"/>
                </a:moveTo>
                <a:lnTo>
                  <a:pt x="57658" y="1004315"/>
                </a:lnTo>
                <a:lnTo>
                  <a:pt x="42163" y="1043432"/>
                </a:lnTo>
                <a:lnTo>
                  <a:pt x="43162" y="1055887"/>
                </a:lnTo>
                <a:lnTo>
                  <a:pt x="66728" y="1091828"/>
                </a:lnTo>
                <a:lnTo>
                  <a:pt x="102108" y="1100455"/>
                </a:lnTo>
                <a:lnTo>
                  <a:pt x="114438" y="1099546"/>
                </a:lnTo>
                <a:lnTo>
                  <a:pt x="125507" y="1096803"/>
                </a:lnTo>
                <a:lnTo>
                  <a:pt x="135290" y="1092203"/>
                </a:lnTo>
                <a:lnTo>
                  <a:pt x="143763" y="1085723"/>
                </a:lnTo>
                <a:lnTo>
                  <a:pt x="146791" y="1082167"/>
                </a:lnTo>
                <a:lnTo>
                  <a:pt x="101472" y="1082167"/>
                </a:lnTo>
                <a:lnTo>
                  <a:pt x="91662" y="1081526"/>
                </a:lnTo>
                <a:lnTo>
                  <a:pt x="58015" y="1052915"/>
                </a:lnTo>
                <a:lnTo>
                  <a:pt x="57388" y="1043432"/>
                </a:lnTo>
                <a:lnTo>
                  <a:pt x="57991" y="1036534"/>
                </a:lnTo>
                <a:lnTo>
                  <a:pt x="91138" y="1009209"/>
                </a:lnTo>
                <a:lnTo>
                  <a:pt x="101091" y="1008634"/>
                </a:lnTo>
                <a:lnTo>
                  <a:pt x="146006" y="1008634"/>
                </a:lnTo>
                <a:lnTo>
                  <a:pt x="143256" y="1005459"/>
                </a:lnTo>
                <a:lnTo>
                  <a:pt x="134566" y="998791"/>
                </a:lnTo>
                <a:lnTo>
                  <a:pt x="124507" y="994028"/>
                </a:lnTo>
                <a:lnTo>
                  <a:pt x="113091" y="991171"/>
                </a:lnTo>
                <a:lnTo>
                  <a:pt x="100330" y="990219"/>
                </a:lnTo>
                <a:close/>
              </a:path>
              <a:path w="209550" h="1212850">
                <a:moveTo>
                  <a:pt x="146006" y="1008634"/>
                </a:moveTo>
                <a:lnTo>
                  <a:pt x="101091" y="1008634"/>
                </a:lnTo>
                <a:lnTo>
                  <a:pt x="110878" y="1009209"/>
                </a:lnTo>
                <a:lnTo>
                  <a:pt x="119475" y="1010951"/>
                </a:lnTo>
                <a:lnTo>
                  <a:pt x="144288" y="1043432"/>
                </a:lnTo>
                <a:lnTo>
                  <a:pt x="144287" y="1045972"/>
                </a:lnTo>
                <a:lnTo>
                  <a:pt x="119300" y="1079611"/>
                </a:lnTo>
                <a:lnTo>
                  <a:pt x="101472" y="1082167"/>
                </a:lnTo>
                <a:lnTo>
                  <a:pt x="146791" y="1082167"/>
                </a:lnTo>
                <a:lnTo>
                  <a:pt x="150618" y="1077672"/>
                </a:lnTo>
                <a:lnTo>
                  <a:pt x="155543" y="1068371"/>
                </a:lnTo>
                <a:lnTo>
                  <a:pt x="158515" y="1057808"/>
                </a:lnTo>
                <a:lnTo>
                  <a:pt x="159512" y="1045972"/>
                </a:lnTo>
                <a:lnTo>
                  <a:pt x="158490" y="1033926"/>
                </a:lnTo>
                <a:lnTo>
                  <a:pt x="155432" y="1023143"/>
                </a:lnTo>
                <a:lnTo>
                  <a:pt x="150350" y="1013646"/>
                </a:lnTo>
                <a:lnTo>
                  <a:pt x="146006" y="1008634"/>
                </a:lnTo>
                <a:close/>
              </a:path>
              <a:path w="209550" h="1212850">
                <a:moveTo>
                  <a:pt x="139064" y="889126"/>
                </a:moveTo>
                <a:lnTo>
                  <a:pt x="109346" y="889126"/>
                </a:lnTo>
                <a:lnTo>
                  <a:pt x="116796" y="889652"/>
                </a:lnTo>
                <a:lnTo>
                  <a:pt x="123507" y="891238"/>
                </a:lnTo>
                <a:lnTo>
                  <a:pt x="129456" y="893895"/>
                </a:lnTo>
                <a:lnTo>
                  <a:pt x="134619" y="897636"/>
                </a:lnTo>
                <a:lnTo>
                  <a:pt x="141096" y="903224"/>
                </a:lnTo>
                <a:lnTo>
                  <a:pt x="144398" y="910463"/>
                </a:lnTo>
                <a:lnTo>
                  <a:pt x="144398" y="919226"/>
                </a:lnTo>
                <a:lnTo>
                  <a:pt x="142184" y="931080"/>
                </a:lnTo>
                <a:lnTo>
                  <a:pt x="135540" y="939577"/>
                </a:lnTo>
                <a:lnTo>
                  <a:pt x="124467" y="944693"/>
                </a:lnTo>
                <a:lnTo>
                  <a:pt x="108965" y="946403"/>
                </a:lnTo>
                <a:lnTo>
                  <a:pt x="44830" y="946403"/>
                </a:lnTo>
                <a:lnTo>
                  <a:pt x="44830" y="964184"/>
                </a:lnTo>
                <a:lnTo>
                  <a:pt x="111760" y="964184"/>
                </a:lnTo>
                <a:lnTo>
                  <a:pt x="132615" y="961683"/>
                </a:lnTo>
                <a:lnTo>
                  <a:pt x="147542" y="954182"/>
                </a:lnTo>
                <a:lnTo>
                  <a:pt x="156515" y="941681"/>
                </a:lnTo>
                <a:lnTo>
                  <a:pt x="159512" y="924178"/>
                </a:lnTo>
                <a:lnTo>
                  <a:pt x="158228" y="913227"/>
                </a:lnTo>
                <a:lnTo>
                  <a:pt x="154384" y="903811"/>
                </a:lnTo>
                <a:lnTo>
                  <a:pt x="147992" y="895943"/>
                </a:lnTo>
                <a:lnTo>
                  <a:pt x="139090" y="889652"/>
                </a:lnTo>
                <a:lnTo>
                  <a:pt x="139064" y="889126"/>
                </a:lnTo>
                <a:close/>
              </a:path>
              <a:path w="209550" h="1212850">
                <a:moveTo>
                  <a:pt x="156844" y="871220"/>
                </a:moveTo>
                <a:lnTo>
                  <a:pt x="44830" y="871220"/>
                </a:lnTo>
                <a:lnTo>
                  <a:pt x="44830" y="889126"/>
                </a:lnTo>
                <a:lnTo>
                  <a:pt x="156844" y="889126"/>
                </a:lnTo>
                <a:lnTo>
                  <a:pt x="156844" y="871220"/>
                </a:lnTo>
                <a:close/>
              </a:path>
              <a:path w="209550" h="1212850">
                <a:moveTo>
                  <a:pt x="156844" y="753363"/>
                </a:moveTo>
                <a:lnTo>
                  <a:pt x="44830" y="753363"/>
                </a:lnTo>
                <a:lnTo>
                  <a:pt x="44830" y="771271"/>
                </a:lnTo>
                <a:lnTo>
                  <a:pt x="156844" y="771271"/>
                </a:lnTo>
                <a:lnTo>
                  <a:pt x="156844" y="753363"/>
                </a:lnTo>
                <a:close/>
              </a:path>
              <a:path w="209550" h="1212850">
                <a:moveTo>
                  <a:pt x="156844" y="612267"/>
                </a:moveTo>
                <a:lnTo>
                  <a:pt x="87757" y="612267"/>
                </a:lnTo>
                <a:lnTo>
                  <a:pt x="67827" y="614576"/>
                </a:lnTo>
                <a:lnTo>
                  <a:pt x="53578" y="621506"/>
                </a:lnTo>
                <a:lnTo>
                  <a:pt x="45019" y="633055"/>
                </a:lnTo>
                <a:lnTo>
                  <a:pt x="42163" y="649224"/>
                </a:lnTo>
                <a:lnTo>
                  <a:pt x="43616" y="660824"/>
                </a:lnTo>
                <a:lnTo>
                  <a:pt x="47974" y="670877"/>
                </a:lnTo>
                <a:lnTo>
                  <a:pt x="55237" y="679406"/>
                </a:lnTo>
                <a:lnTo>
                  <a:pt x="65404" y="686435"/>
                </a:lnTo>
                <a:lnTo>
                  <a:pt x="58419" y="688467"/>
                </a:lnTo>
                <a:lnTo>
                  <a:pt x="52831" y="692403"/>
                </a:lnTo>
                <a:lnTo>
                  <a:pt x="48640" y="698119"/>
                </a:lnTo>
                <a:lnTo>
                  <a:pt x="44323" y="703834"/>
                </a:lnTo>
                <a:lnTo>
                  <a:pt x="42163" y="710438"/>
                </a:lnTo>
                <a:lnTo>
                  <a:pt x="42163" y="718185"/>
                </a:lnTo>
                <a:lnTo>
                  <a:pt x="43445" y="728924"/>
                </a:lnTo>
                <a:lnTo>
                  <a:pt x="47275" y="738282"/>
                </a:lnTo>
                <a:lnTo>
                  <a:pt x="53629" y="746259"/>
                </a:lnTo>
                <a:lnTo>
                  <a:pt x="62484" y="752856"/>
                </a:lnTo>
                <a:lnTo>
                  <a:pt x="62484" y="753363"/>
                </a:lnTo>
                <a:lnTo>
                  <a:pt x="92963" y="753363"/>
                </a:lnTo>
                <a:lnTo>
                  <a:pt x="85417" y="752887"/>
                </a:lnTo>
                <a:lnTo>
                  <a:pt x="78597" y="751459"/>
                </a:lnTo>
                <a:lnTo>
                  <a:pt x="72515" y="749077"/>
                </a:lnTo>
                <a:lnTo>
                  <a:pt x="67183" y="745744"/>
                </a:lnTo>
                <a:lnTo>
                  <a:pt x="60578" y="740537"/>
                </a:lnTo>
                <a:lnTo>
                  <a:pt x="57276" y="734060"/>
                </a:lnTo>
                <a:lnTo>
                  <a:pt x="57276" y="726186"/>
                </a:lnTo>
                <a:lnTo>
                  <a:pt x="59346" y="715037"/>
                </a:lnTo>
                <a:lnTo>
                  <a:pt x="65547" y="707104"/>
                </a:lnTo>
                <a:lnTo>
                  <a:pt x="75868" y="702361"/>
                </a:lnTo>
                <a:lnTo>
                  <a:pt x="90296" y="700786"/>
                </a:lnTo>
                <a:lnTo>
                  <a:pt x="156844" y="700786"/>
                </a:lnTo>
                <a:lnTo>
                  <a:pt x="156844" y="682751"/>
                </a:lnTo>
                <a:lnTo>
                  <a:pt x="92963" y="682751"/>
                </a:lnTo>
                <a:lnTo>
                  <a:pt x="85891" y="682251"/>
                </a:lnTo>
                <a:lnTo>
                  <a:pt x="57276" y="662939"/>
                </a:lnTo>
                <a:lnTo>
                  <a:pt x="57276" y="646176"/>
                </a:lnTo>
                <a:lnTo>
                  <a:pt x="92456" y="630174"/>
                </a:lnTo>
                <a:lnTo>
                  <a:pt x="156844" y="630174"/>
                </a:lnTo>
                <a:lnTo>
                  <a:pt x="156844" y="612267"/>
                </a:lnTo>
                <a:close/>
              </a:path>
              <a:path w="209550" h="1212850">
                <a:moveTo>
                  <a:pt x="100203" y="515493"/>
                </a:moveTo>
                <a:lnTo>
                  <a:pt x="85852" y="515493"/>
                </a:lnTo>
                <a:lnTo>
                  <a:pt x="90550" y="549021"/>
                </a:lnTo>
                <a:lnTo>
                  <a:pt x="94765" y="565263"/>
                </a:lnTo>
                <a:lnTo>
                  <a:pt x="102266" y="576849"/>
                </a:lnTo>
                <a:lnTo>
                  <a:pt x="113053" y="583793"/>
                </a:lnTo>
                <a:lnTo>
                  <a:pt x="127127" y="586105"/>
                </a:lnTo>
                <a:lnTo>
                  <a:pt x="136906" y="586105"/>
                </a:lnTo>
                <a:lnTo>
                  <a:pt x="144653" y="582930"/>
                </a:lnTo>
                <a:lnTo>
                  <a:pt x="150621" y="576580"/>
                </a:lnTo>
                <a:lnTo>
                  <a:pt x="154475" y="571384"/>
                </a:lnTo>
                <a:lnTo>
                  <a:pt x="156167" y="567689"/>
                </a:lnTo>
                <a:lnTo>
                  <a:pt x="118237" y="567689"/>
                </a:lnTo>
                <a:lnTo>
                  <a:pt x="113030" y="565531"/>
                </a:lnTo>
                <a:lnTo>
                  <a:pt x="110109" y="561339"/>
                </a:lnTo>
                <a:lnTo>
                  <a:pt x="107061" y="557149"/>
                </a:lnTo>
                <a:lnTo>
                  <a:pt x="105029" y="550799"/>
                </a:lnTo>
                <a:lnTo>
                  <a:pt x="100203" y="515493"/>
                </a:lnTo>
                <a:close/>
              </a:path>
              <a:path w="209550" h="1212850">
                <a:moveTo>
                  <a:pt x="156844" y="497586"/>
                </a:moveTo>
                <a:lnTo>
                  <a:pt x="83946" y="497586"/>
                </a:lnTo>
                <a:lnTo>
                  <a:pt x="65684" y="500042"/>
                </a:lnTo>
                <a:lnTo>
                  <a:pt x="52625" y="507428"/>
                </a:lnTo>
                <a:lnTo>
                  <a:pt x="44781" y="519767"/>
                </a:lnTo>
                <a:lnTo>
                  <a:pt x="42163" y="537083"/>
                </a:lnTo>
                <a:lnTo>
                  <a:pt x="42828" y="547534"/>
                </a:lnTo>
                <a:lnTo>
                  <a:pt x="44815" y="557355"/>
                </a:lnTo>
                <a:lnTo>
                  <a:pt x="48111" y="566533"/>
                </a:lnTo>
                <a:lnTo>
                  <a:pt x="52704" y="575056"/>
                </a:lnTo>
                <a:lnTo>
                  <a:pt x="71119" y="575056"/>
                </a:lnTo>
                <a:lnTo>
                  <a:pt x="65045" y="566699"/>
                </a:lnTo>
                <a:lnTo>
                  <a:pt x="60721" y="557831"/>
                </a:lnTo>
                <a:lnTo>
                  <a:pt x="58136" y="548463"/>
                </a:lnTo>
                <a:lnTo>
                  <a:pt x="57276" y="538607"/>
                </a:lnTo>
                <a:lnTo>
                  <a:pt x="59062" y="528512"/>
                </a:lnTo>
                <a:lnTo>
                  <a:pt x="64420" y="521287"/>
                </a:lnTo>
                <a:lnTo>
                  <a:pt x="73350" y="516943"/>
                </a:lnTo>
                <a:lnTo>
                  <a:pt x="85852" y="515493"/>
                </a:lnTo>
                <a:lnTo>
                  <a:pt x="156844" y="515493"/>
                </a:lnTo>
                <a:lnTo>
                  <a:pt x="156844" y="497586"/>
                </a:lnTo>
                <a:close/>
              </a:path>
              <a:path w="209550" h="1212850">
                <a:moveTo>
                  <a:pt x="139318" y="515493"/>
                </a:moveTo>
                <a:lnTo>
                  <a:pt x="120904" y="515493"/>
                </a:lnTo>
                <a:lnTo>
                  <a:pt x="128778" y="518413"/>
                </a:lnTo>
                <a:lnTo>
                  <a:pt x="135000" y="524256"/>
                </a:lnTo>
                <a:lnTo>
                  <a:pt x="141223" y="529971"/>
                </a:lnTo>
                <a:lnTo>
                  <a:pt x="144289" y="537083"/>
                </a:lnTo>
                <a:lnTo>
                  <a:pt x="144398" y="552703"/>
                </a:lnTo>
                <a:lnTo>
                  <a:pt x="142620" y="557911"/>
                </a:lnTo>
                <a:lnTo>
                  <a:pt x="139191" y="561848"/>
                </a:lnTo>
                <a:lnTo>
                  <a:pt x="135636" y="565785"/>
                </a:lnTo>
                <a:lnTo>
                  <a:pt x="131190" y="567689"/>
                </a:lnTo>
                <a:lnTo>
                  <a:pt x="156167" y="567689"/>
                </a:lnTo>
                <a:lnTo>
                  <a:pt x="157268" y="565263"/>
                </a:lnTo>
                <a:lnTo>
                  <a:pt x="158944" y="558327"/>
                </a:lnTo>
                <a:lnTo>
                  <a:pt x="159512" y="550418"/>
                </a:lnTo>
                <a:lnTo>
                  <a:pt x="158249" y="539698"/>
                </a:lnTo>
                <a:lnTo>
                  <a:pt x="154463" y="530383"/>
                </a:lnTo>
                <a:lnTo>
                  <a:pt x="148153" y="522450"/>
                </a:lnTo>
                <a:lnTo>
                  <a:pt x="139318" y="515874"/>
                </a:lnTo>
                <a:lnTo>
                  <a:pt x="139318" y="515493"/>
                </a:lnTo>
                <a:close/>
              </a:path>
              <a:path w="209550" h="1212850">
                <a:moveTo>
                  <a:pt x="156844" y="445515"/>
                </a:moveTo>
                <a:lnTo>
                  <a:pt x="44830" y="445515"/>
                </a:lnTo>
                <a:lnTo>
                  <a:pt x="44830" y="463423"/>
                </a:lnTo>
                <a:lnTo>
                  <a:pt x="156844" y="463423"/>
                </a:lnTo>
                <a:lnTo>
                  <a:pt x="156844" y="445515"/>
                </a:lnTo>
                <a:close/>
              </a:path>
              <a:path w="209550" h="1212850">
                <a:moveTo>
                  <a:pt x="156844" y="370459"/>
                </a:moveTo>
                <a:lnTo>
                  <a:pt x="88391" y="370459"/>
                </a:lnTo>
                <a:lnTo>
                  <a:pt x="77819" y="371076"/>
                </a:lnTo>
                <a:lnTo>
                  <a:pt x="45132" y="392128"/>
                </a:lnTo>
                <a:lnTo>
                  <a:pt x="42163" y="408305"/>
                </a:lnTo>
                <a:lnTo>
                  <a:pt x="43495" y="419611"/>
                </a:lnTo>
                <a:lnTo>
                  <a:pt x="47482" y="429513"/>
                </a:lnTo>
                <a:lnTo>
                  <a:pt x="54111" y="437987"/>
                </a:lnTo>
                <a:lnTo>
                  <a:pt x="63320" y="444968"/>
                </a:lnTo>
                <a:lnTo>
                  <a:pt x="63373" y="445515"/>
                </a:lnTo>
                <a:lnTo>
                  <a:pt x="92963" y="445515"/>
                </a:lnTo>
                <a:lnTo>
                  <a:pt x="85582" y="444968"/>
                </a:lnTo>
                <a:lnTo>
                  <a:pt x="78866" y="443325"/>
                </a:lnTo>
                <a:lnTo>
                  <a:pt x="72818" y="440586"/>
                </a:lnTo>
                <a:lnTo>
                  <a:pt x="67437" y="436752"/>
                </a:lnTo>
                <a:lnTo>
                  <a:pt x="60705" y="430784"/>
                </a:lnTo>
                <a:lnTo>
                  <a:pt x="57276" y="423418"/>
                </a:lnTo>
                <a:lnTo>
                  <a:pt x="57276" y="414400"/>
                </a:lnTo>
                <a:lnTo>
                  <a:pt x="59513" y="403046"/>
                </a:lnTo>
                <a:lnTo>
                  <a:pt x="66214" y="394906"/>
                </a:lnTo>
                <a:lnTo>
                  <a:pt x="77368" y="390005"/>
                </a:lnTo>
                <a:lnTo>
                  <a:pt x="92963" y="388365"/>
                </a:lnTo>
                <a:lnTo>
                  <a:pt x="156844" y="388365"/>
                </a:lnTo>
                <a:lnTo>
                  <a:pt x="156844" y="370459"/>
                </a:lnTo>
                <a:close/>
              </a:path>
              <a:path w="209550" h="1212850">
                <a:moveTo>
                  <a:pt x="100203" y="274700"/>
                </a:moveTo>
                <a:lnTo>
                  <a:pt x="85852" y="274700"/>
                </a:lnTo>
                <a:lnTo>
                  <a:pt x="90550" y="308228"/>
                </a:lnTo>
                <a:lnTo>
                  <a:pt x="94765" y="324471"/>
                </a:lnTo>
                <a:lnTo>
                  <a:pt x="102266" y="336057"/>
                </a:lnTo>
                <a:lnTo>
                  <a:pt x="113053" y="343001"/>
                </a:lnTo>
                <a:lnTo>
                  <a:pt x="127127" y="345313"/>
                </a:lnTo>
                <a:lnTo>
                  <a:pt x="136906" y="345313"/>
                </a:lnTo>
                <a:lnTo>
                  <a:pt x="144653" y="342138"/>
                </a:lnTo>
                <a:lnTo>
                  <a:pt x="150621" y="335788"/>
                </a:lnTo>
                <a:lnTo>
                  <a:pt x="154475" y="330592"/>
                </a:lnTo>
                <a:lnTo>
                  <a:pt x="156167" y="326898"/>
                </a:lnTo>
                <a:lnTo>
                  <a:pt x="118237" y="326898"/>
                </a:lnTo>
                <a:lnTo>
                  <a:pt x="113030" y="324738"/>
                </a:lnTo>
                <a:lnTo>
                  <a:pt x="110109" y="320548"/>
                </a:lnTo>
                <a:lnTo>
                  <a:pt x="107061" y="316357"/>
                </a:lnTo>
                <a:lnTo>
                  <a:pt x="105029" y="310007"/>
                </a:lnTo>
                <a:lnTo>
                  <a:pt x="100203" y="274700"/>
                </a:lnTo>
                <a:close/>
              </a:path>
              <a:path w="209550" h="1212850">
                <a:moveTo>
                  <a:pt x="156844" y="256794"/>
                </a:moveTo>
                <a:lnTo>
                  <a:pt x="83946" y="256794"/>
                </a:lnTo>
                <a:lnTo>
                  <a:pt x="65684" y="259250"/>
                </a:lnTo>
                <a:lnTo>
                  <a:pt x="52625" y="266636"/>
                </a:lnTo>
                <a:lnTo>
                  <a:pt x="44781" y="278975"/>
                </a:lnTo>
                <a:lnTo>
                  <a:pt x="42163" y="296290"/>
                </a:lnTo>
                <a:lnTo>
                  <a:pt x="42828" y="306742"/>
                </a:lnTo>
                <a:lnTo>
                  <a:pt x="44815" y="316563"/>
                </a:lnTo>
                <a:lnTo>
                  <a:pt x="48111" y="325741"/>
                </a:lnTo>
                <a:lnTo>
                  <a:pt x="52704" y="334263"/>
                </a:lnTo>
                <a:lnTo>
                  <a:pt x="71119" y="334263"/>
                </a:lnTo>
                <a:lnTo>
                  <a:pt x="65045" y="325907"/>
                </a:lnTo>
                <a:lnTo>
                  <a:pt x="60721" y="317039"/>
                </a:lnTo>
                <a:lnTo>
                  <a:pt x="58136" y="307671"/>
                </a:lnTo>
                <a:lnTo>
                  <a:pt x="57276" y="297814"/>
                </a:lnTo>
                <a:lnTo>
                  <a:pt x="59062" y="287720"/>
                </a:lnTo>
                <a:lnTo>
                  <a:pt x="64420" y="280495"/>
                </a:lnTo>
                <a:lnTo>
                  <a:pt x="73350" y="276151"/>
                </a:lnTo>
                <a:lnTo>
                  <a:pt x="85852" y="274700"/>
                </a:lnTo>
                <a:lnTo>
                  <a:pt x="156844" y="274700"/>
                </a:lnTo>
                <a:lnTo>
                  <a:pt x="156844" y="256794"/>
                </a:lnTo>
                <a:close/>
              </a:path>
              <a:path w="209550" h="1212850">
                <a:moveTo>
                  <a:pt x="139318" y="274700"/>
                </a:moveTo>
                <a:lnTo>
                  <a:pt x="120904" y="274700"/>
                </a:lnTo>
                <a:lnTo>
                  <a:pt x="128778" y="277622"/>
                </a:lnTo>
                <a:lnTo>
                  <a:pt x="135000" y="283463"/>
                </a:lnTo>
                <a:lnTo>
                  <a:pt x="141223" y="289178"/>
                </a:lnTo>
                <a:lnTo>
                  <a:pt x="144289" y="296290"/>
                </a:lnTo>
                <a:lnTo>
                  <a:pt x="144398" y="311912"/>
                </a:lnTo>
                <a:lnTo>
                  <a:pt x="142620" y="317119"/>
                </a:lnTo>
                <a:lnTo>
                  <a:pt x="139191" y="321056"/>
                </a:lnTo>
                <a:lnTo>
                  <a:pt x="135636" y="324993"/>
                </a:lnTo>
                <a:lnTo>
                  <a:pt x="131190" y="326898"/>
                </a:lnTo>
                <a:lnTo>
                  <a:pt x="156167" y="326898"/>
                </a:lnTo>
                <a:lnTo>
                  <a:pt x="157268" y="324471"/>
                </a:lnTo>
                <a:lnTo>
                  <a:pt x="158944" y="317535"/>
                </a:lnTo>
                <a:lnTo>
                  <a:pt x="159512" y="309625"/>
                </a:lnTo>
                <a:lnTo>
                  <a:pt x="158249" y="298906"/>
                </a:lnTo>
                <a:lnTo>
                  <a:pt x="154463" y="289591"/>
                </a:lnTo>
                <a:lnTo>
                  <a:pt x="148153" y="281658"/>
                </a:lnTo>
                <a:lnTo>
                  <a:pt x="139318" y="275082"/>
                </a:lnTo>
                <a:lnTo>
                  <a:pt x="139318" y="274700"/>
                </a:lnTo>
                <a:close/>
              </a:path>
              <a:path w="209550" h="1212850">
                <a:moveTo>
                  <a:pt x="80771" y="145034"/>
                </a:moveTo>
                <a:lnTo>
                  <a:pt x="60325" y="145034"/>
                </a:lnTo>
                <a:lnTo>
                  <a:pt x="60325" y="145414"/>
                </a:lnTo>
                <a:lnTo>
                  <a:pt x="52397" y="151600"/>
                </a:lnTo>
                <a:lnTo>
                  <a:pt x="46720" y="159273"/>
                </a:lnTo>
                <a:lnTo>
                  <a:pt x="43305" y="168400"/>
                </a:lnTo>
                <a:lnTo>
                  <a:pt x="42163" y="178943"/>
                </a:lnTo>
                <a:lnTo>
                  <a:pt x="43213" y="190281"/>
                </a:lnTo>
                <a:lnTo>
                  <a:pt x="68175" y="222535"/>
                </a:lnTo>
                <a:lnTo>
                  <a:pt x="104393" y="230250"/>
                </a:lnTo>
                <a:lnTo>
                  <a:pt x="116343" y="229463"/>
                </a:lnTo>
                <a:lnTo>
                  <a:pt x="127031" y="227091"/>
                </a:lnTo>
                <a:lnTo>
                  <a:pt x="136433" y="223125"/>
                </a:lnTo>
                <a:lnTo>
                  <a:pt x="144525" y="217550"/>
                </a:lnTo>
                <a:lnTo>
                  <a:pt x="149819" y="211962"/>
                </a:lnTo>
                <a:lnTo>
                  <a:pt x="103250" y="211962"/>
                </a:lnTo>
                <a:lnTo>
                  <a:pt x="92987" y="211369"/>
                </a:lnTo>
                <a:lnTo>
                  <a:pt x="60309" y="191309"/>
                </a:lnTo>
                <a:lnTo>
                  <a:pt x="57276" y="176530"/>
                </a:lnTo>
                <a:lnTo>
                  <a:pt x="57276" y="167512"/>
                </a:lnTo>
                <a:lnTo>
                  <a:pt x="60451" y="160020"/>
                </a:lnTo>
                <a:lnTo>
                  <a:pt x="66801" y="154050"/>
                </a:lnTo>
                <a:lnTo>
                  <a:pt x="73151" y="147955"/>
                </a:lnTo>
                <a:lnTo>
                  <a:pt x="80771" y="145034"/>
                </a:lnTo>
                <a:close/>
              </a:path>
              <a:path w="209550" h="1212850">
                <a:moveTo>
                  <a:pt x="147828" y="127000"/>
                </a:moveTo>
                <a:lnTo>
                  <a:pt x="44830" y="127000"/>
                </a:lnTo>
                <a:lnTo>
                  <a:pt x="44830" y="145034"/>
                </a:lnTo>
                <a:lnTo>
                  <a:pt x="150240" y="145034"/>
                </a:lnTo>
                <a:lnTo>
                  <a:pt x="169483" y="147607"/>
                </a:lnTo>
                <a:lnTo>
                  <a:pt x="183213" y="155336"/>
                </a:lnTo>
                <a:lnTo>
                  <a:pt x="191442" y="168233"/>
                </a:lnTo>
                <a:lnTo>
                  <a:pt x="194183" y="186309"/>
                </a:lnTo>
                <a:lnTo>
                  <a:pt x="193538" y="194998"/>
                </a:lnTo>
                <a:lnTo>
                  <a:pt x="191595" y="203914"/>
                </a:lnTo>
                <a:lnTo>
                  <a:pt x="188342" y="213044"/>
                </a:lnTo>
                <a:lnTo>
                  <a:pt x="183768" y="222376"/>
                </a:lnTo>
                <a:lnTo>
                  <a:pt x="201675" y="222376"/>
                </a:lnTo>
                <a:lnTo>
                  <a:pt x="205103" y="214326"/>
                </a:lnTo>
                <a:lnTo>
                  <a:pt x="207565" y="205597"/>
                </a:lnTo>
                <a:lnTo>
                  <a:pt x="209051" y="196177"/>
                </a:lnTo>
                <a:lnTo>
                  <a:pt x="209549" y="186055"/>
                </a:lnTo>
                <a:lnTo>
                  <a:pt x="205692" y="160218"/>
                </a:lnTo>
                <a:lnTo>
                  <a:pt x="194119" y="141763"/>
                </a:lnTo>
                <a:lnTo>
                  <a:pt x="174831" y="130690"/>
                </a:lnTo>
                <a:lnTo>
                  <a:pt x="147828" y="127000"/>
                </a:lnTo>
                <a:close/>
              </a:path>
              <a:path w="209550" h="1212850">
                <a:moveTo>
                  <a:pt x="138048" y="145034"/>
                </a:moveTo>
                <a:lnTo>
                  <a:pt x="106171" y="145034"/>
                </a:lnTo>
                <a:lnTo>
                  <a:pt x="114172" y="145609"/>
                </a:lnTo>
                <a:lnTo>
                  <a:pt x="121412" y="147351"/>
                </a:lnTo>
                <a:lnTo>
                  <a:pt x="144398" y="178943"/>
                </a:lnTo>
                <a:lnTo>
                  <a:pt x="143687" y="186055"/>
                </a:lnTo>
                <a:lnTo>
                  <a:pt x="112129" y="211393"/>
                </a:lnTo>
                <a:lnTo>
                  <a:pt x="103250" y="211962"/>
                </a:lnTo>
                <a:lnTo>
                  <a:pt x="149819" y="211962"/>
                </a:lnTo>
                <a:lnTo>
                  <a:pt x="151046" y="210667"/>
                </a:lnTo>
                <a:lnTo>
                  <a:pt x="155733" y="202771"/>
                </a:lnTo>
                <a:lnTo>
                  <a:pt x="158563" y="193851"/>
                </a:lnTo>
                <a:lnTo>
                  <a:pt x="159512" y="183896"/>
                </a:lnTo>
                <a:lnTo>
                  <a:pt x="158158" y="171846"/>
                </a:lnTo>
                <a:lnTo>
                  <a:pt x="154114" y="161417"/>
                </a:lnTo>
                <a:lnTo>
                  <a:pt x="147403" y="152606"/>
                </a:lnTo>
                <a:lnTo>
                  <a:pt x="138048" y="145414"/>
                </a:lnTo>
                <a:lnTo>
                  <a:pt x="138048" y="145034"/>
                </a:lnTo>
                <a:close/>
              </a:path>
              <a:path w="209550" h="1212850">
                <a:moveTo>
                  <a:pt x="105283" y="0"/>
                </a:moveTo>
                <a:lnTo>
                  <a:pt x="95885" y="0"/>
                </a:lnTo>
                <a:lnTo>
                  <a:pt x="83927" y="760"/>
                </a:lnTo>
                <a:lnTo>
                  <a:pt x="50200" y="18686"/>
                </a:lnTo>
                <a:lnTo>
                  <a:pt x="42163" y="46100"/>
                </a:lnTo>
                <a:lnTo>
                  <a:pt x="43189" y="56624"/>
                </a:lnTo>
                <a:lnTo>
                  <a:pt x="67482" y="89411"/>
                </a:lnTo>
                <a:lnTo>
                  <a:pt x="101218" y="97662"/>
                </a:lnTo>
                <a:lnTo>
                  <a:pt x="114319" y="96827"/>
                </a:lnTo>
                <a:lnTo>
                  <a:pt x="125825" y="94313"/>
                </a:lnTo>
                <a:lnTo>
                  <a:pt x="135759" y="90108"/>
                </a:lnTo>
                <a:lnTo>
                  <a:pt x="144144" y="84200"/>
                </a:lnTo>
                <a:lnTo>
                  <a:pt x="148699" y="79121"/>
                </a:lnTo>
                <a:lnTo>
                  <a:pt x="105283" y="79121"/>
                </a:lnTo>
                <a:lnTo>
                  <a:pt x="105283" y="78867"/>
                </a:lnTo>
                <a:lnTo>
                  <a:pt x="90042" y="78867"/>
                </a:lnTo>
                <a:lnTo>
                  <a:pt x="83065" y="77410"/>
                </a:lnTo>
                <a:lnTo>
                  <a:pt x="57276" y="54863"/>
                </a:lnTo>
                <a:lnTo>
                  <a:pt x="57276" y="37719"/>
                </a:lnTo>
                <a:lnTo>
                  <a:pt x="60198" y="30861"/>
                </a:lnTo>
                <a:lnTo>
                  <a:pt x="71627" y="20955"/>
                </a:lnTo>
                <a:lnTo>
                  <a:pt x="79755" y="18542"/>
                </a:lnTo>
                <a:lnTo>
                  <a:pt x="90042" y="18414"/>
                </a:lnTo>
                <a:lnTo>
                  <a:pt x="105283" y="18414"/>
                </a:lnTo>
                <a:lnTo>
                  <a:pt x="105283" y="0"/>
                </a:lnTo>
                <a:close/>
              </a:path>
              <a:path w="209550" h="1212850">
                <a:moveTo>
                  <a:pt x="148716" y="7747"/>
                </a:moveTo>
                <a:lnTo>
                  <a:pt x="131825" y="7747"/>
                </a:lnTo>
                <a:lnTo>
                  <a:pt x="137326" y="15916"/>
                </a:lnTo>
                <a:lnTo>
                  <a:pt x="141255" y="24431"/>
                </a:lnTo>
                <a:lnTo>
                  <a:pt x="143613" y="33303"/>
                </a:lnTo>
                <a:lnTo>
                  <a:pt x="144398" y="42545"/>
                </a:lnTo>
                <a:lnTo>
                  <a:pt x="143758" y="50549"/>
                </a:lnTo>
                <a:lnTo>
                  <a:pt x="114093" y="78339"/>
                </a:lnTo>
                <a:lnTo>
                  <a:pt x="105283" y="79121"/>
                </a:lnTo>
                <a:lnTo>
                  <a:pt x="148699" y="79121"/>
                </a:lnTo>
                <a:lnTo>
                  <a:pt x="150832" y="76741"/>
                </a:lnTo>
                <a:lnTo>
                  <a:pt x="155638" y="68056"/>
                </a:lnTo>
                <a:lnTo>
                  <a:pt x="158539" y="58108"/>
                </a:lnTo>
                <a:lnTo>
                  <a:pt x="159512" y="46862"/>
                </a:lnTo>
                <a:lnTo>
                  <a:pt x="158825" y="35286"/>
                </a:lnTo>
                <a:lnTo>
                  <a:pt x="156781" y="24923"/>
                </a:lnTo>
                <a:lnTo>
                  <a:pt x="153404" y="15751"/>
                </a:lnTo>
                <a:lnTo>
                  <a:pt x="148716" y="7747"/>
                </a:lnTo>
                <a:close/>
              </a:path>
              <a:path w="209550" h="1212850">
                <a:moveTo>
                  <a:pt x="105283" y="18414"/>
                </a:moveTo>
                <a:lnTo>
                  <a:pt x="90042" y="18414"/>
                </a:lnTo>
                <a:lnTo>
                  <a:pt x="90042" y="78867"/>
                </a:lnTo>
                <a:lnTo>
                  <a:pt x="105283" y="78867"/>
                </a:lnTo>
                <a:lnTo>
                  <a:pt x="105283" y="18414"/>
                </a:lnTo>
                <a:close/>
              </a:path>
            </a:pathLst>
          </a:custGeom>
          <a:solidFill>
            <a:srgbClr val="585858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030227" y="5391806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90" h="429895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5416256" y="5496854"/>
            <a:ext cx="592165" cy="225281"/>
          </a:xfrm>
          <a:custGeom>
            <a:avLst/>
            <a:gdLst/>
            <a:ahLst/>
            <a:cxnLst/>
            <a:rect l="l" t="t" r="r" b="b"/>
            <a:pathLst>
              <a:path w="805179" h="229870">
                <a:moveTo>
                  <a:pt x="0" y="142227"/>
                </a:moveTo>
                <a:lnTo>
                  <a:pt x="0" y="165646"/>
                </a:lnTo>
                <a:lnTo>
                  <a:pt x="2158" y="167144"/>
                </a:lnTo>
                <a:lnTo>
                  <a:pt x="39750" y="175348"/>
                </a:lnTo>
                <a:lnTo>
                  <a:pt x="50546" y="175348"/>
                </a:lnTo>
                <a:lnTo>
                  <a:pt x="58166" y="174548"/>
                </a:lnTo>
                <a:lnTo>
                  <a:pt x="72644" y="171310"/>
                </a:lnTo>
                <a:lnTo>
                  <a:pt x="79121" y="168681"/>
                </a:lnTo>
                <a:lnTo>
                  <a:pt x="84581" y="165061"/>
                </a:lnTo>
                <a:lnTo>
                  <a:pt x="90170" y="161429"/>
                </a:lnTo>
                <a:lnTo>
                  <a:pt x="93896" y="157479"/>
                </a:lnTo>
                <a:lnTo>
                  <a:pt x="42037" y="157479"/>
                </a:lnTo>
                <a:lnTo>
                  <a:pt x="38100" y="157137"/>
                </a:lnTo>
                <a:lnTo>
                  <a:pt x="9651" y="148615"/>
                </a:lnTo>
                <a:lnTo>
                  <a:pt x="5842" y="146723"/>
                </a:lnTo>
                <a:lnTo>
                  <a:pt x="2667" y="144589"/>
                </a:lnTo>
                <a:lnTo>
                  <a:pt x="0" y="142227"/>
                </a:lnTo>
                <a:close/>
              </a:path>
              <a:path w="805179" h="229870">
                <a:moveTo>
                  <a:pt x="59181" y="0"/>
                </a:moveTo>
                <a:lnTo>
                  <a:pt x="51816" y="0"/>
                </a:lnTo>
                <a:lnTo>
                  <a:pt x="44576" y="888"/>
                </a:lnTo>
                <a:lnTo>
                  <a:pt x="37592" y="2666"/>
                </a:lnTo>
                <a:lnTo>
                  <a:pt x="30479" y="4571"/>
                </a:lnTo>
                <a:lnTo>
                  <a:pt x="24129" y="7238"/>
                </a:lnTo>
                <a:lnTo>
                  <a:pt x="18669" y="11048"/>
                </a:lnTo>
                <a:lnTo>
                  <a:pt x="13207" y="14731"/>
                </a:lnTo>
                <a:lnTo>
                  <a:pt x="8636" y="19430"/>
                </a:lnTo>
                <a:lnTo>
                  <a:pt x="5333" y="25145"/>
                </a:lnTo>
                <a:lnTo>
                  <a:pt x="1904" y="30860"/>
                </a:lnTo>
                <a:lnTo>
                  <a:pt x="253" y="37591"/>
                </a:lnTo>
                <a:lnTo>
                  <a:pt x="253" y="51688"/>
                </a:lnTo>
                <a:lnTo>
                  <a:pt x="1270" y="57149"/>
                </a:lnTo>
                <a:lnTo>
                  <a:pt x="5588" y="66547"/>
                </a:lnTo>
                <a:lnTo>
                  <a:pt x="8636" y="70738"/>
                </a:lnTo>
                <a:lnTo>
                  <a:pt x="12446" y="74421"/>
                </a:lnTo>
                <a:lnTo>
                  <a:pt x="16128" y="78104"/>
                </a:lnTo>
                <a:lnTo>
                  <a:pt x="47878" y="96519"/>
                </a:lnTo>
                <a:lnTo>
                  <a:pt x="62865" y="104393"/>
                </a:lnTo>
                <a:lnTo>
                  <a:pt x="67055" y="107060"/>
                </a:lnTo>
                <a:lnTo>
                  <a:pt x="74168" y="112648"/>
                </a:lnTo>
                <a:lnTo>
                  <a:pt x="76962" y="115696"/>
                </a:lnTo>
                <a:lnTo>
                  <a:pt x="78994" y="119151"/>
                </a:lnTo>
                <a:lnTo>
                  <a:pt x="81025" y="122542"/>
                </a:lnTo>
                <a:lnTo>
                  <a:pt x="81915" y="126530"/>
                </a:lnTo>
                <a:lnTo>
                  <a:pt x="81915" y="139623"/>
                </a:lnTo>
                <a:lnTo>
                  <a:pt x="45466" y="157479"/>
                </a:lnTo>
                <a:lnTo>
                  <a:pt x="93896" y="157479"/>
                </a:lnTo>
                <a:lnTo>
                  <a:pt x="94615" y="156717"/>
                </a:lnTo>
                <a:lnTo>
                  <a:pt x="101219" y="145122"/>
                </a:lnTo>
                <a:lnTo>
                  <a:pt x="102743" y="138036"/>
                </a:lnTo>
                <a:lnTo>
                  <a:pt x="102743" y="123367"/>
                </a:lnTo>
                <a:lnTo>
                  <a:pt x="101600" y="117767"/>
                </a:lnTo>
                <a:lnTo>
                  <a:pt x="99063" y="112648"/>
                </a:lnTo>
                <a:lnTo>
                  <a:pt x="96774" y="107949"/>
                </a:lnTo>
                <a:lnTo>
                  <a:pt x="93472" y="103504"/>
                </a:lnTo>
                <a:lnTo>
                  <a:pt x="89407" y="99567"/>
                </a:lnTo>
                <a:lnTo>
                  <a:pt x="85344" y="95503"/>
                </a:lnTo>
                <a:lnTo>
                  <a:pt x="80518" y="91820"/>
                </a:lnTo>
                <a:lnTo>
                  <a:pt x="75056" y="88518"/>
                </a:lnTo>
                <a:lnTo>
                  <a:pt x="69723" y="85216"/>
                </a:lnTo>
                <a:lnTo>
                  <a:pt x="63880" y="82041"/>
                </a:lnTo>
                <a:lnTo>
                  <a:pt x="51943" y="76072"/>
                </a:lnTo>
                <a:lnTo>
                  <a:pt x="46736" y="73405"/>
                </a:lnTo>
                <a:lnTo>
                  <a:pt x="37592" y="68579"/>
                </a:lnTo>
                <a:lnTo>
                  <a:pt x="33781" y="66039"/>
                </a:lnTo>
                <a:lnTo>
                  <a:pt x="30606" y="63372"/>
                </a:lnTo>
                <a:lnTo>
                  <a:pt x="27431" y="60832"/>
                </a:lnTo>
                <a:lnTo>
                  <a:pt x="25019" y="57911"/>
                </a:lnTo>
                <a:lnTo>
                  <a:pt x="23495" y="54736"/>
                </a:lnTo>
                <a:lnTo>
                  <a:pt x="21844" y="51688"/>
                </a:lnTo>
                <a:lnTo>
                  <a:pt x="21081" y="47878"/>
                </a:lnTo>
                <a:lnTo>
                  <a:pt x="21081" y="38861"/>
                </a:lnTo>
                <a:lnTo>
                  <a:pt x="22098" y="34924"/>
                </a:lnTo>
                <a:lnTo>
                  <a:pt x="24256" y="31749"/>
                </a:lnTo>
                <a:lnTo>
                  <a:pt x="26416" y="28447"/>
                </a:lnTo>
                <a:lnTo>
                  <a:pt x="52831" y="18033"/>
                </a:lnTo>
                <a:lnTo>
                  <a:pt x="95757" y="18033"/>
                </a:lnTo>
                <a:lnTo>
                  <a:pt x="95757" y="6095"/>
                </a:lnTo>
                <a:lnTo>
                  <a:pt x="89114" y="3428"/>
                </a:lnTo>
                <a:lnTo>
                  <a:pt x="80803" y="1523"/>
                </a:lnTo>
                <a:lnTo>
                  <a:pt x="70826" y="380"/>
                </a:lnTo>
                <a:lnTo>
                  <a:pt x="59181" y="0"/>
                </a:lnTo>
                <a:close/>
              </a:path>
              <a:path w="805179" h="229870">
                <a:moveTo>
                  <a:pt x="95757" y="18033"/>
                </a:moveTo>
                <a:lnTo>
                  <a:pt x="57150" y="18033"/>
                </a:lnTo>
                <a:lnTo>
                  <a:pt x="68361" y="18678"/>
                </a:lnTo>
                <a:lnTo>
                  <a:pt x="78549" y="20621"/>
                </a:lnTo>
                <a:lnTo>
                  <a:pt x="87689" y="23874"/>
                </a:lnTo>
                <a:lnTo>
                  <a:pt x="95757" y="28447"/>
                </a:lnTo>
                <a:lnTo>
                  <a:pt x="95757" y="18033"/>
                </a:lnTo>
                <a:close/>
              </a:path>
              <a:path w="805179" h="229870">
                <a:moveTo>
                  <a:pt x="159003" y="67944"/>
                </a:moveTo>
                <a:lnTo>
                  <a:pt x="139573" y="67944"/>
                </a:lnTo>
                <a:lnTo>
                  <a:pt x="139573" y="139623"/>
                </a:lnTo>
                <a:lnTo>
                  <a:pt x="141571" y="155151"/>
                </a:lnTo>
                <a:lnTo>
                  <a:pt x="147558" y="166244"/>
                </a:lnTo>
                <a:lnTo>
                  <a:pt x="157521" y="172901"/>
                </a:lnTo>
                <a:lnTo>
                  <a:pt x="171450" y="175120"/>
                </a:lnTo>
                <a:lnTo>
                  <a:pt x="178943" y="175120"/>
                </a:lnTo>
                <a:lnTo>
                  <a:pt x="184912" y="173850"/>
                </a:lnTo>
                <a:lnTo>
                  <a:pt x="189483" y="171335"/>
                </a:lnTo>
                <a:lnTo>
                  <a:pt x="189483" y="158788"/>
                </a:lnTo>
                <a:lnTo>
                  <a:pt x="170433" y="158788"/>
                </a:lnTo>
                <a:lnTo>
                  <a:pt x="165862" y="157048"/>
                </a:lnTo>
                <a:lnTo>
                  <a:pt x="163195" y="153581"/>
                </a:lnTo>
                <a:lnTo>
                  <a:pt x="160400" y="150113"/>
                </a:lnTo>
                <a:lnTo>
                  <a:pt x="159003" y="144310"/>
                </a:lnTo>
                <a:lnTo>
                  <a:pt x="159003" y="67944"/>
                </a:lnTo>
                <a:close/>
              </a:path>
              <a:path w="805179" h="229870">
                <a:moveTo>
                  <a:pt x="189483" y="154762"/>
                </a:moveTo>
                <a:lnTo>
                  <a:pt x="185927" y="157441"/>
                </a:lnTo>
                <a:lnTo>
                  <a:pt x="181737" y="158788"/>
                </a:lnTo>
                <a:lnTo>
                  <a:pt x="189483" y="158788"/>
                </a:lnTo>
                <a:lnTo>
                  <a:pt x="189483" y="154762"/>
                </a:lnTo>
                <a:close/>
              </a:path>
              <a:path w="805179" h="229870">
                <a:moveTo>
                  <a:pt x="189483" y="51307"/>
                </a:moveTo>
                <a:lnTo>
                  <a:pt x="118745" y="51307"/>
                </a:lnTo>
                <a:lnTo>
                  <a:pt x="118745" y="67944"/>
                </a:lnTo>
                <a:lnTo>
                  <a:pt x="189483" y="67944"/>
                </a:lnTo>
                <a:lnTo>
                  <a:pt x="189483" y="51307"/>
                </a:lnTo>
                <a:close/>
              </a:path>
              <a:path w="805179" h="229870">
                <a:moveTo>
                  <a:pt x="159003" y="15493"/>
                </a:moveTo>
                <a:lnTo>
                  <a:pt x="139573" y="21716"/>
                </a:lnTo>
                <a:lnTo>
                  <a:pt x="139573" y="51307"/>
                </a:lnTo>
                <a:lnTo>
                  <a:pt x="159003" y="51307"/>
                </a:lnTo>
                <a:lnTo>
                  <a:pt x="159003" y="15493"/>
                </a:lnTo>
                <a:close/>
              </a:path>
              <a:path w="805179" h="229870">
                <a:moveTo>
                  <a:pt x="269113" y="48513"/>
                </a:moveTo>
                <a:lnTo>
                  <a:pt x="224007" y="65684"/>
                </a:lnTo>
                <a:lnTo>
                  <a:pt x="207391" y="113410"/>
                </a:lnTo>
                <a:lnTo>
                  <a:pt x="208391" y="126704"/>
                </a:lnTo>
                <a:lnTo>
                  <a:pt x="232062" y="165801"/>
                </a:lnTo>
                <a:lnTo>
                  <a:pt x="266192" y="175348"/>
                </a:lnTo>
                <a:lnTo>
                  <a:pt x="279310" y="174258"/>
                </a:lnTo>
                <a:lnTo>
                  <a:pt x="291036" y="170986"/>
                </a:lnTo>
                <a:lnTo>
                  <a:pt x="301357" y="165533"/>
                </a:lnTo>
                <a:lnTo>
                  <a:pt x="308942" y="159029"/>
                </a:lnTo>
                <a:lnTo>
                  <a:pt x="267716" y="159029"/>
                </a:lnTo>
                <a:lnTo>
                  <a:pt x="258933" y="158252"/>
                </a:lnTo>
                <a:lnTo>
                  <a:pt x="229965" y="131899"/>
                </a:lnTo>
                <a:lnTo>
                  <a:pt x="227254" y="113410"/>
                </a:lnTo>
                <a:lnTo>
                  <a:pt x="227277" y="111505"/>
                </a:lnTo>
                <a:lnTo>
                  <a:pt x="244052" y="72022"/>
                </a:lnTo>
                <a:lnTo>
                  <a:pt x="267716" y="64896"/>
                </a:lnTo>
                <a:lnTo>
                  <a:pt x="311111" y="64896"/>
                </a:lnTo>
                <a:lnTo>
                  <a:pt x="303045" y="57890"/>
                </a:lnTo>
                <a:lnTo>
                  <a:pt x="293211" y="52689"/>
                </a:lnTo>
                <a:lnTo>
                  <a:pt x="281900" y="49559"/>
                </a:lnTo>
                <a:lnTo>
                  <a:pt x="269113" y="48513"/>
                </a:lnTo>
                <a:close/>
              </a:path>
              <a:path w="805179" h="229870">
                <a:moveTo>
                  <a:pt x="311111" y="64896"/>
                </a:moveTo>
                <a:lnTo>
                  <a:pt x="267716" y="64896"/>
                </a:lnTo>
                <a:lnTo>
                  <a:pt x="276524" y="65658"/>
                </a:lnTo>
                <a:lnTo>
                  <a:pt x="284273" y="67944"/>
                </a:lnTo>
                <a:lnTo>
                  <a:pt x="306081" y="101449"/>
                </a:lnTo>
                <a:lnTo>
                  <a:pt x="306667" y="111505"/>
                </a:lnTo>
                <a:lnTo>
                  <a:pt x="306630" y="113410"/>
                </a:lnTo>
                <a:lnTo>
                  <a:pt x="290951" y="152171"/>
                </a:lnTo>
                <a:lnTo>
                  <a:pt x="267716" y="159029"/>
                </a:lnTo>
                <a:lnTo>
                  <a:pt x="308942" y="159029"/>
                </a:lnTo>
                <a:lnTo>
                  <a:pt x="326644" y="111505"/>
                </a:lnTo>
                <a:lnTo>
                  <a:pt x="325691" y="97476"/>
                </a:lnTo>
                <a:lnTo>
                  <a:pt x="322834" y="85089"/>
                </a:lnTo>
                <a:lnTo>
                  <a:pt x="318071" y="74322"/>
                </a:lnTo>
                <a:lnTo>
                  <a:pt x="311403" y="65150"/>
                </a:lnTo>
                <a:lnTo>
                  <a:pt x="311111" y="64896"/>
                </a:lnTo>
                <a:close/>
              </a:path>
              <a:path w="805179" h="229870">
                <a:moveTo>
                  <a:pt x="376808" y="51307"/>
                </a:moveTo>
                <a:lnTo>
                  <a:pt x="357377" y="51307"/>
                </a:lnTo>
                <a:lnTo>
                  <a:pt x="357377" y="172516"/>
                </a:lnTo>
                <a:lnTo>
                  <a:pt x="376808" y="172516"/>
                </a:lnTo>
                <a:lnTo>
                  <a:pt x="376808" y="110743"/>
                </a:lnTo>
                <a:lnTo>
                  <a:pt x="377313" y="101173"/>
                </a:lnTo>
                <a:lnTo>
                  <a:pt x="378840" y="92662"/>
                </a:lnTo>
                <a:lnTo>
                  <a:pt x="381416" y="85222"/>
                </a:lnTo>
                <a:lnTo>
                  <a:pt x="385064" y="78866"/>
                </a:lnTo>
                <a:lnTo>
                  <a:pt x="386866" y="76326"/>
                </a:lnTo>
                <a:lnTo>
                  <a:pt x="376808" y="76326"/>
                </a:lnTo>
                <a:lnTo>
                  <a:pt x="376808" y="51307"/>
                </a:lnTo>
                <a:close/>
              </a:path>
              <a:path w="805179" h="229870">
                <a:moveTo>
                  <a:pt x="414020" y="49275"/>
                </a:moveTo>
                <a:lnTo>
                  <a:pt x="401954" y="49275"/>
                </a:lnTo>
                <a:lnTo>
                  <a:pt x="395604" y="51561"/>
                </a:lnTo>
                <a:lnTo>
                  <a:pt x="384175" y="61213"/>
                </a:lnTo>
                <a:lnTo>
                  <a:pt x="379983" y="67817"/>
                </a:lnTo>
                <a:lnTo>
                  <a:pt x="377190" y="76326"/>
                </a:lnTo>
                <a:lnTo>
                  <a:pt x="386866" y="76326"/>
                </a:lnTo>
                <a:lnTo>
                  <a:pt x="390651" y="70992"/>
                </a:lnTo>
                <a:lnTo>
                  <a:pt x="397510" y="67055"/>
                </a:lnTo>
                <a:lnTo>
                  <a:pt x="420497" y="67055"/>
                </a:lnTo>
                <a:lnTo>
                  <a:pt x="420497" y="50926"/>
                </a:lnTo>
                <a:lnTo>
                  <a:pt x="417829" y="49783"/>
                </a:lnTo>
                <a:lnTo>
                  <a:pt x="414020" y="49275"/>
                </a:lnTo>
                <a:close/>
              </a:path>
              <a:path w="805179" h="229870">
                <a:moveTo>
                  <a:pt x="420497" y="67055"/>
                </a:moveTo>
                <a:lnTo>
                  <a:pt x="412242" y="67055"/>
                </a:lnTo>
                <a:lnTo>
                  <a:pt x="417195" y="68452"/>
                </a:lnTo>
                <a:lnTo>
                  <a:pt x="420497" y="70992"/>
                </a:lnTo>
                <a:lnTo>
                  <a:pt x="420497" y="67055"/>
                </a:lnTo>
                <a:close/>
              </a:path>
              <a:path w="805179" h="229870">
                <a:moveTo>
                  <a:pt x="520127" y="64896"/>
                </a:moveTo>
                <a:lnTo>
                  <a:pt x="483489" y="64896"/>
                </a:lnTo>
                <a:lnTo>
                  <a:pt x="494416" y="66825"/>
                </a:lnTo>
                <a:lnTo>
                  <a:pt x="502237" y="72612"/>
                </a:lnTo>
                <a:lnTo>
                  <a:pt x="506938" y="82256"/>
                </a:lnTo>
                <a:lnTo>
                  <a:pt x="508507" y="95757"/>
                </a:lnTo>
                <a:lnTo>
                  <a:pt x="472186" y="100837"/>
                </a:lnTo>
                <a:lnTo>
                  <a:pt x="454683" y="105378"/>
                </a:lnTo>
                <a:lnTo>
                  <a:pt x="442182" y="113476"/>
                </a:lnTo>
                <a:lnTo>
                  <a:pt x="434681" y="125128"/>
                </a:lnTo>
                <a:lnTo>
                  <a:pt x="432180" y="140334"/>
                </a:lnTo>
                <a:lnTo>
                  <a:pt x="432823" y="147869"/>
                </a:lnTo>
                <a:lnTo>
                  <a:pt x="462220" y="174751"/>
                </a:lnTo>
                <a:lnTo>
                  <a:pt x="470789" y="175348"/>
                </a:lnTo>
                <a:lnTo>
                  <a:pt x="482336" y="173989"/>
                </a:lnTo>
                <a:lnTo>
                  <a:pt x="492394" y="169908"/>
                </a:lnTo>
                <a:lnTo>
                  <a:pt x="500953" y="163106"/>
                </a:lnTo>
                <a:lnTo>
                  <a:pt x="503969" y="159029"/>
                </a:lnTo>
                <a:lnTo>
                  <a:pt x="468249" y="159029"/>
                </a:lnTo>
                <a:lnTo>
                  <a:pt x="462661" y="157149"/>
                </a:lnTo>
                <a:lnTo>
                  <a:pt x="458265" y="153334"/>
                </a:lnTo>
                <a:lnTo>
                  <a:pt x="454151" y="149656"/>
                </a:lnTo>
                <a:lnTo>
                  <a:pt x="451993" y="144830"/>
                </a:lnTo>
                <a:lnTo>
                  <a:pt x="452024" y="130707"/>
                </a:lnTo>
                <a:lnTo>
                  <a:pt x="508507" y="111251"/>
                </a:lnTo>
                <a:lnTo>
                  <a:pt x="527939" y="111251"/>
                </a:lnTo>
                <a:lnTo>
                  <a:pt x="527939" y="93725"/>
                </a:lnTo>
                <a:lnTo>
                  <a:pt x="525270" y="73963"/>
                </a:lnTo>
                <a:lnTo>
                  <a:pt x="520127" y="64896"/>
                </a:lnTo>
                <a:close/>
              </a:path>
              <a:path w="805179" h="229870">
                <a:moveTo>
                  <a:pt x="527939" y="153581"/>
                </a:moveTo>
                <a:lnTo>
                  <a:pt x="508507" y="153581"/>
                </a:lnTo>
                <a:lnTo>
                  <a:pt x="508507" y="172516"/>
                </a:lnTo>
                <a:lnTo>
                  <a:pt x="527939" y="172516"/>
                </a:lnTo>
                <a:lnTo>
                  <a:pt x="527939" y="153581"/>
                </a:lnTo>
                <a:close/>
              </a:path>
              <a:path w="805179" h="229870">
                <a:moveTo>
                  <a:pt x="527939" y="111251"/>
                </a:moveTo>
                <a:lnTo>
                  <a:pt x="508507" y="111251"/>
                </a:lnTo>
                <a:lnTo>
                  <a:pt x="508507" y="123291"/>
                </a:lnTo>
                <a:lnTo>
                  <a:pt x="507914" y="130707"/>
                </a:lnTo>
                <a:lnTo>
                  <a:pt x="475233" y="159029"/>
                </a:lnTo>
                <a:lnTo>
                  <a:pt x="503969" y="159029"/>
                </a:lnTo>
                <a:lnTo>
                  <a:pt x="508000" y="153581"/>
                </a:lnTo>
                <a:lnTo>
                  <a:pt x="527939" y="153581"/>
                </a:lnTo>
                <a:lnTo>
                  <a:pt x="527939" y="111251"/>
                </a:lnTo>
                <a:close/>
              </a:path>
              <a:path w="805179" h="229870">
                <a:moveTo>
                  <a:pt x="485140" y="48513"/>
                </a:moveTo>
                <a:lnTo>
                  <a:pt x="473852" y="49226"/>
                </a:lnTo>
                <a:lnTo>
                  <a:pt x="463232" y="51355"/>
                </a:lnTo>
                <a:lnTo>
                  <a:pt x="453278" y="54889"/>
                </a:lnTo>
                <a:lnTo>
                  <a:pt x="443992" y="59816"/>
                </a:lnTo>
                <a:lnTo>
                  <a:pt x="443992" y="79755"/>
                </a:lnTo>
                <a:lnTo>
                  <a:pt x="453092" y="73255"/>
                </a:lnTo>
                <a:lnTo>
                  <a:pt x="462692" y="68611"/>
                </a:lnTo>
                <a:lnTo>
                  <a:pt x="472817" y="65825"/>
                </a:lnTo>
                <a:lnTo>
                  <a:pt x="483489" y="64896"/>
                </a:lnTo>
                <a:lnTo>
                  <a:pt x="520127" y="64896"/>
                </a:lnTo>
                <a:lnTo>
                  <a:pt x="517255" y="59832"/>
                </a:lnTo>
                <a:lnTo>
                  <a:pt x="503882" y="51345"/>
                </a:lnTo>
                <a:lnTo>
                  <a:pt x="485140" y="48513"/>
                </a:lnTo>
                <a:close/>
              </a:path>
              <a:path w="805179" h="229870">
                <a:moveTo>
                  <a:pt x="564896" y="201625"/>
                </a:moveTo>
                <a:lnTo>
                  <a:pt x="564896" y="221018"/>
                </a:lnTo>
                <a:lnTo>
                  <a:pt x="573635" y="224749"/>
                </a:lnTo>
                <a:lnTo>
                  <a:pt x="583088" y="227412"/>
                </a:lnTo>
                <a:lnTo>
                  <a:pt x="593256" y="229008"/>
                </a:lnTo>
                <a:lnTo>
                  <a:pt x="604139" y="229539"/>
                </a:lnTo>
                <a:lnTo>
                  <a:pt x="632069" y="225370"/>
                </a:lnTo>
                <a:lnTo>
                  <a:pt x="651843" y="212978"/>
                </a:lnTo>
                <a:lnTo>
                  <a:pt x="603885" y="212978"/>
                </a:lnTo>
                <a:lnTo>
                  <a:pt x="594506" y="212269"/>
                </a:lnTo>
                <a:lnTo>
                  <a:pt x="584866" y="210140"/>
                </a:lnTo>
                <a:lnTo>
                  <a:pt x="574988" y="206592"/>
                </a:lnTo>
                <a:lnTo>
                  <a:pt x="564896" y="201625"/>
                </a:lnTo>
                <a:close/>
              </a:path>
              <a:path w="805179" h="229870">
                <a:moveTo>
                  <a:pt x="668020" y="152158"/>
                </a:moveTo>
                <a:lnTo>
                  <a:pt x="648589" y="152158"/>
                </a:lnTo>
                <a:lnTo>
                  <a:pt x="648475" y="166267"/>
                </a:lnTo>
                <a:lnTo>
                  <a:pt x="645800" y="186222"/>
                </a:lnTo>
                <a:lnTo>
                  <a:pt x="637428" y="201085"/>
                </a:lnTo>
                <a:lnTo>
                  <a:pt x="623460" y="210005"/>
                </a:lnTo>
                <a:lnTo>
                  <a:pt x="603885" y="212978"/>
                </a:lnTo>
                <a:lnTo>
                  <a:pt x="651843" y="212978"/>
                </a:lnTo>
                <a:lnTo>
                  <a:pt x="652033" y="212859"/>
                </a:lnTo>
                <a:lnTo>
                  <a:pt x="664021" y="192008"/>
                </a:lnTo>
                <a:lnTo>
                  <a:pt x="668020" y="162813"/>
                </a:lnTo>
                <a:lnTo>
                  <a:pt x="668020" y="152158"/>
                </a:lnTo>
                <a:close/>
              </a:path>
              <a:path w="805179" h="229870">
                <a:moveTo>
                  <a:pt x="611758" y="48513"/>
                </a:moveTo>
                <a:lnTo>
                  <a:pt x="571119" y="66674"/>
                </a:lnTo>
                <a:lnTo>
                  <a:pt x="556465" y="114553"/>
                </a:lnTo>
                <a:lnTo>
                  <a:pt x="556513" y="117728"/>
                </a:lnTo>
                <a:lnTo>
                  <a:pt x="570102" y="159207"/>
                </a:lnTo>
                <a:lnTo>
                  <a:pt x="606551" y="175348"/>
                </a:lnTo>
                <a:lnTo>
                  <a:pt x="619523" y="173900"/>
                </a:lnTo>
                <a:lnTo>
                  <a:pt x="630793" y="169554"/>
                </a:lnTo>
                <a:lnTo>
                  <a:pt x="640324" y="162307"/>
                </a:lnTo>
                <a:lnTo>
                  <a:pt x="642829" y="159029"/>
                </a:lnTo>
                <a:lnTo>
                  <a:pt x="611758" y="159029"/>
                </a:lnTo>
                <a:lnTo>
                  <a:pt x="604140" y="158270"/>
                </a:lnTo>
                <a:lnTo>
                  <a:pt x="576816" y="124155"/>
                </a:lnTo>
                <a:lnTo>
                  <a:pt x="576199" y="114553"/>
                </a:lnTo>
                <a:lnTo>
                  <a:pt x="576839" y="103409"/>
                </a:lnTo>
                <a:lnTo>
                  <a:pt x="598503" y="68151"/>
                </a:lnTo>
                <a:lnTo>
                  <a:pt x="614552" y="64896"/>
                </a:lnTo>
                <a:lnTo>
                  <a:pt x="645509" y="64896"/>
                </a:lnTo>
                <a:lnTo>
                  <a:pt x="641387" y="59604"/>
                </a:lnTo>
                <a:lnTo>
                  <a:pt x="633110" y="53451"/>
                </a:lnTo>
                <a:lnTo>
                  <a:pt x="623238" y="49750"/>
                </a:lnTo>
                <a:lnTo>
                  <a:pt x="611758" y="48513"/>
                </a:lnTo>
                <a:close/>
              </a:path>
              <a:path w="805179" h="229870">
                <a:moveTo>
                  <a:pt x="645509" y="64896"/>
                </a:moveTo>
                <a:lnTo>
                  <a:pt x="614552" y="64896"/>
                </a:lnTo>
                <a:lnTo>
                  <a:pt x="621504" y="65539"/>
                </a:lnTo>
                <a:lnTo>
                  <a:pt x="627872" y="67468"/>
                </a:lnTo>
                <a:lnTo>
                  <a:pt x="648589" y="99821"/>
                </a:lnTo>
                <a:lnTo>
                  <a:pt x="648589" y="117728"/>
                </a:lnTo>
                <a:lnTo>
                  <a:pt x="632904" y="152503"/>
                </a:lnTo>
                <a:lnTo>
                  <a:pt x="611758" y="159029"/>
                </a:lnTo>
                <a:lnTo>
                  <a:pt x="642829" y="159029"/>
                </a:lnTo>
                <a:lnTo>
                  <a:pt x="648080" y="152158"/>
                </a:lnTo>
                <a:lnTo>
                  <a:pt x="668020" y="152158"/>
                </a:lnTo>
                <a:lnTo>
                  <a:pt x="668020" y="68198"/>
                </a:lnTo>
                <a:lnTo>
                  <a:pt x="648080" y="68198"/>
                </a:lnTo>
                <a:lnTo>
                  <a:pt x="645509" y="64896"/>
                </a:lnTo>
                <a:close/>
              </a:path>
              <a:path w="805179" h="229870">
                <a:moveTo>
                  <a:pt x="668020" y="51307"/>
                </a:moveTo>
                <a:lnTo>
                  <a:pt x="648589" y="51307"/>
                </a:lnTo>
                <a:lnTo>
                  <a:pt x="648589" y="68198"/>
                </a:lnTo>
                <a:lnTo>
                  <a:pt x="668020" y="68198"/>
                </a:lnTo>
                <a:lnTo>
                  <a:pt x="668020" y="51307"/>
                </a:lnTo>
                <a:close/>
              </a:path>
              <a:path w="805179" h="229870">
                <a:moveTo>
                  <a:pt x="755396" y="48513"/>
                </a:moveTo>
                <a:lnTo>
                  <a:pt x="715645" y="66293"/>
                </a:lnTo>
                <a:lnTo>
                  <a:pt x="699643" y="112394"/>
                </a:lnTo>
                <a:lnTo>
                  <a:pt x="700549" y="126527"/>
                </a:lnTo>
                <a:lnTo>
                  <a:pt x="722272" y="166069"/>
                </a:lnTo>
                <a:lnTo>
                  <a:pt x="754633" y="175348"/>
                </a:lnTo>
                <a:lnTo>
                  <a:pt x="767115" y="174624"/>
                </a:lnTo>
                <a:lnTo>
                  <a:pt x="778287" y="172451"/>
                </a:lnTo>
                <a:lnTo>
                  <a:pt x="788173" y="168828"/>
                </a:lnTo>
                <a:lnTo>
                  <a:pt x="796798" y="163753"/>
                </a:lnTo>
                <a:lnTo>
                  <a:pt x="796798" y="159029"/>
                </a:lnTo>
                <a:lnTo>
                  <a:pt x="759205" y="159029"/>
                </a:lnTo>
                <a:lnTo>
                  <a:pt x="750562" y="158341"/>
                </a:lnTo>
                <a:lnTo>
                  <a:pt x="720540" y="126328"/>
                </a:lnTo>
                <a:lnTo>
                  <a:pt x="719708" y="116789"/>
                </a:lnTo>
                <a:lnTo>
                  <a:pt x="805179" y="116789"/>
                </a:lnTo>
                <a:lnTo>
                  <a:pt x="805179" y="106552"/>
                </a:lnTo>
                <a:lnTo>
                  <a:pt x="804788" y="100329"/>
                </a:lnTo>
                <a:lnTo>
                  <a:pt x="719963" y="100329"/>
                </a:lnTo>
                <a:lnTo>
                  <a:pt x="721558" y="92785"/>
                </a:lnTo>
                <a:lnTo>
                  <a:pt x="745871" y="64896"/>
                </a:lnTo>
                <a:lnTo>
                  <a:pt x="792907" y="64896"/>
                </a:lnTo>
                <a:lnTo>
                  <a:pt x="792226" y="63880"/>
                </a:lnTo>
                <a:lnTo>
                  <a:pt x="785060" y="57140"/>
                </a:lnTo>
                <a:lnTo>
                  <a:pt x="776525" y="52339"/>
                </a:lnTo>
                <a:lnTo>
                  <a:pt x="766633" y="49468"/>
                </a:lnTo>
                <a:lnTo>
                  <a:pt x="755396" y="48513"/>
                </a:lnTo>
                <a:close/>
              </a:path>
              <a:path w="805179" h="229870">
                <a:moveTo>
                  <a:pt x="796798" y="145541"/>
                </a:moveTo>
                <a:lnTo>
                  <a:pt x="788031" y="151442"/>
                </a:lnTo>
                <a:lnTo>
                  <a:pt x="778859" y="155657"/>
                </a:lnTo>
                <a:lnTo>
                  <a:pt x="769258" y="158186"/>
                </a:lnTo>
                <a:lnTo>
                  <a:pt x="759205" y="159029"/>
                </a:lnTo>
                <a:lnTo>
                  <a:pt x="796798" y="159029"/>
                </a:lnTo>
                <a:lnTo>
                  <a:pt x="796798" y="145541"/>
                </a:lnTo>
                <a:close/>
              </a:path>
              <a:path w="805179" h="229870">
                <a:moveTo>
                  <a:pt x="792907" y="64896"/>
                </a:moveTo>
                <a:lnTo>
                  <a:pt x="764540" y="64896"/>
                </a:lnTo>
                <a:lnTo>
                  <a:pt x="771905" y="67944"/>
                </a:lnTo>
                <a:lnTo>
                  <a:pt x="777240" y="74167"/>
                </a:lnTo>
                <a:lnTo>
                  <a:pt x="780742" y="79309"/>
                </a:lnTo>
                <a:lnTo>
                  <a:pt x="783256" y="85391"/>
                </a:lnTo>
                <a:lnTo>
                  <a:pt x="784794" y="92402"/>
                </a:lnTo>
                <a:lnTo>
                  <a:pt x="785368" y="100329"/>
                </a:lnTo>
                <a:lnTo>
                  <a:pt x="804788" y="100329"/>
                </a:lnTo>
                <a:lnTo>
                  <a:pt x="804370" y="93670"/>
                </a:lnTo>
                <a:lnTo>
                  <a:pt x="801941" y="82264"/>
                </a:lnTo>
                <a:lnTo>
                  <a:pt x="797893" y="72334"/>
                </a:lnTo>
                <a:lnTo>
                  <a:pt x="792907" y="64896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5030227" y="4888471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90" h="429895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5438671" y="4993893"/>
            <a:ext cx="546398" cy="171761"/>
          </a:xfrm>
          <a:custGeom>
            <a:avLst/>
            <a:gdLst/>
            <a:ahLst/>
            <a:cxnLst/>
            <a:rect l="l" t="t" r="r" b="b"/>
            <a:pathLst>
              <a:path w="742950" h="175260">
                <a:moveTo>
                  <a:pt x="0" y="142112"/>
                </a:moveTo>
                <a:lnTo>
                  <a:pt x="0" y="165607"/>
                </a:lnTo>
                <a:lnTo>
                  <a:pt x="2159" y="167131"/>
                </a:lnTo>
                <a:lnTo>
                  <a:pt x="5080" y="168401"/>
                </a:lnTo>
                <a:lnTo>
                  <a:pt x="12446" y="170941"/>
                </a:lnTo>
                <a:lnTo>
                  <a:pt x="16256" y="171957"/>
                </a:lnTo>
                <a:lnTo>
                  <a:pt x="20447" y="172719"/>
                </a:lnTo>
                <a:lnTo>
                  <a:pt x="24511" y="173608"/>
                </a:lnTo>
                <a:lnTo>
                  <a:pt x="28575" y="174244"/>
                </a:lnTo>
                <a:lnTo>
                  <a:pt x="32512" y="174625"/>
                </a:lnTo>
                <a:lnTo>
                  <a:pt x="36449" y="175132"/>
                </a:lnTo>
                <a:lnTo>
                  <a:pt x="39750" y="175259"/>
                </a:lnTo>
                <a:lnTo>
                  <a:pt x="50419" y="175259"/>
                </a:lnTo>
                <a:lnTo>
                  <a:pt x="58166" y="174497"/>
                </a:lnTo>
                <a:lnTo>
                  <a:pt x="65405" y="172846"/>
                </a:lnTo>
                <a:lnTo>
                  <a:pt x="72644" y="171322"/>
                </a:lnTo>
                <a:lnTo>
                  <a:pt x="78994" y="168656"/>
                </a:lnTo>
                <a:lnTo>
                  <a:pt x="84582" y="164972"/>
                </a:lnTo>
                <a:lnTo>
                  <a:pt x="90170" y="161416"/>
                </a:lnTo>
                <a:lnTo>
                  <a:pt x="93894" y="157480"/>
                </a:lnTo>
                <a:lnTo>
                  <a:pt x="41910" y="157480"/>
                </a:lnTo>
                <a:lnTo>
                  <a:pt x="38100" y="157099"/>
                </a:lnTo>
                <a:lnTo>
                  <a:pt x="33909" y="156337"/>
                </a:lnTo>
                <a:lnTo>
                  <a:pt x="29718" y="155701"/>
                </a:lnTo>
                <a:lnTo>
                  <a:pt x="25526" y="154686"/>
                </a:lnTo>
                <a:lnTo>
                  <a:pt x="2667" y="144525"/>
                </a:lnTo>
                <a:lnTo>
                  <a:pt x="0" y="142112"/>
                </a:lnTo>
                <a:close/>
              </a:path>
              <a:path w="742950" h="175260">
                <a:moveTo>
                  <a:pt x="59055" y="0"/>
                </a:moveTo>
                <a:lnTo>
                  <a:pt x="51816" y="0"/>
                </a:lnTo>
                <a:lnTo>
                  <a:pt x="44576" y="888"/>
                </a:lnTo>
                <a:lnTo>
                  <a:pt x="30480" y="4444"/>
                </a:lnTo>
                <a:lnTo>
                  <a:pt x="24130" y="7238"/>
                </a:lnTo>
                <a:lnTo>
                  <a:pt x="18669" y="10921"/>
                </a:lnTo>
                <a:lnTo>
                  <a:pt x="13081" y="14605"/>
                </a:lnTo>
                <a:lnTo>
                  <a:pt x="8636" y="19431"/>
                </a:lnTo>
                <a:lnTo>
                  <a:pt x="5207" y="25145"/>
                </a:lnTo>
                <a:lnTo>
                  <a:pt x="1905" y="30861"/>
                </a:lnTo>
                <a:lnTo>
                  <a:pt x="126" y="37591"/>
                </a:lnTo>
                <a:lnTo>
                  <a:pt x="126" y="51562"/>
                </a:lnTo>
                <a:lnTo>
                  <a:pt x="25781" y="84581"/>
                </a:lnTo>
                <a:lnTo>
                  <a:pt x="30861" y="87630"/>
                </a:lnTo>
                <a:lnTo>
                  <a:pt x="36449" y="90677"/>
                </a:lnTo>
                <a:lnTo>
                  <a:pt x="42291" y="93725"/>
                </a:lnTo>
                <a:lnTo>
                  <a:pt x="47878" y="96519"/>
                </a:lnTo>
                <a:lnTo>
                  <a:pt x="58039" y="101726"/>
                </a:lnTo>
                <a:lnTo>
                  <a:pt x="78867" y="119125"/>
                </a:lnTo>
                <a:lnTo>
                  <a:pt x="80899" y="122555"/>
                </a:lnTo>
                <a:lnTo>
                  <a:pt x="81915" y="126491"/>
                </a:lnTo>
                <a:lnTo>
                  <a:pt x="81915" y="139572"/>
                </a:lnTo>
                <a:lnTo>
                  <a:pt x="45466" y="157480"/>
                </a:lnTo>
                <a:lnTo>
                  <a:pt x="93894" y="157480"/>
                </a:lnTo>
                <a:lnTo>
                  <a:pt x="94615" y="156718"/>
                </a:lnTo>
                <a:lnTo>
                  <a:pt x="98005" y="150494"/>
                </a:lnTo>
                <a:lnTo>
                  <a:pt x="101092" y="145033"/>
                </a:lnTo>
                <a:lnTo>
                  <a:pt x="102743" y="138049"/>
                </a:lnTo>
                <a:lnTo>
                  <a:pt x="102743" y="123316"/>
                </a:lnTo>
                <a:lnTo>
                  <a:pt x="80518" y="91820"/>
                </a:lnTo>
                <a:lnTo>
                  <a:pt x="75057" y="88518"/>
                </a:lnTo>
                <a:lnTo>
                  <a:pt x="69596" y="85089"/>
                </a:lnTo>
                <a:lnTo>
                  <a:pt x="63881" y="82041"/>
                </a:lnTo>
                <a:lnTo>
                  <a:pt x="46609" y="73406"/>
                </a:lnTo>
                <a:lnTo>
                  <a:pt x="42164" y="70993"/>
                </a:lnTo>
                <a:lnTo>
                  <a:pt x="37592" y="68452"/>
                </a:lnTo>
                <a:lnTo>
                  <a:pt x="33782" y="66039"/>
                </a:lnTo>
                <a:lnTo>
                  <a:pt x="30607" y="63372"/>
                </a:lnTo>
                <a:lnTo>
                  <a:pt x="27432" y="60832"/>
                </a:lnTo>
                <a:lnTo>
                  <a:pt x="25019" y="57912"/>
                </a:lnTo>
                <a:lnTo>
                  <a:pt x="23368" y="54737"/>
                </a:lnTo>
                <a:lnTo>
                  <a:pt x="21844" y="51562"/>
                </a:lnTo>
                <a:lnTo>
                  <a:pt x="20955" y="47878"/>
                </a:lnTo>
                <a:lnTo>
                  <a:pt x="20955" y="38862"/>
                </a:lnTo>
                <a:lnTo>
                  <a:pt x="22098" y="34925"/>
                </a:lnTo>
                <a:lnTo>
                  <a:pt x="24257" y="31622"/>
                </a:lnTo>
                <a:lnTo>
                  <a:pt x="26289" y="28447"/>
                </a:lnTo>
                <a:lnTo>
                  <a:pt x="29083" y="25781"/>
                </a:lnTo>
                <a:lnTo>
                  <a:pt x="32512" y="23749"/>
                </a:lnTo>
                <a:lnTo>
                  <a:pt x="35814" y="21716"/>
                </a:lnTo>
                <a:lnTo>
                  <a:pt x="39750" y="20193"/>
                </a:lnTo>
                <a:lnTo>
                  <a:pt x="48387" y="18414"/>
                </a:lnTo>
                <a:lnTo>
                  <a:pt x="52705" y="17906"/>
                </a:lnTo>
                <a:lnTo>
                  <a:pt x="95631" y="17906"/>
                </a:lnTo>
                <a:lnTo>
                  <a:pt x="95631" y="5968"/>
                </a:lnTo>
                <a:lnTo>
                  <a:pt x="89058" y="3321"/>
                </a:lnTo>
                <a:lnTo>
                  <a:pt x="80772" y="1460"/>
                </a:lnTo>
                <a:lnTo>
                  <a:pt x="70770" y="361"/>
                </a:lnTo>
                <a:lnTo>
                  <a:pt x="59055" y="0"/>
                </a:lnTo>
                <a:close/>
              </a:path>
              <a:path w="742950" h="175260">
                <a:moveTo>
                  <a:pt x="95631" y="17906"/>
                </a:moveTo>
                <a:lnTo>
                  <a:pt x="57150" y="17906"/>
                </a:lnTo>
                <a:lnTo>
                  <a:pt x="68341" y="18569"/>
                </a:lnTo>
                <a:lnTo>
                  <a:pt x="78485" y="20542"/>
                </a:lnTo>
                <a:lnTo>
                  <a:pt x="87582" y="23800"/>
                </a:lnTo>
                <a:lnTo>
                  <a:pt x="95631" y="28320"/>
                </a:lnTo>
                <a:lnTo>
                  <a:pt x="95631" y="17906"/>
                </a:lnTo>
                <a:close/>
              </a:path>
              <a:path w="742950" h="175260">
                <a:moveTo>
                  <a:pt x="180848" y="48513"/>
                </a:moveTo>
                <a:lnTo>
                  <a:pt x="141097" y="66293"/>
                </a:lnTo>
                <a:lnTo>
                  <a:pt x="124968" y="112394"/>
                </a:lnTo>
                <a:lnTo>
                  <a:pt x="125894" y="126513"/>
                </a:lnTo>
                <a:lnTo>
                  <a:pt x="147722" y="165990"/>
                </a:lnTo>
                <a:lnTo>
                  <a:pt x="179959" y="175259"/>
                </a:lnTo>
                <a:lnTo>
                  <a:pt x="192460" y="174543"/>
                </a:lnTo>
                <a:lnTo>
                  <a:pt x="203676" y="172386"/>
                </a:lnTo>
                <a:lnTo>
                  <a:pt x="213606" y="168777"/>
                </a:lnTo>
                <a:lnTo>
                  <a:pt x="222250" y="163702"/>
                </a:lnTo>
                <a:lnTo>
                  <a:pt x="222250" y="159003"/>
                </a:lnTo>
                <a:lnTo>
                  <a:pt x="184658" y="159003"/>
                </a:lnTo>
                <a:lnTo>
                  <a:pt x="176012" y="158313"/>
                </a:lnTo>
                <a:lnTo>
                  <a:pt x="145990" y="126237"/>
                </a:lnTo>
                <a:lnTo>
                  <a:pt x="145161" y="116712"/>
                </a:lnTo>
                <a:lnTo>
                  <a:pt x="230632" y="116712"/>
                </a:lnTo>
                <a:lnTo>
                  <a:pt x="230632" y="106552"/>
                </a:lnTo>
                <a:lnTo>
                  <a:pt x="230241" y="100330"/>
                </a:lnTo>
                <a:lnTo>
                  <a:pt x="145415" y="100330"/>
                </a:lnTo>
                <a:lnTo>
                  <a:pt x="146939" y="92731"/>
                </a:lnTo>
                <a:lnTo>
                  <a:pt x="171323" y="64769"/>
                </a:lnTo>
                <a:lnTo>
                  <a:pt x="218277" y="64769"/>
                </a:lnTo>
                <a:lnTo>
                  <a:pt x="217677" y="63881"/>
                </a:lnTo>
                <a:lnTo>
                  <a:pt x="210458" y="57140"/>
                </a:lnTo>
                <a:lnTo>
                  <a:pt x="201929" y="52339"/>
                </a:lnTo>
                <a:lnTo>
                  <a:pt x="192067" y="49468"/>
                </a:lnTo>
                <a:lnTo>
                  <a:pt x="180848" y="48513"/>
                </a:lnTo>
                <a:close/>
              </a:path>
              <a:path w="742950" h="175260">
                <a:moveTo>
                  <a:pt x="222250" y="145541"/>
                </a:moveTo>
                <a:lnTo>
                  <a:pt x="213465" y="151395"/>
                </a:lnTo>
                <a:lnTo>
                  <a:pt x="204263" y="155606"/>
                </a:lnTo>
                <a:lnTo>
                  <a:pt x="194657" y="158150"/>
                </a:lnTo>
                <a:lnTo>
                  <a:pt x="184658" y="159003"/>
                </a:lnTo>
                <a:lnTo>
                  <a:pt x="222250" y="159003"/>
                </a:lnTo>
                <a:lnTo>
                  <a:pt x="222250" y="145541"/>
                </a:lnTo>
                <a:close/>
              </a:path>
              <a:path w="742950" h="175260">
                <a:moveTo>
                  <a:pt x="218277" y="64769"/>
                </a:moveTo>
                <a:lnTo>
                  <a:pt x="189992" y="64769"/>
                </a:lnTo>
                <a:lnTo>
                  <a:pt x="197358" y="67944"/>
                </a:lnTo>
                <a:lnTo>
                  <a:pt x="202692" y="74168"/>
                </a:lnTo>
                <a:lnTo>
                  <a:pt x="206194" y="79291"/>
                </a:lnTo>
                <a:lnTo>
                  <a:pt x="208708" y="85343"/>
                </a:lnTo>
                <a:lnTo>
                  <a:pt x="210246" y="92348"/>
                </a:lnTo>
                <a:lnTo>
                  <a:pt x="210820" y="100330"/>
                </a:lnTo>
                <a:lnTo>
                  <a:pt x="230241" y="100330"/>
                </a:lnTo>
                <a:lnTo>
                  <a:pt x="229822" y="93652"/>
                </a:lnTo>
                <a:lnTo>
                  <a:pt x="227393" y="82216"/>
                </a:lnTo>
                <a:lnTo>
                  <a:pt x="223345" y="72280"/>
                </a:lnTo>
                <a:lnTo>
                  <a:pt x="218277" y="64769"/>
                </a:lnTo>
                <a:close/>
              </a:path>
              <a:path w="742950" h="175260">
                <a:moveTo>
                  <a:pt x="279146" y="51307"/>
                </a:moveTo>
                <a:lnTo>
                  <a:pt x="259715" y="51307"/>
                </a:lnTo>
                <a:lnTo>
                  <a:pt x="259715" y="172465"/>
                </a:lnTo>
                <a:lnTo>
                  <a:pt x="279146" y="172465"/>
                </a:lnTo>
                <a:lnTo>
                  <a:pt x="279146" y="110743"/>
                </a:lnTo>
                <a:lnTo>
                  <a:pt x="279669" y="101117"/>
                </a:lnTo>
                <a:lnTo>
                  <a:pt x="281241" y="92598"/>
                </a:lnTo>
                <a:lnTo>
                  <a:pt x="283860" y="85151"/>
                </a:lnTo>
                <a:lnTo>
                  <a:pt x="287527" y="78739"/>
                </a:lnTo>
                <a:lnTo>
                  <a:pt x="289268" y="76326"/>
                </a:lnTo>
                <a:lnTo>
                  <a:pt x="279146" y="76326"/>
                </a:lnTo>
                <a:lnTo>
                  <a:pt x="279146" y="51307"/>
                </a:lnTo>
                <a:close/>
              </a:path>
              <a:path w="742950" h="175260">
                <a:moveTo>
                  <a:pt x="316357" y="49149"/>
                </a:moveTo>
                <a:lnTo>
                  <a:pt x="304292" y="49149"/>
                </a:lnTo>
                <a:lnTo>
                  <a:pt x="297942" y="51562"/>
                </a:lnTo>
                <a:lnTo>
                  <a:pt x="292353" y="56387"/>
                </a:lnTo>
                <a:lnTo>
                  <a:pt x="286639" y="61087"/>
                </a:lnTo>
                <a:lnTo>
                  <a:pt x="282448" y="67690"/>
                </a:lnTo>
                <a:lnTo>
                  <a:pt x="279653" y="76326"/>
                </a:lnTo>
                <a:lnTo>
                  <a:pt x="289268" y="76326"/>
                </a:lnTo>
                <a:lnTo>
                  <a:pt x="293116" y="70993"/>
                </a:lnTo>
                <a:lnTo>
                  <a:pt x="299974" y="67056"/>
                </a:lnTo>
                <a:lnTo>
                  <a:pt x="322961" y="67056"/>
                </a:lnTo>
                <a:lnTo>
                  <a:pt x="322961" y="50800"/>
                </a:lnTo>
                <a:lnTo>
                  <a:pt x="320294" y="49783"/>
                </a:lnTo>
                <a:lnTo>
                  <a:pt x="316357" y="49149"/>
                </a:lnTo>
                <a:close/>
              </a:path>
              <a:path w="742950" h="175260">
                <a:moveTo>
                  <a:pt x="322961" y="67056"/>
                </a:moveTo>
                <a:lnTo>
                  <a:pt x="314706" y="67056"/>
                </a:lnTo>
                <a:lnTo>
                  <a:pt x="319532" y="68325"/>
                </a:lnTo>
                <a:lnTo>
                  <a:pt x="322961" y="70993"/>
                </a:lnTo>
                <a:lnTo>
                  <a:pt x="322961" y="67056"/>
                </a:lnTo>
                <a:close/>
              </a:path>
              <a:path w="742950" h="175260">
                <a:moveTo>
                  <a:pt x="346964" y="51307"/>
                </a:moveTo>
                <a:lnTo>
                  <a:pt x="325627" y="51307"/>
                </a:lnTo>
                <a:lnTo>
                  <a:pt x="371475" y="172465"/>
                </a:lnTo>
                <a:lnTo>
                  <a:pt x="390525" y="172465"/>
                </a:lnTo>
                <a:lnTo>
                  <a:pt x="397000" y="156209"/>
                </a:lnTo>
                <a:lnTo>
                  <a:pt x="381889" y="156209"/>
                </a:lnTo>
                <a:lnTo>
                  <a:pt x="381381" y="151383"/>
                </a:lnTo>
                <a:lnTo>
                  <a:pt x="379984" y="145795"/>
                </a:lnTo>
                <a:lnTo>
                  <a:pt x="377698" y="139319"/>
                </a:lnTo>
                <a:lnTo>
                  <a:pt x="346964" y="51307"/>
                </a:lnTo>
                <a:close/>
              </a:path>
              <a:path w="742950" h="175260">
                <a:moveTo>
                  <a:pt x="438785" y="51307"/>
                </a:moveTo>
                <a:lnTo>
                  <a:pt x="418338" y="51307"/>
                </a:lnTo>
                <a:lnTo>
                  <a:pt x="386207" y="139826"/>
                </a:lnTo>
                <a:lnTo>
                  <a:pt x="384428" y="144652"/>
                </a:lnTo>
                <a:lnTo>
                  <a:pt x="383159" y="150240"/>
                </a:lnTo>
                <a:lnTo>
                  <a:pt x="382397" y="156209"/>
                </a:lnTo>
                <a:lnTo>
                  <a:pt x="397000" y="156209"/>
                </a:lnTo>
                <a:lnTo>
                  <a:pt x="438785" y="51307"/>
                </a:lnTo>
                <a:close/>
              </a:path>
              <a:path w="742950" h="175260">
                <a:moveTo>
                  <a:pt x="506984" y="48513"/>
                </a:moveTo>
                <a:lnTo>
                  <a:pt x="467233" y="66293"/>
                </a:lnTo>
                <a:lnTo>
                  <a:pt x="451103" y="112394"/>
                </a:lnTo>
                <a:lnTo>
                  <a:pt x="452030" y="126513"/>
                </a:lnTo>
                <a:lnTo>
                  <a:pt x="473858" y="165990"/>
                </a:lnTo>
                <a:lnTo>
                  <a:pt x="506095" y="175259"/>
                </a:lnTo>
                <a:lnTo>
                  <a:pt x="518596" y="174543"/>
                </a:lnTo>
                <a:lnTo>
                  <a:pt x="529812" y="172386"/>
                </a:lnTo>
                <a:lnTo>
                  <a:pt x="539742" y="168777"/>
                </a:lnTo>
                <a:lnTo>
                  <a:pt x="548386" y="163702"/>
                </a:lnTo>
                <a:lnTo>
                  <a:pt x="548386" y="159003"/>
                </a:lnTo>
                <a:lnTo>
                  <a:pt x="510794" y="159003"/>
                </a:lnTo>
                <a:lnTo>
                  <a:pt x="502148" y="158313"/>
                </a:lnTo>
                <a:lnTo>
                  <a:pt x="472126" y="126237"/>
                </a:lnTo>
                <a:lnTo>
                  <a:pt x="471297" y="116712"/>
                </a:lnTo>
                <a:lnTo>
                  <a:pt x="556768" y="116712"/>
                </a:lnTo>
                <a:lnTo>
                  <a:pt x="556768" y="106552"/>
                </a:lnTo>
                <a:lnTo>
                  <a:pt x="556377" y="100330"/>
                </a:lnTo>
                <a:lnTo>
                  <a:pt x="471550" y="100330"/>
                </a:lnTo>
                <a:lnTo>
                  <a:pt x="473075" y="92731"/>
                </a:lnTo>
                <a:lnTo>
                  <a:pt x="497459" y="64769"/>
                </a:lnTo>
                <a:lnTo>
                  <a:pt x="544413" y="64769"/>
                </a:lnTo>
                <a:lnTo>
                  <a:pt x="543814" y="63881"/>
                </a:lnTo>
                <a:lnTo>
                  <a:pt x="536594" y="57140"/>
                </a:lnTo>
                <a:lnTo>
                  <a:pt x="528066" y="52339"/>
                </a:lnTo>
                <a:lnTo>
                  <a:pt x="518203" y="49468"/>
                </a:lnTo>
                <a:lnTo>
                  <a:pt x="506984" y="48513"/>
                </a:lnTo>
                <a:close/>
              </a:path>
              <a:path w="742950" h="175260">
                <a:moveTo>
                  <a:pt x="548386" y="145541"/>
                </a:moveTo>
                <a:lnTo>
                  <a:pt x="539601" y="151395"/>
                </a:lnTo>
                <a:lnTo>
                  <a:pt x="530399" y="155606"/>
                </a:lnTo>
                <a:lnTo>
                  <a:pt x="520793" y="158150"/>
                </a:lnTo>
                <a:lnTo>
                  <a:pt x="510794" y="159003"/>
                </a:lnTo>
                <a:lnTo>
                  <a:pt x="548386" y="159003"/>
                </a:lnTo>
                <a:lnTo>
                  <a:pt x="548386" y="145541"/>
                </a:lnTo>
                <a:close/>
              </a:path>
              <a:path w="742950" h="175260">
                <a:moveTo>
                  <a:pt x="544413" y="64769"/>
                </a:moveTo>
                <a:lnTo>
                  <a:pt x="516127" y="64769"/>
                </a:lnTo>
                <a:lnTo>
                  <a:pt x="523494" y="67944"/>
                </a:lnTo>
                <a:lnTo>
                  <a:pt x="528827" y="74168"/>
                </a:lnTo>
                <a:lnTo>
                  <a:pt x="532330" y="79291"/>
                </a:lnTo>
                <a:lnTo>
                  <a:pt x="534844" y="85343"/>
                </a:lnTo>
                <a:lnTo>
                  <a:pt x="536382" y="92348"/>
                </a:lnTo>
                <a:lnTo>
                  <a:pt x="536956" y="100330"/>
                </a:lnTo>
                <a:lnTo>
                  <a:pt x="556377" y="100330"/>
                </a:lnTo>
                <a:lnTo>
                  <a:pt x="555958" y="93652"/>
                </a:lnTo>
                <a:lnTo>
                  <a:pt x="553529" y="82216"/>
                </a:lnTo>
                <a:lnTo>
                  <a:pt x="549481" y="72280"/>
                </a:lnTo>
                <a:lnTo>
                  <a:pt x="544413" y="64769"/>
                </a:lnTo>
                <a:close/>
              </a:path>
              <a:path w="742950" h="175260">
                <a:moveTo>
                  <a:pt x="605282" y="51307"/>
                </a:moveTo>
                <a:lnTo>
                  <a:pt x="585851" y="51307"/>
                </a:lnTo>
                <a:lnTo>
                  <a:pt x="585851" y="172465"/>
                </a:lnTo>
                <a:lnTo>
                  <a:pt x="605282" y="172465"/>
                </a:lnTo>
                <a:lnTo>
                  <a:pt x="605282" y="110743"/>
                </a:lnTo>
                <a:lnTo>
                  <a:pt x="605805" y="101117"/>
                </a:lnTo>
                <a:lnTo>
                  <a:pt x="607377" y="92598"/>
                </a:lnTo>
                <a:lnTo>
                  <a:pt x="609996" y="85151"/>
                </a:lnTo>
                <a:lnTo>
                  <a:pt x="613664" y="78739"/>
                </a:lnTo>
                <a:lnTo>
                  <a:pt x="615404" y="76326"/>
                </a:lnTo>
                <a:lnTo>
                  <a:pt x="605282" y="76326"/>
                </a:lnTo>
                <a:lnTo>
                  <a:pt x="605282" y="51307"/>
                </a:lnTo>
                <a:close/>
              </a:path>
              <a:path w="742950" h="175260">
                <a:moveTo>
                  <a:pt x="642493" y="49149"/>
                </a:moveTo>
                <a:lnTo>
                  <a:pt x="630427" y="49149"/>
                </a:lnTo>
                <a:lnTo>
                  <a:pt x="624077" y="51562"/>
                </a:lnTo>
                <a:lnTo>
                  <a:pt x="618490" y="56387"/>
                </a:lnTo>
                <a:lnTo>
                  <a:pt x="612775" y="61087"/>
                </a:lnTo>
                <a:lnTo>
                  <a:pt x="608584" y="67690"/>
                </a:lnTo>
                <a:lnTo>
                  <a:pt x="605790" y="76326"/>
                </a:lnTo>
                <a:lnTo>
                  <a:pt x="615404" y="76326"/>
                </a:lnTo>
                <a:lnTo>
                  <a:pt x="619251" y="70993"/>
                </a:lnTo>
                <a:lnTo>
                  <a:pt x="626110" y="67056"/>
                </a:lnTo>
                <a:lnTo>
                  <a:pt x="649097" y="67056"/>
                </a:lnTo>
                <a:lnTo>
                  <a:pt x="649097" y="50800"/>
                </a:lnTo>
                <a:lnTo>
                  <a:pt x="646430" y="49783"/>
                </a:lnTo>
                <a:lnTo>
                  <a:pt x="642493" y="49149"/>
                </a:lnTo>
                <a:close/>
              </a:path>
              <a:path w="742950" h="175260">
                <a:moveTo>
                  <a:pt x="649097" y="67056"/>
                </a:moveTo>
                <a:lnTo>
                  <a:pt x="640842" y="67056"/>
                </a:lnTo>
                <a:lnTo>
                  <a:pt x="645668" y="68325"/>
                </a:lnTo>
                <a:lnTo>
                  <a:pt x="649097" y="70993"/>
                </a:lnTo>
                <a:lnTo>
                  <a:pt x="649097" y="67056"/>
                </a:lnTo>
                <a:close/>
              </a:path>
              <a:path w="742950" h="175260">
                <a:moveTo>
                  <a:pt x="662432" y="147319"/>
                </a:moveTo>
                <a:lnTo>
                  <a:pt x="662432" y="168147"/>
                </a:lnTo>
                <a:lnTo>
                  <a:pt x="669599" y="171241"/>
                </a:lnTo>
                <a:lnTo>
                  <a:pt x="677386" y="173466"/>
                </a:lnTo>
                <a:lnTo>
                  <a:pt x="685792" y="174809"/>
                </a:lnTo>
                <a:lnTo>
                  <a:pt x="694817" y="175259"/>
                </a:lnTo>
                <a:lnTo>
                  <a:pt x="701167" y="175259"/>
                </a:lnTo>
                <a:lnTo>
                  <a:pt x="736092" y="160019"/>
                </a:lnTo>
                <a:lnTo>
                  <a:pt x="736719" y="159003"/>
                </a:lnTo>
                <a:lnTo>
                  <a:pt x="697357" y="159003"/>
                </a:lnTo>
                <a:lnTo>
                  <a:pt x="688024" y="158267"/>
                </a:lnTo>
                <a:lnTo>
                  <a:pt x="679084" y="156067"/>
                </a:lnTo>
                <a:lnTo>
                  <a:pt x="670550" y="152413"/>
                </a:lnTo>
                <a:lnTo>
                  <a:pt x="662432" y="147319"/>
                </a:lnTo>
                <a:close/>
              </a:path>
              <a:path w="742950" h="175260">
                <a:moveTo>
                  <a:pt x="709041" y="48513"/>
                </a:moveTo>
                <a:lnTo>
                  <a:pt x="703072" y="48513"/>
                </a:lnTo>
                <a:lnTo>
                  <a:pt x="697357" y="49275"/>
                </a:lnTo>
                <a:lnTo>
                  <a:pt x="663956" y="72770"/>
                </a:lnTo>
                <a:lnTo>
                  <a:pt x="662686" y="77850"/>
                </a:lnTo>
                <a:lnTo>
                  <a:pt x="662686" y="88137"/>
                </a:lnTo>
                <a:lnTo>
                  <a:pt x="663321" y="92201"/>
                </a:lnTo>
                <a:lnTo>
                  <a:pt x="664718" y="95631"/>
                </a:lnTo>
                <a:lnTo>
                  <a:pt x="666115" y="99187"/>
                </a:lnTo>
                <a:lnTo>
                  <a:pt x="699008" y="120268"/>
                </a:lnTo>
                <a:lnTo>
                  <a:pt x="702691" y="121665"/>
                </a:lnTo>
                <a:lnTo>
                  <a:pt x="709295" y="124459"/>
                </a:lnTo>
                <a:lnTo>
                  <a:pt x="712216" y="125983"/>
                </a:lnTo>
                <a:lnTo>
                  <a:pt x="714756" y="127762"/>
                </a:lnTo>
                <a:lnTo>
                  <a:pt x="717296" y="129412"/>
                </a:lnTo>
                <a:lnTo>
                  <a:pt x="719201" y="131444"/>
                </a:lnTo>
                <a:lnTo>
                  <a:pt x="720725" y="133731"/>
                </a:lnTo>
                <a:lnTo>
                  <a:pt x="722122" y="136016"/>
                </a:lnTo>
                <a:lnTo>
                  <a:pt x="722884" y="138683"/>
                </a:lnTo>
                <a:lnTo>
                  <a:pt x="722884" y="141986"/>
                </a:lnTo>
                <a:lnTo>
                  <a:pt x="721288" y="149413"/>
                </a:lnTo>
                <a:lnTo>
                  <a:pt x="716502" y="154733"/>
                </a:lnTo>
                <a:lnTo>
                  <a:pt x="708525" y="157934"/>
                </a:lnTo>
                <a:lnTo>
                  <a:pt x="697357" y="159003"/>
                </a:lnTo>
                <a:lnTo>
                  <a:pt x="736719" y="159003"/>
                </a:lnTo>
                <a:lnTo>
                  <a:pt x="738759" y="155701"/>
                </a:lnTo>
                <a:lnTo>
                  <a:pt x="741426" y="151256"/>
                </a:lnTo>
                <a:lnTo>
                  <a:pt x="742696" y="146050"/>
                </a:lnTo>
                <a:lnTo>
                  <a:pt x="742696" y="135127"/>
                </a:lnTo>
                <a:lnTo>
                  <a:pt x="713486" y="106425"/>
                </a:lnTo>
                <a:lnTo>
                  <a:pt x="704088" y="102743"/>
                </a:lnTo>
                <a:lnTo>
                  <a:pt x="697357" y="99949"/>
                </a:lnTo>
                <a:lnTo>
                  <a:pt x="682498" y="84962"/>
                </a:lnTo>
                <a:lnTo>
                  <a:pt x="682498" y="79247"/>
                </a:lnTo>
                <a:lnTo>
                  <a:pt x="683133" y="76962"/>
                </a:lnTo>
                <a:lnTo>
                  <a:pt x="684276" y="74930"/>
                </a:lnTo>
                <a:lnTo>
                  <a:pt x="685419" y="72770"/>
                </a:lnTo>
                <a:lnTo>
                  <a:pt x="696595" y="66039"/>
                </a:lnTo>
                <a:lnTo>
                  <a:pt x="699516" y="65150"/>
                </a:lnTo>
                <a:lnTo>
                  <a:pt x="702818" y="64769"/>
                </a:lnTo>
                <a:lnTo>
                  <a:pt x="737235" y="64769"/>
                </a:lnTo>
                <a:lnTo>
                  <a:pt x="737235" y="53847"/>
                </a:lnTo>
                <a:lnTo>
                  <a:pt x="730757" y="51514"/>
                </a:lnTo>
                <a:lnTo>
                  <a:pt x="723900" y="49847"/>
                </a:lnTo>
                <a:lnTo>
                  <a:pt x="716661" y="48847"/>
                </a:lnTo>
                <a:lnTo>
                  <a:pt x="709041" y="48513"/>
                </a:lnTo>
                <a:close/>
              </a:path>
              <a:path w="742950" h="175260">
                <a:moveTo>
                  <a:pt x="737235" y="64769"/>
                </a:moveTo>
                <a:lnTo>
                  <a:pt x="706374" y="64769"/>
                </a:lnTo>
                <a:lnTo>
                  <a:pt x="714857" y="65317"/>
                </a:lnTo>
                <a:lnTo>
                  <a:pt x="722804" y="66960"/>
                </a:lnTo>
                <a:lnTo>
                  <a:pt x="730251" y="69699"/>
                </a:lnTo>
                <a:lnTo>
                  <a:pt x="737235" y="73532"/>
                </a:lnTo>
                <a:lnTo>
                  <a:pt x="737235" y="64769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5030227" y="5893648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90" h="429895">
                <a:moveTo>
                  <a:pt x="0" y="429767"/>
                </a:moveTo>
                <a:lnTo>
                  <a:pt x="1850136" y="429767"/>
                </a:lnTo>
                <a:lnTo>
                  <a:pt x="1850136" y="0"/>
                </a:lnTo>
                <a:lnTo>
                  <a:pt x="0" y="0"/>
                </a:lnTo>
                <a:lnTo>
                  <a:pt x="0" y="429767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5266253" y="5993144"/>
            <a:ext cx="889182" cy="232126"/>
          </a:xfrm>
          <a:custGeom>
            <a:avLst/>
            <a:gdLst/>
            <a:ahLst/>
            <a:cxnLst/>
            <a:rect l="l" t="t" r="r" b="b"/>
            <a:pathLst>
              <a:path w="1209040" h="236854">
                <a:moveTo>
                  <a:pt x="25780" y="9702"/>
                </a:moveTo>
                <a:lnTo>
                  <a:pt x="0" y="9702"/>
                </a:lnTo>
                <a:lnTo>
                  <a:pt x="0" y="179362"/>
                </a:lnTo>
                <a:lnTo>
                  <a:pt x="19811" y="179362"/>
                </a:lnTo>
                <a:lnTo>
                  <a:pt x="19787" y="44132"/>
                </a:lnTo>
                <a:lnTo>
                  <a:pt x="19557" y="37109"/>
                </a:lnTo>
                <a:lnTo>
                  <a:pt x="18923" y="33477"/>
                </a:lnTo>
                <a:lnTo>
                  <a:pt x="40956" y="33477"/>
                </a:lnTo>
                <a:lnTo>
                  <a:pt x="25780" y="9702"/>
                </a:lnTo>
                <a:close/>
              </a:path>
              <a:path w="1209040" h="236854">
                <a:moveTo>
                  <a:pt x="40956" y="33477"/>
                </a:moveTo>
                <a:lnTo>
                  <a:pt x="19684" y="33477"/>
                </a:lnTo>
                <a:lnTo>
                  <a:pt x="21081" y="37185"/>
                </a:lnTo>
                <a:lnTo>
                  <a:pt x="22859" y="40741"/>
                </a:lnTo>
                <a:lnTo>
                  <a:pt x="25018" y="44132"/>
                </a:lnTo>
                <a:lnTo>
                  <a:pt x="112394" y="179362"/>
                </a:lnTo>
                <a:lnTo>
                  <a:pt x="136778" y="179362"/>
                </a:lnTo>
                <a:lnTo>
                  <a:pt x="136778" y="154165"/>
                </a:lnTo>
                <a:lnTo>
                  <a:pt x="117601" y="154165"/>
                </a:lnTo>
                <a:lnTo>
                  <a:pt x="116585" y="152107"/>
                </a:lnTo>
                <a:lnTo>
                  <a:pt x="114300" y="148323"/>
                </a:lnTo>
                <a:lnTo>
                  <a:pt x="110743" y="142811"/>
                </a:lnTo>
                <a:lnTo>
                  <a:pt x="40956" y="33477"/>
                </a:lnTo>
                <a:close/>
              </a:path>
              <a:path w="1209040" h="236854">
                <a:moveTo>
                  <a:pt x="136778" y="9702"/>
                </a:moveTo>
                <a:lnTo>
                  <a:pt x="116839" y="9702"/>
                </a:lnTo>
                <a:lnTo>
                  <a:pt x="116953" y="142811"/>
                </a:lnTo>
                <a:lnTo>
                  <a:pt x="117348" y="149275"/>
                </a:lnTo>
                <a:lnTo>
                  <a:pt x="118109" y="154165"/>
                </a:lnTo>
                <a:lnTo>
                  <a:pt x="136778" y="154165"/>
                </a:lnTo>
                <a:lnTo>
                  <a:pt x="136778" y="9702"/>
                </a:lnTo>
                <a:close/>
              </a:path>
              <a:path w="1209040" h="236854">
                <a:moveTo>
                  <a:pt x="226313" y="55371"/>
                </a:moveTo>
                <a:lnTo>
                  <a:pt x="186562" y="73177"/>
                </a:lnTo>
                <a:lnTo>
                  <a:pt x="170433" y="119265"/>
                </a:lnTo>
                <a:lnTo>
                  <a:pt x="171360" y="133391"/>
                </a:lnTo>
                <a:lnTo>
                  <a:pt x="193188" y="172921"/>
                </a:lnTo>
                <a:lnTo>
                  <a:pt x="225425" y="182206"/>
                </a:lnTo>
                <a:lnTo>
                  <a:pt x="237926" y="181482"/>
                </a:lnTo>
                <a:lnTo>
                  <a:pt x="249142" y="179309"/>
                </a:lnTo>
                <a:lnTo>
                  <a:pt x="259072" y="175686"/>
                </a:lnTo>
                <a:lnTo>
                  <a:pt x="267715" y="170611"/>
                </a:lnTo>
                <a:lnTo>
                  <a:pt x="267715" y="165874"/>
                </a:lnTo>
                <a:lnTo>
                  <a:pt x="230124" y="165874"/>
                </a:lnTo>
                <a:lnTo>
                  <a:pt x="221478" y="165186"/>
                </a:lnTo>
                <a:lnTo>
                  <a:pt x="191456" y="133173"/>
                </a:lnTo>
                <a:lnTo>
                  <a:pt x="190626" y="123634"/>
                </a:lnTo>
                <a:lnTo>
                  <a:pt x="276098" y="123634"/>
                </a:lnTo>
                <a:lnTo>
                  <a:pt x="276098" y="113461"/>
                </a:lnTo>
                <a:lnTo>
                  <a:pt x="275704" y="107188"/>
                </a:lnTo>
                <a:lnTo>
                  <a:pt x="190880" y="107188"/>
                </a:lnTo>
                <a:lnTo>
                  <a:pt x="192404" y="99639"/>
                </a:lnTo>
                <a:lnTo>
                  <a:pt x="216788" y="71691"/>
                </a:lnTo>
                <a:lnTo>
                  <a:pt x="263775" y="71691"/>
                </a:lnTo>
                <a:lnTo>
                  <a:pt x="263143" y="70751"/>
                </a:lnTo>
                <a:lnTo>
                  <a:pt x="255924" y="64019"/>
                </a:lnTo>
                <a:lnTo>
                  <a:pt x="247395" y="59213"/>
                </a:lnTo>
                <a:lnTo>
                  <a:pt x="237533" y="56332"/>
                </a:lnTo>
                <a:lnTo>
                  <a:pt x="226313" y="55371"/>
                </a:lnTo>
                <a:close/>
              </a:path>
              <a:path w="1209040" h="236854">
                <a:moveTo>
                  <a:pt x="267715" y="152387"/>
                </a:moveTo>
                <a:lnTo>
                  <a:pt x="258931" y="158288"/>
                </a:lnTo>
                <a:lnTo>
                  <a:pt x="249729" y="162502"/>
                </a:lnTo>
                <a:lnTo>
                  <a:pt x="240123" y="165031"/>
                </a:lnTo>
                <a:lnTo>
                  <a:pt x="230124" y="165874"/>
                </a:lnTo>
                <a:lnTo>
                  <a:pt x="267715" y="165874"/>
                </a:lnTo>
                <a:lnTo>
                  <a:pt x="267715" y="152387"/>
                </a:lnTo>
                <a:close/>
              </a:path>
              <a:path w="1209040" h="236854">
                <a:moveTo>
                  <a:pt x="263775" y="71691"/>
                </a:moveTo>
                <a:lnTo>
                  <a:pt x="235457" y="71691"/>
                </a:lnTo>
                <a:lnTo>
                  <a:pt x="242824" y="74815"/>
                </a:lnTo>
                <a:lnTo>
                  <a:pt x="248157" y="81038"/>
                </a:lnTo>
                <a:lnTo>
                  <a:pt x="251660" y="86180"/>
                </a:lnTo>
                <a:lnTo>
                  <a:pt x="254174" y="92251"/>
                </a:lnTo>
                <a:lnTo>
                  <a:pt x="255712" y="99253"/>
                </a:lnTo>
                <a:lnTo>
                  <a:pt x="256285" y="107188"/>
                </a:lnTo>
                <a:lnTo>
                  <a:pt x="275704" y="107188"/>
                </a:lnTo>
                <a:lnTo>
                  <a:pt x="275288" y="100541"/>
                </a:lnTo>
                <a:lnTo>
                  <a:pt x="272859" y="89115"/>
                </a:lnTo>
                <a:lnTo>
                  <a:pt x="268811" y="79186"/>
                </a:lnTo>
                <a:lnTo>
                  <a:pt x="263775" y="71691"/>
                </a:lnTo>
                <a:close/>
              </a:path>
              <a:path w="1209040" h="236854">
                <a:moveTo>
                  <a:pt x="330961" y="74777"/>
                </a:moveTo>
                <a:lnTo>
                  <a:pt x="311530" y="74777"/>
                </a:lnTo>
                <a:lnTo>
                  <a:pt x="311530" y="146469"/>
                </a:lnTo>
                <a:lnTo>
                  <a:pt x="313509" y="162002"/>
                </a:lnTo>
                <a:lnTo>
                  <a:pt x="319452" y="173094"/>
                </a:lnTo>
                <a:lnTo>
                  <a:pt x="329372" y="179748"/>
                </a:lnTo>
                <a:lnTo>
                  <a:pt x="343280" y="181965"/>
                </a:lnTo>
                <a:lnTo>
                  <a:pt x="350774" y="181965"/>
                </a:lnTo>
                <a:lnTo>
                  <a:pt x="356869" y="180708"/>
                </a:lnTo>
                <a:lnTo>
                  <a:pt x="361441" y="178181"/>
                </a:lnTo>
                <a:lnTo>
                  <a:pt x="361441" y="165646"/>
                </a:lnTo>
                <a:lnTo>
                  <a:pt x="342391" y="165646"/>
                </a:lnTo>
                <a:lnTo>
                  <a:pt x="337819" y="163906"/>
                </a:lnTo>
                <a:lnTo>
                  <a:pt x="335025" y="160439"/>
                </a:lnTo>
                <a:lnTo>
                  <a:pt x="332358" y="156959"/>
                </a:lnTo>
                <a:lnTo>
                  <a:pt x="330961" y="151168"/>
                </a:lnTo>
                <a:lnTo>
                  <a:pt x="330961" y="74777"/>
                </a:lnTo>
                <a:close/>
              </a:path>
              <a:path w="1209040" h="236854">
                <a:moveTo>
                  <a:pt x="361441" y="161620"/>
                </a:moveTo>
                <a:lnTo>
                  <a:pt x="357885" y="164299"/>
                </a:lnTo>
                <a:lnTo>
                  <a:pt x="353694" y="165646"/>
                </a:lnTo>
                <a:lnTo>
                  <a:pt x="361441" y="165646"/>
                </a:lnTo>
                <a:lnTo>
                  <a:pt x="361441" y="161620"/>
                </a:lnTo>
                <a:close/>
              </a:path>
              <a:path w="1209040" h="236854">
                <a:moveTo>
                  <a:pt x="361441" y="58204"/>
                </a:moveTo>
                <a:lnTo>
                  <a:pt x="290702" y="58204"/>
                </a:lnTo>
                <a:lnTo>
                  <a:pt x="290702" y="74777"/>
                </a:lnTo>
                <a:lnTo>
                  <a:pt x="361441" y="74777"/>
                </a:lnTo>
                <a:lnTo>
                  <a:pt x="361441" y="58204"/>
                </a:lnTo>
                <a:close/>
              </a:path>
              <a:path w="1209040" h="236854">
                <a:moveTo>
                  <a:pt x="330961" y="22352"/>
                </a:moveTo>
                <a:lnTo>
                  <a:pt x="311530" y="28625"/>
                </a:lnTo>
                <a:lnTo>
                  <a:pt x="311530" y="58204"/>
                </a:lnTo>
                <a:lnTo>
                  <a:pt x="330961" y="58204"/>
                </a:lnTo>
                <a:lnTo>
                  <a:pt x="330961" y="22352"/>
                </a:lnTo>
                <a:close/>
              </a:path>
              <a:path w="1209040" h="236854">
                <a:moveTo>
                  <a:pt x="391032" y="58204"/>
                </a:moveTo>
                <a:lnTo>
                  <a:pt x="370712" y="58204"/>
                </a:lnTo>
                <a:lnTo>
                  <a:pt x="407415" y="179362"/>
                </a:lnTo>
                <a:lnTo>
                  <a:pt x="426847" y="179362"/>
                </a:lnTo>
                <a:lnTo>
                  <a:pt x="432808" y="160197"/>
                </a:lnTo>
                <a:lnTo>
                  <a:pt x="417829" y="160197"/>
                </a:lnTo>
                <a:lnTo>
                  <a:pt x="417575" y="155701"/>
                </a:lnTo>
                <a:lnTo>
                  <a:pt x="416940" y="152069"/>
                </a:lnTo>
                <a:lnTo>
                  <a:pt x="391032" y="58204"/>
                </a:lnTo>
                <a:close/>
              </a:path>
              <a:path w="1209040" h="236854">
                <a:moveTo>
                  <a:pt x="472949" y="81394"/>
                </a:moveTo>
                <a:lnTo>
                  <a:pt x="456818" y="81394"/>
                </a:lnTo>
                <a:lnTo>
                  <a:pt x="457200" y="85585"/>
                </a:lnTo>
                <a:lnTo>
                  <a:pt x="457834" y="89331"/>
                </a:lnTo>
                <a:lnTo>
                  <a:pt x="458724" y="92633"/>
                </a:lnTo>
                <a:lnTo>
                  <a:pt x="483742" y="179362"/>
                </a:lnTo>
                <a:lnTo>
                  <a:pt x="503808" y="179362"/>
                </a:lnTo>
                <a:lnTo>
                  <a:pt x="509481" y="160439"/>
                </a:lnTo>
                <a:lnTo>
                  <a:pt x="493394" y="160439"/>
                </a:lnTo>
                <a:lnTo>
                  <a:pt x="493013" y="156095"/>
                </a:lnTo>
                <a:lnTo>
                  <a:pt x="492505" y="152463"/>
                </a:lnTo>
                <a:lnTo>
                  <a:pt x="491616" y="149555"/>
                </a:lnTo>
                <a:lnTo>
                  <a:pt x="472949" y="81394"/>
                </a:lnTo>
                <a:close/>
              </a:path>
              <a:path w="1209040" h="236854">
                <a:moveTo>
                  <a:pt x="540130" y="58204"/>
                </a:moveTo>
                <a:lnTo>
                  <a:pt x="520953" y="58204"/>
                </a:lnTo>
                <a:lnTo>
                  <a:pt x="496442" y="149555"/>
                </a:lnTo>
                <a:lnTo>
                  <a:pt x="495173" y="153733"/>
                </a:lnTo>
                <a:lnTo>
                  <a:pt x="494537" y="157365"/>
                </a:lnTo>
                <a:lnTo>
                  <a:pt x="494410" y="160439"/>
                </a:lnTo>
                <a:lnTo>
                  <a:pt x="509481" y="160439"/>
                </a:lnTo>
                <a:lnTo>
                  <a:pt x="540130" y="58204"/>
                </a:lnTo>
                <a:close/>
              </a:path>
              <a:path w="1209040" h="236854">
                <a:moveTo>
                  <a:pt x="466598" y="58204"/>
                </a:moveTo>
                <a:lnTo>
                  <a:pt x="448817" y="58204"/>
                </a:lnTo>
                <a:lnTo>
                  <a:pt x="420877" y="149072"/>
                </a:lnTo>
                <a:lnTo>
                  <a:pt x="419734" y="153022"/>
                </a:lnTo>
                <a:lnTo>
                  <a:pt x="418973" y="156730"/>
                </a:lnTo>
                <a:lnTo>
                  <a:pt x="418718" y="160197"/>
                </a:lnTo>
                <a:lnTo>
                  <a:pt x="432808" y="160197"/>
                </a:lnTo>
                <a:lnTo>
                  <a:pt x="455294" y="87909"/>
                </a:lnTo>
                <a:lnTo>
                  <a:pt x="456183" y="84239"/>
                </a:lnTo>
                <a:lnTo>
                  <a:pt x="456437" y="81394"/>
                </a:lnTo>
                <a:lnTo>
                  <a:pt x="472949" y="81394"/>
                </a:lnTo>
                <a:lnTo>
                  <a:pt x="466598" y="58204"/>
                </a:lnTo>
                <a:close/>
              </a:path>
              <a:path w="1209040" h="236854">
                <a:moveTo>
                  <a:pt x="616330" y="55371"/>
                </a:moveTo>
                <a:lnTo>
                  <a:pt x="571245" y="72529"/>
                </a:lnTo>
                <a:lnTo>
                  <a:pt x="554481" y="120205"/>
                </a:lnTo>
                <a:lnTo>
                  <a:pt x="555484" y="133535"/>
                </a:lnTo>
                <a:lnTo>
                  <a:pt x="579280" y="172653"/>
                </a:lnTo>
                <a:lnTo>
                  <a:pt x="613409" y="182206"/>
                </a:lnTo>
                <a:lnTo>
                  <a:pt x="626508" y="181116"/>
                </a:lnTo>
                <a:lnTo>
                  <a:pt x="638190" y="177844"/>
                </a:lnTo>
                <a:lnTo>
                  <a:pt x="648467" y="172391"/>
                </a:lnTo>
                <a:lnTo>
                  <a:pt x="656051" y="165874"/>
                </a:lnTo>
                <a:lnTo>
                  <a:pt x="614806" y="165874"/>
                </a:lnTo>
                <a:lnTo>
                  <a:pt x="606095" y="165098"/>
                </a:lnTo>
                <a:lnTo>
                  <a:pt x="577167" y="138755"/>
                </a:lnTo>
                <a:lnTo>
                  <a:pt x="574469" y="120205"/>
                </a:lnTo>
                <a:lnTo>
                  <a:pt x="574495" y="118313"/>
                </a:lnTo>
                <a:lnTo>
                  <a:pt x="591196" y="78849"/>
                </a:lnTo>
                <a:lnTo>
                  <a:pt x="614806" y="71691"/>
                </a:lnTo>
                <a:lnTo>
                  <a:pt x="658214" y="71691"/>
                </a:lnTo>
                <a:lnTo>
                  <a:pt x="650263" y="64753"/>
                </a:lnTo>
                <a:lnTo>
                  <a:pt x="640429" y="59542"/>
                </a:lnTo>
                <a:lnTo>
                  <a:pt x="629118" y="56414"/>
                </a:lnTo>
                <a:lnTo>
                  <a:pt x="616330" y="55371"/>
                </a:lnTo>
                <a:close/>
              </a:path>
              <a:path w="1209040" h="236854">
                <a:moveTo>
                  <a:pt x="658214" y="71691"/>
                </a:moveTo>
                <a:lnTo>
                  <a:pt x="614806" y="71691"/>
                </a:lnTo>
                <a:lnTo>
                  <a:pt x="623689" y="72460"/>
                </a:lnTo>
                <a:lnTo>
                  <a:pt x="631475" y="74768"/>
                </a:lnTo>
                <a:lnTo>
                  <a:pt x="653282" y="108313"/>
                </a:lnTo>
                <a:lnTo>
                  <a:pt x="653880" y="118313"/>
                </a:lnTo>
                <a:lnTo>
                  <a:pt x="653851" y="120205"/>
                </a:lnTo>
                <a:lnTo>
                  <a:pt x="638167" y="159022"/>
                </a:lnTo>
                <a:lnTo>
                  <a:pt x="614806" y="165874"/>
                </a:lnTo>
                <a:lnTo>
                  <a:pt x="656051" y="165874"/>
                </a:lnTo>
                <a:lnTo>
                  <a:pt x="673734" y="118313"/>
                </a:lnTo>
                <a:lnTo>
                  <a:pt x="672784" y="104327"/>
                </a:lnTo>
                <a:lnTo>
                  <a:pt x="669940" y="91955"/>
                </a:lnTo>
                <a:lnTo>
                  <a:pt x="665216" y="81196"/>
                </a:lnTo>
                <a:lnTo>
                  <a:pt x="658622" y="72047"/>
                </a:lnTo>
                <a:lnTo>
                  <a:pt x="658214" y="71691"/>
                </a:lnTo>
                <a:close/>
              </a:path>
              <a:path w="1209040" h="236854">
                <a:moveTo>
                  <a:pt x="723900" y="58204"/>
                </a:moveTo>
                <a:lnTo>
                  <a:pt x="704468" y="58204"/>
                </a:lnTo>
                <a:lnTo>
                  <a:pt x="704468" y="179362"/>
                </a:lnTo>
                <a:lnTo>
                  <a:pt x="723900" y="179362"/>
                </a:lnTo>
                <a:lnTo>
                  <a:pt x="723900" y="117601"/>
                </a:lnTo>
                <a:lnTo>
                  <a:pt x="724423" y="108019"/>
                </a:lnTo>
                <a:lnTo>
                  <a:pt x="725995" y="99502"/>
                </a:lnTo>
                <a:lnTo>
                  <a:pt x="728614" y="92050"/>
                </a:lnTo>
                <a:lnTo>
                  <a:pt x="732281" y="85661"/>
                </a:lnTo>
                <a:lnTo>
                  <a:pt x="734062" y="83172"/>
                </a:lnTo>
                <a:lnTo>
                  <a:pt x="723900" y="83172"/>
                </a:lnTo>
                <a:lnTo>
                  <a:pt x="723900" y="58204"/>
                </a:lnTo>
                <a:close/>
              </a:path>
              <a:path w="1209040" h="236854">
                <a:moveTo>
                  <a:pt x="761110" y="56083"/>
                </a:moveTo>
                <a:lnTo>
                  <a:pt x="749045" y="56083"/>
                </a:lnTo>
                <a:lnTo>
                  <a:pt x="742695" y="58470"/>
                </a:lnTo>
                <a:lnTo>
                  <a:pt x="737107" y="63233"/>
                </a:lnTo>
                <a:lnTo>
                  <a:pt x="731392" y="68008"/>
                </a:lnTo>
                <a:lnTo>
                  <a:pt x="727201" y="74650"/>
                </a:lnTo>
                <a:lnTo>
                  <a:pt x="724407" y="83172"/>
                </a:lnTo>
                <a:lnTo>
                  <a:pt x="734062" y="83172"/>
                </a:lnTo>
                <a:lnTo>
                  <a:pt x="737869" y="77851"/>
                </a:lnTo>
                <a:lnTo>
                  <a:pt x="744727" y="73939"/>
                </a:lnTo>
                <a:lnTo>
                  <a:pt x="767714" y="73939"/>
                </a:lnTo>
                <a:lnTo>
                  <a:pt x="767714" y="57734"/>
                </a:lnTo>
                <a:lnTo>
                  <a:pt x="765048" y="56629"/>
                </a:lnTo>
                <a:lnTo>
                  <a:pt x="761110" y="56083"/>
                </a:lnTo>
                <a:close/>
              </a:path>
              <a:path w="1209040" h="236854">
                <a:moveTo>
                  <a:pt x="767714" y="73939"/>
                </a:moveTo>
                <a:lnTo>
                  <a:pt x="759459" y="73939"/>
                </a:lnTo>
                <a:lnTo>
                  <a:pt x="764285" y="75247"/>
                </a:lnTo>
                <a:lnTo>
                  <a:pt x="767714" y="77851"/>
                </a:lnTo>
                <a:lnTo>
                  <a:pt x="767714" y="73939"/>
                </a:lnTo>
                <a:close/>
              </a:path>
              <a:path w="1209040" h="236854">
                <a:moveTo>
                  <a:pt x="807719" y="0"/>
                </a:moveTo>
                <a:lnTo>
                  <a:pt x="788288" y="0"/>
                </a:lnTo>
                <a:lnTo>
                  <a:pt x="788288" y="179362"/>
                </a:lnTo>
                <a:lnTo>
                  <a:pt x="807719" y="179362"/>
                </a:lnTo>
                <a:lnTo>
                  <a:pt x="807719" y="121157"/>
                </a:lnTo>
                <a:lnTo>
                  <a:pt x="832637" y="121157"/>
                </a:lnTo>
                <a:lnTo>
                  <a:pt x="828293" y="116662"/>
                </a:lnTo>
                <a:lnTo>
                  <a:pt x="831141" y="113703"/>
                </a:lnTo>
                <a:lnTo>
                  <a:pt x="807719" y="113703"/>
                </a:lnTo>
                <a:lnTo>
                  <a:pt x="807719" y="0"/>
                </a:lnTo>
                <a:close/>
              </a:path>
              <a:path w="1209040" h="236854">
                <a:moveTo>
                  <a:pt x="832637" y="121157"/>
                </a:moveTo>
                <a:lnTo>
                  <a:pt x="808227" y="121157"/>
                </a:lnTo>
                <a:lnTo>
                  <a:pt x="861694" y="179362"/>
                </a:lnTo>
                <a:lnTo>
                  <a:pt x="888873" y="179362"/>
                </a:lnTo>
                <a:lnTo>
                  <a:pt x="832637" y="121157"/>
                </a:lnTo>
                <a:close/>
              </a:path>
              <a:path w="1209040" h="236854">
                <a:moveTo>
                  <a:pt x="884554" y="58204"/>
                </a:moveTo>
                <a:lnTo>
                  <a:pt x="859154" y="58204"/>
                </a:lnTo>
                <a:lnTo>
                  <a:pt x="808227" y="113703"/>
                </a:lnTo>
                <a:lnTo>
                  <a:pt x="831141" y="113703"/>
                </a:lnTo>
                <a:lnTo>
                  <a:pt x="884554" y="58204"/>
                </a:lnTo>
                <a:close/>
              </a:path>
              <a:path w="1209040" h="236854">
                <a:moveTo>
                  <a:pt x="922274" y="2247"/>
                </a:moveTo>
                <a:lnTo>
                  <a:pt x="915161" y="2247"/>
                </a:lnTo>
                <a:lnTo>
                  <a:pt x="912240" y="3441"/>
                </a:lnTo>
                <a:lnTo>
                  <a:pt x="907414" y="8255"/>
                </a:lnTo>
                <a:lnTo>
                  <a:pt x="906144" y="11277"/>
                </a:lnTo>
                <a:lnTo>
                  <a:pt x="906144" y="18529"/>
                </a:lnTo>
                <a:lnTo>
                  <a:pt x="907414" y="21526"/>
                </a:lnTo>
                <a:lnTo>
                  <a:pt x="912240" y="26263"/>
                </a:lnTo>
                <a:lnTo>
                  <a:pt x="915161" y="27444"/>
                </a:lnTo>
                <a:lnTo>
                  <a:pt x="922274" y="27444"/>
                </a:lnTo>
                <a:lnTo>
                  <a:pt x="925194" y="26225"/>
                </a:lnTo>
                <a:lnTo>
                  <a:pt x="930275" y="21336"/>
                </a:lnTo>
                <a:lnTo>
                  <a:pt x="931359" y="18529"/>
                </a:lnTo>
                <a:lnTo>
                  <a:pt x="931417" y="11277"/>
                </a:lnTo>
                <a:lnTo>
                  <a:pt x="930275" y="8255"/>
                </a:lnTo>
                <a:lnTo>
                  <a:pt x="925194" y="3441"/>
                </a:lnTo>
                <a:lnTo>
                  <a:pt x="922274" y="2247"/>
                </a:lnTo>
                <a:close/>
              </a:path>
              <a:path w="1209040" h="236854">
                <a:moveTo>
                  <a:pt x="928115" y="58204"/>
                </a:moveTo>
                <a:lnTo>
                  <a:pt x="908684" y="58204"/>
                </a:lnTo>
                <a:lnTo>
                  <a:pt x="908684" y="179362"/>
                </a:lnTo>
                <a:lnTo>
                  <a:pt x="928115" y="179362"/>
                </a:lnTo>
                <a:lnTo>
                  <a:pt x="928115" y="58204"/>
                </a:lnTo>
                <a:close/>
              </a:path>
              <a:path w="1209040" h="236854">
                <a:moveTo>
                  <a:pt x="987551" y="58204"/>
                </a:moveTo>
                <a:lnTo>
                  <a:pt x="968120" y="58204"/>
                </a:lnTo>
                <a:lnTo>
                  <a:pt x="968120" y="179362"/>
                </a:lnTo>
                <a:lnTo>
                  <a:pt x="987551" y="179362"/>
                </a:lnTo>
                <a:lnTo>
                  <a:pt x="987551" y="110274"/>
                </a:lnTo>
                <a:lnTo>
                  <a:pt x="988147" y="102289"/>
                </a:lnTo>
                <a:lnTo>
                  <a:pt x="989933" y="95022"/>
                </a:lnTo>
                <a:lnTo>
                  <a:pt x="992909" y="88473"/>
                </a:lnTo>
                <a:lnTo>
                  <a:pt x="997076" y="82638"/>
                </a:lnTo>
                <a:lnTo>
                  <a:pt x="1001654" y="78320"/>
                </a:lnTo>
                <a:lnTo>
                  <a:pt x="987551" y="78320"/>
                </a:lnTo>
                <a:lnTo>
                  <a:pt x="987551" y="58204"/>
                </a:lnTo>
                <a:close/>
              </a:path>
              <a:path w="1209040" h="236854">
                <a:moveTo>
                  <a:pt x="1060433" y="71691"/>
                </a:moveTo>
                <a:lnTo>
                  <a:pt x="1021206" y="71691"/>
                </a:lnTo>
                <a:lnTo>
                  <a:pt x="1033541" y="74103"/>
                </a:lnTo>
                <a:lnTo>
                  <a:pt x="1042352" y="81338"/>
                </a:lnTo>
                <a:lnTo>
                  <a:pt x="1047638" y="93395"/>
                </a:lnTo>
                <a:lnTo>
                  <a:pt x="1049401" y="110274"/>
                </a:lnTo>
                <a:lnTo>
                  <a:pt x="1049401" y="179362"/>
                </a:lnTo>
                <a:lnTo>
                  <a:pt x="1068704" y="179362"/>
                </a:lnTo>
                <a:lnTo>
                  <a:pt x="1068704" y="105295"/>
                </a:lnTo>
                <a:lnTo>
                  <a:pt x="1068058" y="93882"/>
                </a:lnTo>
                <a:lnTo>
                  <a:pt x="1066101" y="83896"/>
                </a:lnTo>
                <a:lnTo>
                  <a:pt x="1062811" y="75338"/>
                </a:lnTo>
                <a:lnTo>
                  <a:pt x="1060433" y="71691"/>
                </a:lnTo>
                <a:close/>
              </a:path>
              <a:path w="1209040" h="236854">
                <a:moveTo>
                  <a:pt x="1027810" y="55371"/>
                </a:moveTo>
                <a:lnTo>
                  <a:pt x="1015545" y="56805"/>
                </a:lnTo>
                <a:lnTo>
                  <a:pt x="1004839" y="61107"/>
                </a:lnTo>
                <a:lnTo>
                  <a:pt x="995681" y="68278"/>
                </a:lnTo>
                <a:lnTo>
                  <a:pt x="988059" y="78320"/>
                </a:lnTo>
                <a:lnTo>
                  <a:pt x="1001654" y="78320"/>
                </a:lnTo>
                <a:lnTo>
                  <a:pt x="1002151" y="77852"/>
                </a:lnTo>
                <a:lnTo>
                  <a:pt x="1007856" y="74431"/>
                </a:lnTo>
                <a:lnTo>
                  <a:pt x="1014204" y="72376"/>
                </a:lnTo>
                <a:lnTo>
                  <a:pt x="1021206" y="71691"/>
                </a:lnTo>
                <a:lnTo>
                  <a:pt x="1060433" y="71691"/>
                </a:lnTo>
                <a:lnTo>
                  <a:pt x="1058163" y="68211"/>
                </a:lnTo>
                <a:lnTo>
                  <a:pt x="1052331" y="62594"/>
                </a:lnTo>
                <a:lnTo>
                  <a:pt x="1045321" y="58581"/>
                </a:lnTo>
                <a:lnTo>
                  <a:pt x="1037143" y="56174"/>
                </a:lnTo>
                <a:lnTo>
                  <a:pt x="1027810" y="55371"/>
                </a:lnTo>
                <a:close/>
              </a:path>
              <a:path w="1209040" h="236854">
                <a:moveTo>
                  <a:pt x="1105534" y="208470"/>
                </a:moveTo>
                <a:lnTo>
                  <a:pt x="1105534" y="227876"/>
                </a:lnTo>
                <a:lnTo>
                  <a:pt x="1114347" y="231602"/>
                </a:lnTo>
                <a:lnTo>
                  <a:pt x="1123838" y="234265"/>
                </a:lnTo>
                <a:lnTo>
                  <a:pt x="1134020" y="235864"/>
                </a:lnTo>
                <a:lnTo>
                  <a:pt x="1144904" y="236397"/>
                </a:lnTo>
                <a:lnTo>
                  <a:pt x="1172835" y="232226"/>
                </a:lnTo>
                <a:lnTo>
                  <a:pt x="1192599" y="219837"/>
                </a:lnTo>
                <a:lnTo>
                  <a:pt x="1144651" y="219837"/>
                </a:lnTo>
                <a:lnTo>
                  <a:pt x="1135217" y="219125"/>
                </a:lnTo>
                <a:lnTo>
                  <a:pt x="1125569" y="216992"/>
                </a:lnTo>
                <a:lnTo>
                  <a:pt x="1115683" y="213439"/>
                </a:lnTo>
                <a:lnTo>
                  <a:pt x="1105534" y="208470"/>
                </a:lnTo>
                <a:close/>
              </a:path>
              <a:path w="1209040" h="236854">
                <a:moveTo>
                  <a:pt x="1208785" y="159016"/>
                </a:moveTo>
                <a:lnTo>
                  <a:pt x="1189354" y="159016"/>
                </a:lnTo>
                <a:lnTo>
                  <a:pt x="1189240" y="173120"/>
                </a:lnTo>
                <a:lnTo>
                  <a:pt x="1186566" y="193074"/>
                </a:lnTo>
                <a:lnTo>
                  <a:pt x="1178194" y="207941"/>
                </a:lnTo>
                <a:lnTo>
                  <a:pt x="1164226" y="216863"/>
                </a:lnTo>
                <a:lnTo>
                  <a:pt x="1144651" y="219837"/>
                </a:lnTo>
                <a:lnTo>
                  <a:pt x="1192599" y="219837"/>
                </a:lnTo>
                <a:lnTo>
                  <a:pt x="1192799" y="219711"/>
                </a:lnTo>
                <a:lnTo>
                  <a:pt x="1204787" y="198855"/>
                </a:lnTo>
                <a:lnTo>
                  <a:pt x="1208785" y="169659"/>
                </a:lnTo>
                <a:lnTo>
                  <a:pt x="1208785" y="159016"/>
                </a:lnTo>
                <a:close/>
              </a:path>
              <a:path w="1209040" h="236854">
                <a:moveTo>
                  <a:pt x="1152525" y="55371"/>
                </a:moveTo>
                <a:lnTo>
                  <a:pt x="1111884" y="73596"/>
                </a:lnTo>
                <a:lnTo>
                  <a:pt x="1097108" y="121386"/>
                </a:lnTo>
                <a:lnTo>
                  <a:pt x="1097151" y="124587"/>
                </a:lnTo>
                <a:lnTo>
                  <a:pt x="1110868" y="166052"/>
                </a:lnTo>
                <a:lnTo>
                  <a:pt x="1147190" y="182206"/>
                </a:lnTo>
                <a:lnTo>
                  <a:pt x="1160236" y="180756"/>
                </a:lnTo>
                <a:lnTo>
                  <a:pt x="1171543" y="176407"/>
                </a:lnTo>
                <a:lnTo>
                  <a:pt x="1181088" y="169160"/>
                </a:lnTo>
                <a:lnTo>
                  <a:pt x="1183601" y="165874"/>
                </a:lnTo>
                <a:lnTo>
                  <a:pt x="1152525" y="165874"/>
                </a:lnTo>
                <a:lnTo>
                  <a:pt x="1144906" y="165117"/>
                </a:lnTo>
                <a:lnTo>
                  <a:pt x="1117564" y="130996"/>
                </a:lnTo>
                <a:lnTo>
                  <a:pt x="1116964" y="121386"/>
                </a:lnTo>
                <a:lnTo>
                  <a:pt x="1117588" y="110268"/>
                </a:lnTo>
                <a:lnTo>
                  <a:pt x="1139221" y="74964"/>
                </a:lnTo>
                <a:lnTo>
                  <a:pt x="1155318" y="71691"/>
                </a:lnTo>
                <a:lnTo>
                  <a:pt x="1186264" y="71691"/>
                </a:lnTo>
                <a:lnTo>
                  <a:pt x="1182153" y="66414"/>
                </a:lnTo>
                <a:lnTo>
                  <a:pt x="1173876" y="60278"/>
                </a:lnTo>
                <a:lnTo>
                  <a:pt x="1164004" y="56598"/>
                </a:lnTo>
                <a:lnTo>
                  <a:pt x="1152525" y="55371"/>
                </a:lnTo>
                <a:close/>
              </a:path>
              <a:path w="1209040" h="236854">
                <a:moveTo>
                  <a:pt x="1186264" y="71691"/>
                </a:moveTo>
                <a:lnTo>
                  <a:pt x="1155318" y="71691"/>
                </a:lnTo>
                <a:lnTo>
                  <a:pt x="1162270" y="72336"/>
                </a:lnTo>
                <a:lnTo>
                  <a:pt x="1168638" y="74269"/>
                </a:lnTo>
                <a:lnTo>
                  <a:pt x="1189354" y="106718"/>
                </a:lnTo>
                <a:lnTo>
                  <a:pt x="1189354" y="124587"/>
                </a:lnTo>
                <a:lnTo>
                  <a:pt x="1173616" y="159354"/>
                </a:lnTo>
                <a:lnTo>
                  <a:pt x="1152525" y="165874"/>
                </a:lnTo>
                <a:lnTo>
                  <a:pt x="1183601" y="165874"/>
                </a:lnTo>
                <a:lnTo>
                  <a:pt x="1188847" y="159016"/>
                </a:lnTo>
                <a:lnTo>
                  <a:pt x="1208785" y="159016"/>
                </a:lnTo>
                <a:lnTo>
                  <a:pt x="1208785" y="75006"/>
                </a:lnTo>
                <a:lnTo>
                  <a:pt x="1188847" y="75006"/>
                </a:lnTo>
                <a:lnTo>
                  <a:pt x="1186264" y="71691"/>
                </a:lnTo>
                <a:close/>
              </a:path>
              <a:path w="1209040" h="236854">
                <a:moveTo>
                  <a:pt x="1208785" y="58204"/>
                </a:moveTo>
                <a:lnTo>
                  <a:pt x="1189354" y="58204"/>
                </a:lnTo>
                <a:lnTo>
                  <a:pt x="1189354" y="75006"/>
                </a:lnTo>
                <a:lnTo>
                  <a:pt x="1208785" y="75006"/>
                </a:lnTo>
                <a:lnTo>
                  <a:pt x="1208785" y="58204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5030227" y="3881802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90" h="429895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5569620" y="3987845"/>
            <a:ext cx="282072" cy="196654"/>
          </a:xfrm>
          <a:custGeom>
            <a:avLst/>
            <a:gdLst/>
            <a:ahLst/>
            <a:cxnLst/>
            <a:rect l="l" t="t" r="r" b="b"/>
            <a:pathLst>
              <a:path w="383540" h="200660">
                <a:moveTo>
                  <a:pt x="82423" y="0"/>
                </a:moveTo>
                <a:lnTo>
                  <a:pt x="34274" y="13715"/>
                </a:lnTo>
                <a:lnTo>
                  <a:pt x="5540" y="52879"/>
                </a:lnTo>
                <a:lnTo>
                  <a:pt x="0" y="89661"/>
                </a:lnTo>
                <a:lnTo>
                  <a:pt x="1357" y="107809"/>
                </a:lnTo>
                <a:lnTo>
                  <a:pt x="21717" y="151510"/>
                </a:lnTo>
                <a:lnTo>
                  <a:pt x="62382" y="173888"/>
                </a:lnTo>
                <a:lnTo>
                  <a:pt x="79502" y="175386"/>
                </a:lnTo>
                <a:lnTo>
                  <a:pt x="97049" y="173866"/>
                </a:lnTo>
                <a:lnTo>
                  <a:pt x="112728" y="169322"/>
                </a:lnTo>
                <a:lnTo>
                  <a:pt x="126525" y="161778"/>
                </a:lnTo>
                <a:lnTo>
                  <a:pt x="131388" y="157479"/>
                </a:lnTo>
                <a:lnTo>
                  <a:pt x="79502" y="157479"/>
                </a:lnTo>
                <a:lnTo>
                  <a:pt x="67069" y="156287"/>
                </a:lnTo>
                <a:lnTo>
                  <a:pt x="29989" y="128014"/>
                </a:lnTo>
                <a:lnTo>
                  <a:pt x="20828" y="87883"/>
                </a:lnTo>
                <a:lnTo>
                  <a:pt x="21875" y="72947"/>
                </a:lnTo>
                <a:lnTo>
                  <a:pt x="37592" y="37210"/>
                </a:lnTo>
                <a:lnTo>
                  <a:pt x="81026" y="17906"/>
                </a:lnTo>
                <a:lnTo>
                  <a:pt x="132640" y="17906"/>
                </a:lnTo>
                <a:lnTo>
                  <a:pt x="127446" y="13287"/>
                </a:lnTo>
                <a:lnTo>
                  <a:pt x="114125" y="5905"/>
                </a:lnTo>
                <a:lnTo>
                  <a:pt x="99113" y="1476"/>
                </a:lnTo>
                <a:lnTo>
                  <a:pt x="82423" y="0"/>
                </a:lnTo>
                <a:close/>
              </a:path>
              <a:path w="383540" h="200660">
                <a:moveTo>
                  <a:pt x="132640" y="17906"/>
                </a:moveTo>
                <a:lnTo>
                  <a:pt x="81026" y="17906"/>
                </a:lnTo>
                <a:lnTo>
                  <a:pt x="94003" y="19069"/>
                </a:lnTo>
                <a:lnTo>
                  <a:pt x="105505" y="22542"/>
                </a:lnTo>
                <a:lnTo>
                  <a:pt x="135794" y="58435"/>
                </a:lnTo>
                <a:lnTo>
                  <a:pt x="139609" y="89661"/>
                </a:lnTo>
                <a:lnTo>
                  <a:pt x="138697" y="103741"/>
                </a:lnTo>
                <a:lnTo>
                  <a:pt x="123571" y="139191"/>
                </a:lnTo>
                <a:lnTo>
                  <a:pt x="79502" y="157479"/>
                </a:lnTo>
                <a:lnTo>
                  <a:pt x="131388" y="157479"/>
                </a:lnTo>
                <a:lnTo>
                  <a:pt x="155003" y="122697"/>
                </a:lnTo>
                <a:lnTo>
                  <a:pt x="160528" y="85470"/>
                </a:lnTo>
                <a:lnTo>
                  <a:pt x="159174" y="67306"/>
                </a:lnTo>
                <a:lnTo>
                  <a:pt x="155130" y="50926"/>
                </a:lnTo>
                <a:lnTo>
                  <a:pt x="148393" y="36321"/>
                </a:lnTo>
                <a:lnTo>
                  <a:pt x="139065" y="23621"/>
                </a:lnTo>
                <a:lnTo>
                  <a:pt x="132640" y="17906"/>
                </a:lnTo>
                <a:close/>
              </a:path>
              <a:path w="383540" h="200660">
                <a:moveTo>
                  <a:pt x="267970" y="2793"/>
                </a:moveTo>
                <a:lnTo>
                  <a:pt x="249682" y="2793"/>
                </a:lnTo>
                <a:lnTo>
                  <a:pt x="168529" y="200659"/>
                </a:lnTo>
                <a:lnTo>
                  <a:pt x="186563" y="200659"/>
                </a:lnTo>
                <a:lnTo>
                  <a:pt x="267970" y="2793"/>
                </a:lnTo>
                <a:close/>
              </a:path>
              <a:path w="383540" h="200660">
                <a:moveTo>
                  <a:pt x="280670" y="142239"/>
                </a:moveTo>
                <a:lnTo>
                  <a:pt x="280670" y="165607"/>
                </a:lnTo>
                <a:lnTo>
                  <a:pt x="282829" y="167131"/>
                </a:lnTo>
                <a:lnTo>
                  <a:pt x="285750" y="168528"/>
                </a:lnTo>
                <a:lnTo>
                  <a:pt x="289433" y="169671"/>
                </a:lnTo>
                <a:lnTo>
                  <a:pt x="293116" y="170941"/>
                </a:lnTo>
                <a:lnTo>
                  <a:pt x="313182" y="174624"/>
                </a:lnTo>
                <a:lnTo>
                  <a:pt x="317119" y="175132"/>
                </a:lnTo>
                <a:lnTo>
                  <a:pt x="320421" y="175386"/>
                </a:lnTo>
                <a:lnTo>
                  <a:pt x="331089" y="175386"/>
                </a:lnTo>
                <a:lnTo>
                  <a:pt x="338836" y="174497"/>
                </a:lnTo>
                <a:lnTo>
                  <a:pt x="346075" y="172846"/>
                </a:lnTo>
                <a:lnTo>
                  <a:pt x="353314" y="171322"/>
                </a:lnTo>
                <a:lnTo>
                  <a:pt x="359664" y="168655"/>
                </a:lnTo>
                <a:lnTo>
                  <a:pt x="365252" y="165099"/>
                </a:lnTo>
                <a:lnTo>
                  <a:pt x="370840" y="161416"/>
                </a:lnTo>
                <a:lnTo>
                  <a:pt x="374564" y="157479"/>
                </a:lnTo>
                <a:lnTo>
                  <a:pt x="322580" y="157479"/>
                </a:lnTo>
                <a:lnTo>
                  <a:pt x="318770" y="157098"/>
                </a:lnTo>
                <a:lnTo>
                  <a:pt x="283337" y="144525"/>
                </a:lnTo>
                <a:lnTo>
                  <a:pt x="280670" y="142239"/>
                </a:lnTo>
                <a:close/>
              </a:path>
              <a:path w="383540" h="200660">
                <a:moveTo>
                  <a:pt x="339725" y="0"/>
                </a:moveTo>
                <a:lnTo>
                  <a:pt x="332486" y="0"/>
                </a:lnTo>
                <a:lnTo>
                  <a:pt x="325247" y="888"/>
                </a:lnTo>
                <a:lnTo>
                  <a:pt x="318135" y="2666"/>
                </a:lnTo>
                <a:lnTo>
                  <a:pt x="311150" y="4571"/>
                </a:lnTo>
                <a:lnTo>
                  <a:pt x="304800" y="7238"/>
                </a:lnTo>
                <a:lnTo>
                  <a:pt x="299339" y="11048"/>
                </a:lnTo>
                <a:lnTo>
                  <a:pt x="293751" y="14731"/>
                </a:lnTo>
                <a:lnTo>
                  <a:pt x="289306" y="19430"/>
                </a:lnTo>
                <a:lnTo>
                  <a:pt x="285877" y="25145"/>
                </a:lnTo>
                <a:lnTo>
                  <a:pt x="282575" y="30860"/>
                </a:lnTo>
                <a:lnTo>
                  <a:pt x="280797" y="37591"/>
                </a:lnTo>
                <a:lnTo>
                  <a:pt x="280797" y="51561"/>
                </a:lnTo>
                <a:lnTo>
                  <a:pt x="306451" y="84581"/>
                </a:lnTo>
                <a:lnTo>
                  <a:pt x="311531" y="87629"/>
                </a:lnTo>
                <a:lnTo>
                  <a:pt x="317119" y="90677"/>
                </a:lnTo>
                <a:lnTo>
                  <a:pt x="322961" y="93725"/>
                </a:lnTo>
                <a:lnTo>
                  <a:pt x="328549" y="96519"/>
                </a:lnTo>
                <a:lnTo>
                  <a:pt x="333756" y="99186"/>
                </a:lnTo>
                <a:lnTo>
                  <a:pt x="338709" y="101853"/>
                </a:lnTo>
                <a:lnTo>
                  <a:pt x="343535" y="104393"/>
                </a:lnTo>
                <a:lnTo>
                  <a:pt x="347726" y="107060"/>
                </a:lnTo>
                <a:lnTo>
                  <a:pt x="354838" y="112648"/>
                </a:lnTo>
                <a:lnTo>
                  <a:pt x="357632" y="115696"/>
                </a:lnTo>
                <a:lnTo>
                  <a:pt x="359537" y="119125"/>
                </a:lnTo>
                <a:lnTo>
                  <a:pt x="361569" y="122554"/>
                </a:lnTo>
                <a:lnTo>
                  <a:pt x="362585" y="126491"/>
                </a:lnTo>
                <a:lnTo>
                  <a:pt x="362585" y="139572"/>
                </a:lnTo>
                <a:lnTo>
                  <a:pt x="326136" y="157479"/>
                </a:lnTo>
                <a:lnTo>
                  <a:pt x="374564" y="157479"/>
                </a:lnTo>
                <a:lnTo>
                  <a:pt x="375285" y="156717"/>
                </a:lnTo>
                <a:lnTo>
                  <a:pt x="378680" y="150494"/>
                </a:lnTo>
                <a:lnTo>
                  <a:pt x="381762" y="145160"/>
                </a:lnTo>
                <a:lnTo>
                  <a:pt x="383413" y="138048"/>
                </a:lnTo>
                <a:lnTo>
                  <a:pt x="383413" y="123316"/>
                </a:lnTo>
                <a:lnTo>
                  <a:pt x="382270" y="117728"/>
                </a:lnTo>
                <a:lnTo>
                  <a:pt x="379733" y="112648"/>
                </a:lnTo>
                <a:lnTo>
                  <a:pt x="377444" y="107949"/>
                </a:lnTo>
                <a:lnTo>
                  <a:pt x="344551" y="82041"/>
                </a:lnTo>
                <a:lnTo>
                  <a:pt x="327279" y="73405"/>
                </a:lnTo>
                <a:lnTo>
                  <a:pt x="322834" y="70992"/>
                </a:lnTo>
                <a:lnTo>
                  <a:pt x="318262" y="68579"/>
                </a:lnTo>
                <a:lnTo>
                  <a:pt x="314452" y="66039"/>
                </a:lnTo>
                <a:lnTo>
                  <a:pt x="311277" y="63372"/>
                </a:lnTo>
                <a:lnTo>
                  <a:pt x="308102" y="60832"/>
                </a:lnTo>
                <a:lnTo>
                  <a:pt x="305689" y="57911"/>
                </a:lnTo>
                <a:lnTo>
                  <a:pt x="304038" y="54736"/>
                </a:lnTo>
                <a:lnTo>
                  <a:pt x="302514" y="51561"/>
                </a:lnTo>
                <a:lnTo>
                  <a:pt x="301625" y="47878"/>
                </a:lnTo>
                <a:lnTo>
                  <a:pt x="301625" y="38861"/>
                </a:lnTo>
                <a:lnTo>
                  <a:pt x="302768" y="34924"/>
                </a:lnTo>
                <a:lnTo>
                  <a:pt x="304927" y="31749"/>
                </a:lnTo>
                <a:lnTo>
                  <a:pt x="306959" y="28447"/>
                </a:lnTo>
                <a:lnTo>
                  <a:pt x="309753" y="25780"/>
                </a:lnTo>
                <a:lnTo>
                  <a:pt x="313182" y="23748"/>
                </a:lnTo>
                <a:lnTo>
                  <a:pt x="316484" y="21716"/>
                </a:lnTo>
                <a:lnTo>
                  <a:pt x="320421" y="20192"/>
                </a:lnTo>
                <a:lnTo>
                  <a:pt x="329057" y="18414"/>
                </a:lnTo>
                <a:lnTo>
                  <a:pt x="333375" y="17906"/>
                </a:lnTo>
                <a:lnTo>
                  <a:pt x="376301" y="17906"/>
                </a:lnTo>
                <a:lnTo>
                  <a:pt x="376301" y="5968"/>
                </a:lnTo>
                <a:lnTo>
                  <a:pt x="369728" y="3375"/>
                </a:lnTo>
                <a:lnTo>
                  <a:pt x="361442" y="1508"/>
                </a:lnTo>
                <a:lnTo>
                  <a:pt x="351440" y="379"/>
                </a:lnTo>
                <a:lnTo>
                  <a:pt x="339725" y="0"/>
                </a:lnTo>
                <a:close/>
              </a:path>
              <a:path w="383540" h="200660">
                <a:moveTo>
                  <a:pt x="376301" y="17906"/>
                </a:moveTo>
                <a:lnTo>
                  <a:pt x="337820" y="17906"/>
                </a:lnTo>
                <a:lnTo>
                  <a:pt x="349011" y="18569"/>
                </a:lnTo>
                <a:lnTo>
                  <a:pt x="359155" y="20542"/>
                </a:lnTo>
                <a:lnTo>
                  <a:pt x="368252" y="23800"/>
                </a:lnTo>
                <a:lnTo>
                  <a:pt x="376301" y="28320"/>
                </a:lnTo>
                <a:lnTo>
                  <a:pt x="376301" y="17906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5030227" y="3378467"/>
            <a:ext cx="1360858" cy="423180"/>
          </a:xfrm>
          <a:custGeom>
            <a:avLst/>
            <a:gdLst/>
            <a:ahLst/>
            <a:cxnLst/>
            <a:rect l="l" t="t" r="r" b="b"/>
            <a:pathLst>
              <a:path w="1850390" h="431800">
                <a:moveTo>
                  <a:pt x="0" y="431292"/>
                </a:moveTo>
                <a:lnTo>
                  <a:pt x="1850136" y="431292"/>
                </a:lnTo>
                <a:lnTo>
                  <a:pt x="1850136" y="0"/>
                </a:lnTo>
                <a:lnTo>
                  <a:pt x="0" y="0"/>
                </a:lnTo>
                <a:lnTo>
                  <a:pt x="0" y="431292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5264011" y="3478039"/>
            <a:ext cx="902725" cy="178607"/>
          </a:xfrm>
          <a:custGeom>
            <a:avLst/>
            <a:gdLst/>
            <a:ahLst/>
            <a:cxnLst/>
            <a:rect l="l" t="t" r="r" b="b"/>
            <a:pathLst>
              <a:path w="1227454" h="182245">
                <a:moveTo>
                  <a:pt x="26288" y="9779"/>
                </a:moveTo>
                <a:lnTo>
                  <a:pt x="0" y="9779"/>
                </a:lnTo>
                <a:lnTo>
                  <a:pt x="0" y="179450"/>
                </a:lnTo>
                <a:lnTo>
                  <a:pt x="19176" y="179450"/>
                </a:lnTo>
                <a:lnTo>
                  <a:pt x="19107" y="55070"/>
                </a:lnTo>
                <a:lnTo>
                  <a:pt x="18896" y="45720"/>
                </a:lnTo>
                <a:lnTo>
                  <a:pt x="18587" y="38496"/>
                </a:lnTo>
                <a:lnTo>
                  <a:pt x="18160" y="32638"/>
                </a:lnTo>
                <a:lnTo>
                  <a:pt x="36356" y="32638"/>
                </a:lnTo>
                <a:lnTo>
                  <a:pt x="26288" y="9779"/>
                </a:lnTo>
                <a:close/>
              </a:path>
              <a:path w="1227454" h="182245">
                <a:moveTo>
                  <a:pt x="36356" y="32638"/>
                </a:moveTo>
                <a:lnTo>
                  <a:pt x="18668" y="32638"/>
                </a:lnTo>
                <a:lnTo>
                  <a:pt x="20447" y="40386"/>
                </a:lnTo>
                <a:lnTo>
                  <a:pt x="22098" y="46227"/>
                </a:lnTo>
                <a:lnTo>
                  <a:pt x="23749" y="50037"/>
                </a:lnTo>
                <a:lnTo>
                  <a:pt x="81660" y="179450"/>
                </a:lnTo>
                <a:lnTo>
                  <a:pt x="91312" y="179450"/>
                </a:lnTo>
                <a:lnTo>
                  <a:pt x="105102" y="148462"/>
                </a:lnTo>
                <a:lnTo>
                  <a:pt x="86105" y="148462"/>
                </a:lnTo>
                <a:lnTo>
                  <a:pt x="84962" y="143891"/>
                </a:lnTo>
                <a:lnTo>
                  <a:pt x="82296" y="137160"/>
                </a:lnTo>
                <a:lnTo>
                  <a:pt x="78358" y="128016"/>
                </a:lnTo>
                <a:lnTo>
                  <a:pt x="36356" y="32638"/>
                </a:lnTo>
                <a:close/>
              </a:path>
              <a:path w="1227454" h="182245">
                <a:moveTo>
                  <a:pt x="172974" y="32638"/>
                </a:moveTo>
                <a:lnTo>
                  <a:pt x="154812" y="32638"/>
                </a:lnTo>
                <a:lnTo>
                  <a:pt x="154126" y="41995"/>
                </a:lnTo>
                <a:lnTo>
                  <a:pt x="153606" y="50625"/>
                </a:lnTo>
                <a:lnTo>
                  <a:pt x="153277" y="58517"/>
                </a:lnTo>
                <a:lnTo>
                  <a:pt x="153161" y="179450"/>
                </a:lnTo>
                <a:lnTo>
                  <a:pt x="172974" y="179450"/>
                </a:lnTo>
                <a:lnTo>
                  <a:pt x="172974" y="32638"/>
                </a:lnTo>
                <a:close/>
              </a:path>
              <a:path w="1227454" h="182245">
                <a:moveTo>
                  <a:pt x="172974" y="9779"/>
                </a:moveTo>
                <a:lnTo>
                  <a:pt x="148081" y="9779"/>
                </a:lnTo>
                <a:lnTo>
                  <a:pt x="94996" y="127635"/>
                </a:lnTo>
                <a:lnTo>
                  <a:pt x="92963" y="132207"/>
                </a:lnTo>
                <a:lnTo>
                  <a:pt x="90297" y="139064"/>
                </a:lnTo>
                <a:lnTo>
                  <a:pt x="86867" y="148462"/>
                </a:lnTo>
                <a:lnTo>
                  <a:pt x="105102" y="148462"/>
                </a:lnTo>
                <a:lnTo>
                  <a:pt x="149351" y="49022"/>
                </a:lnTo>
                <a:lnTo>
                  <a:pt x="150875" y="45720"/>
                </a:lnTo>
                <a:lnTo>
                  <a:pt x="152526" y="40259"/>
                </a:lnTo>
                <a:lnTo>
                  <a:pt x="154431" y="32638"/>
                </a:lnTo>
                <a:lnTo>
                  <a:pt x="172974" y="32638"/>
                </a:lnTo>
                <a:lnTo>
                  <a:pt x="172974" y="9779"/>
                </a:lnTo>
                <a:close/>
              </a:path>
              <a:path w="1227454" h="182245">
                <a:moveTo>
                  <a:pt x="228853" y="2286"/>
                </a:moveTo>
                <a:lnTo>
                  <a:pt x="221741" y="2286"/>
                </a:lnTo>
                <a:lnTo>
                  <a:pt x="218821" y="3556"/>
                </a:lnTo>
                <a:lnTo>
                  <a:pt x="213995" y="8382"/>
                </a:lnTo>
                <a:lnTo>
                  <a:pt x="212725" y="11302"/>
                </a:lnTo>
                <a:lnTo>
                  <a:pt x="212725" y="18542"/>
                </a:lnTo>
                <a:lnTo>
                  <a:pt x="213995" y="21589"/>
                </a:lnTo>
                <a:lnTo>
                  <a:pt x="216407" y="24002"/>
                </a:lnTo>
                <a:lnTo>
                  <a:pt x="218821" y="26288"/>
                </a:lnTo>
                <a:lnTo>
                  <a:pt x="221741" y="27559"/>
                </a:lnTo>
                <a:lnTo>
                  <a:pt x="228853" y="27559"/>
                </a:lnTo>
                <a:lnTo>
                  <a:pt x="237998" y="11302"/>
                </a:lnTo>
                <a:lnTo>
                  <a:pt x="236854" y="8382"/>
                </a:lnTo>
                <a:lnTo>
                  <a:pt x="231775" y="3556"/>
                </a:lnTo>
                <a:lnTo>
                  <a:pt x="228853" y="2286"/>
                </a:lnTo>
                <a:close/>
              </a:path>
              <a:path w="1227454" h="182245">
                <a:moveTo>
                  <a:pt x="234696" y="58293"/>
                </a:moveTo>
                <a:lnTo>
                  <a:pt x="215264" y="58293"/>
                </a:lnTo>
                <a:lnTo>
                  <a:pt x="215264" y="179450"/>
                </a:lnTo>
                <a:lnTo>
                  <a:pt x="234696" y="179450"/>
                </a:lnTo>
                <a:lnTo>
                  <a:pt x="234696" y="58293"/>
                </a:lnTo>
                <a:close/>
              </a:path>
              <a:path w="1227454" h="182245">
                <a:moveTo>
                  <a:pt x="321945" y="55372"/>
                </a:moveTo>
                <a:lnTo>
                  <a:pt x="281685" y="73533"/>
                </a:lnTo>
                <a:lnTo>
                  <a:pt x="266446" y="121666"/>
                </a:lnTo>
                <a:lnTo>
                  <a:pt x="267303" y="134949"/>
                </a:lnTo>
                <a:lnTo>
                  <a:pt x="287571" y="173083"/>
                </a:lnTo>
                <a:lnTo>
                  <a:pt x="316610" y="182245"/>
                </a:lnTo>
                <a:lnTo>
                  <a:pt x="329781" y="180790"/>
                </a:lnTo>
                <a:lnTo>
                  <a:pt x="341106" y="176418"/>
                </a:lnTo>
                <a:lnTo>
                  <a:pt x="350597" y="169118"/>
                </a:lnTo>
                <a:lnTo>
                  <a:pt x="352940" y="165988"/>
                </a:lnTo>
                <a:lnTo>
                  <a:pt x="322325" y="165988"/>
                </a:lnTo>
                <a:lnTo>
                  <a:pt x="314541" y="165227"/>
                </a:lnTo>
                <a:lnTo>
                  <a:pt x="286984" y="130686"/>
                </a:lnTo>
                <a:lnTo>
                  <a:pt x="286384" y="120776"/>
                </a:lnTo>
                <a:lnTo>
                  <a:pt x="287008" y="109892"/>
                </a:lnTo>
                <a:lnTo>
                  <a:pt x="308610" y="75009"/>
                </a:lnTo>
                <a:lnTo>
                  <a:pt x="324484" y="71755"/>
                </a:lnTo>
                <a:lnTo>
                  <a:pt x="355770" y="71755"/>
                </a:lnTo>
                <a:lnTo>
                  <a:pt x="351770" y="66462"/>
                </a:lnTo>
                <a:lnTo>
                  <a:pt x="343534" y="60309"/>
                </a:lnTo>
                <a:lnTo>
                  <a:pt x="333585" y="56608"/>
                </a:lnTo>
                <a:lnTo>
                  <a:pt x="321945" y="55372"/>
                </a:lnTo>
                <a:close/>
              </a:path>
              <a:path w="1227454" h="182245">
                <a:moveTo>
                  <a:pt x="378205" y="158876"/>
                </a:moveTo>
                <a:lnTo>
                  <a:pt x="358775" y="158876"/>
                </a:lnTo>
                <a:lnTo>
                  <a:pt x="358775" y="179450"/>
                </a:lnTo>
                <a:lnTo>
                  <a:pt x="378205" y="179450"/>
                </a:lnTo>
                <a:lnTo>
                  <a:pt x="378205" y="158876"/>
                </a:lnTo>
                <a:close/>
              </a:path>
              <a:path w="1227454" h="182245">
                <a:moveTo>
                  <a:pt x="355770" y="71755"/>
                </a:moveTo>
                <a:lnTo>
                  <a:pt x="324484" y="71755"/>
                </a:lnTo>
                <a:lnTo>
                  <a:pt x="331602" y="72395"/>
                </a:lnTo>
                <a:lnTo>
                  <a:pt x="338089" y="74310"/>
                </a:lnTo>
                <a:lnTo>
                  <a:pt x="358775" y="106807"/>
                </a:lnTo>
                <a:lnTo>
                  <a:pt x="358775" y="124587"/>
                </a:lnTo>
                <a:lnTo>
                  <a:pt x="336994" y="163036"/>
                </a:lnTo>
                <a:lnTo>
                  <a:pt x="322325" y="165988"/>
                </a:lnTo>
                <a:lnTo>
                  <a:pt x="352940" y="165988"/>
                </a:lnTo>
                <a:lnTo>
                  <a:pt x="358266" y="158876"/>
                </a:lnTo>
                <a:lnTo>
                  <a:pt x="378205" y="158876"/>
                </a:lnTo>
                <a:lnTo>
                  <a:pt x="378205" y="75057"/>
                </a:lnTo>
                <a:lnTo>
                  <a:pt x="358266" y="75057"/>
                </a:lnTo>
                <a:lnTo>
                  <a:pt x="355770" y="71755"/>
                </a:lnTo>
                <a:close/>
              </a:path>
              <a:path w="1227454" h="182245">
                <a:moveTo>
                  <a:pt x="378205" y="0"/>
                </a:moveTo>
                <a:lnTo>
                  <a:pt x="358775" y="0"/>
                </a:lnTo>
                <a:lnTo>
                  <a:pt x="358775" y="75057"/>
                </a:lnTo>
                <a:lnTo>
                  <a:pt x="378205" y="75057"/>
                </a:lnTo>
                <a:lnTo>
                  <a:pt x="378205" y="0"/>
                </a:lnTo>
                <a:close/>
              </a:path>
              <a:path w="1227454" h="182245">
                <a:moveTo>
                  <a:pt x="465200" y="55372"/>
                </a:moveTo>
                <a:lnTo>
                  <a:pt x="424941" y="73533"/>
                </a:lnTo>
                <a:lnTo>
                  <a:pt x="409701" y="121666"/>
                </a:lnTo>
                <a:lnTo>
                  <a:pt x="410559" y="134949"/>
                </a:lnTo>
                <a:lnTo>
                  <a:pt x="430827" y="173083"/>
                </a:lnTo>
                <a:lnTo>
                  <a:pt x="459866" y="182245"/>
                </a:lnTo>
                <a:lnTo>
                  <a:pt x="473037" y="180790"/>
                </a:lnTo>
                <a:lnTo>
                  <a:pt x="484362" y="176418"/>
                </a:lnTo>
                <a:lnTo>
                  <a:pt x="493853" y="169118"/>
                </a:lnTo>
                <a:lnTo>
                  <a:pt x="496196" y="165988"/>
                </a:lnTo>
                <a:lnTo>
                  <a:pt x="465581" y="165988"/>
                </a:lnTo>
                <a:lnTo>
                  <a:pt x="457797" y="165227"/>
                </a:lnTo>
                <a:lnTo>
                  <a:pt x="430240" y="130686"/>
                </a:lnTo>
                <a:lnTo>
                  <a:pt x="429640" y="120776"/>
                </a:lnTo>
                <a:lnTo>
                  <a:pt x="430264" y="109892"/>
                </a:lnTo>
                <a:lnTo>
                  <a:pt x="451866" y="75009"/>
                </a:lnTo>
                <a:lnTo>
                  <a:pt x="467740" y="71755"/>
                </a:lnTo>
                <a:lnTo>
                  <a:pt x="499026" y="71755"/>
                </a:lnTo>
                <a:lnTo>
                  <a:pt x="495026" y="66462"/>
                </a:lnTo>
                <a:lnTo>
                  <a:pt x="486790" y="60309"/>
                </a:lnTo>
                <a:lnTo>
                  <a:pt x="476841" y="56608"/>
                </a:lnTo>
                <a:lnTo>
                  <a:pt x="465200" y="55372"/>
                </a:lnTo>
                <a:close/>
              </a:path>
              <a:path w="1227454" h="182245">
                <a:moveTo>
                  <a:pt x="521461" y="158876"/>
                </a:moveTo>
                <a:lnTo>
                  <a:pt x="502030" y="158876"/>
                </a:lnTo>
                <a:lnTo>
                  <a:pt x="502030" y="179450"/>
                </a:lnTo>
                <a:lnTo>
                  <a:pt x="521461" y="179450"/>
                </a:lnTo>
                <a:lnTo>
                  <a:pt x="521461" y="158876"/>
                </a:lnTo>
                <a:close/>
              </a:path>
              <a:path w="1227454" h="182245">
                <a:moveTo>
                  <a:pt x="499026" y="71755"/>
                </a:moveTo>
                <a:lnTo>
                  <a:pt x="467740" y="71755"/>
                </a:lnTo>
                <a:lnTo>
                  <a:pt x="474858" y="72395"/>
                </a:lnTo>
                <a:lnTo>
                  <a:pt x="481345" y="74310"/>
                </a:lnTo>
                <a:lnTo>
                  <a:pt x="502030" y="106807"/>
                </a:lnTo>
                <a:lnTo>
                  <a:pt x="502030" y="124587"/>
                </a:lnTo>
                <a:lnTo>
                  <a:pt x="480250" y="163036"/>
                </a:lnTo>
                <a:lnTo>
                  <a:pt x="465581" y="165988"/>
                </a:lnTo>
                <a:lnTo>
                  <a:pt x="496196" y="165988"/>
                </a:lnTo>
                <a:lnTo>
                  <a:pt x="501523" y="158876"/>
                </a:lnTo>
                <a:lnTo>
                  <a:pt x="521461" y="158876"/>
                </a:lnTo>
                <a:lnTo>
                  <a:pt x="521461" y="75057"/>
                </a:lnTo>
                <a:lnTo>
                  <a:pt x="501523" y="75057"/>
                </a:lnTo>
                <a:lnTo>
                  <a:pt x="499026" y="71755"/>
                </a:lnTo>
                <a:close/>
              </a:path>
              <a:path w="1227454" h="182245">
                <a:moveTo>
                  <a:pt x="521461" y="0"/>
                </a:moveTo>
                <a:lnTo>
                  <a:pt x="502030" y="0"/>
                </a:lnTo>
                <a:lnTo>
                  <a:pt x="502030" y="75057"/>
                </a:lnTo>
                <a:lnTo>
                  <a:pt x="521461" y="75057"/>
                </a:lnTo>
                <a:lnTo>
                  <a:pt x="521461" y="0"/>
                </a:lnTo>
                <a:close/>
              </a:path>
              <a:path w="1227454" h="182245">
                <a:moveTo>
                  <a:pt x="580643" y="0"/>
                </a:moveTo>
                <a:lnTo>
                  <a:pt x="561212" y="0"/>
                </a:lnTo>
                <a:lnTo>
                  <a:pt x="561212" y="179450"/>
                </a:lnTo>
                <a:lnTo>
                  <a:pt x="580643" y="179450"/>
                </a:lnTo>
                <a:lnTo>
                  <a:pt x="580643" y="0"/>
                </a:lnTo>
                <a:close/>
              </a:path>
              <a:path w="1227454" h="182245">
                <a:moveTo>
                  <a:pt x="668274" y="55372"/>
                </a:moveTo>
                <a:lnTo>
                  <a:pt x="628523" y="73279"/>
                </a:lnTo>
                <a:lnTo>
                  <a:pt x="612393" y="119380"/>
                </a:lnTo>
                <a:lnTo>
                  <a:pt x="613320" y="133498"/>
                </a:lnTo>
                <a:lnTo>
                  <a:pt x="635148" y="172975"/>
                </a:lnTo>
                <a:lnTo>
                  <a:pt x="667384" y="182245"/>
                </a:lnTo>
                <a:lnTo>
                  <a:pt x="679886" y="181528"/>
                </a:lnTo>
                <a:lnTo>
                  <a:pt x="691102" y="179371"/>
                </a:lnTo>
                <a:lnTo>
                  <a:pt x="701032" y="175762"/>
                </a:lnTo>
                <a:lnTo>
                  <a:pt x="709676" y="170687"/>
                </a:lnTo>
                <a:lnTo>
                  <a:pt x="709676" y="165988"/>
                </a:lnTo>
                <a:lnTo>
                  <a:pt x="672083" y="165988"/>
                </a:lnTo>
                <a:lnTo>
                  <a:pt x="663438" y="165298"/>
                </a:lnTo>
                <a:lnTo>
                  <a:pt x="633416" y="133223"/>
                </a:lnTo>
                <a:lnTo>
                  <a:pt x="632586" y="123698"/>
                </a:lnTo>
                <a:lnTo>
                  <a:pt x="718057" y="123698"/>
                </a:lnTo>
                <a:lnTo>
                  <a:pt x="718057" y="113537"/>
                </a:lnTo>
                <a:lnTo>
                  <a:pt x="717669" y="107314"/>
                </a:lnTo>
                <a:lnTo>
                  <a:pt x="632840" y="107314"/>
                </a:lnTo>
                <a:lnTo>
                  <a:pt x="634364" y="99714"/>
                </a:lnTo>
                <a:lnTo>
                  <a:pt x="658749" y="71755"/>
                </a:lnTo>
                <a:lnTo>
                  <a:pt x="705705" y="71755"/>
                </a:lnTo>
                <a:lnTo>
                  <a:pt x="705103" y="70866"/>
                </a:lnTo>
                <a:lnTo>
                  <a:pt x="697884" y="64105"/>
                </a:lnTo>
                <a:lnTo>
                  <a:pt x="689355" y="59261"/>
                </a:lnTo>
                <a:lnTo>
                  <a:pt x="679493" y="56346"/>
                </a:lnTo>
                <a:lnTo>
                  <a:pt x="668274" y="55372"/>
                </a:lnTo>
                <a:close/>
              </a:path>
              <a:path w="1227454" h="182245">
                <a:moveTo>
                  <a:pt x="709676" y="152400"/>
                </a:moveTo>
                <a:lnTo>
                  <a:pt x="700891" y="158327"/>
                </a:lnTo>
                <a:lnTo>
                  <a:pt x="691689" y="162575"/>
                </a:lnTo>
                <a:lnTo>
                  <a:pt x="682083" y="165133"/>
                </a:lnTo>
                <a:lnTo>
                  <a:pt x="672083" y="165988"/>
                </a:lnTo>
                <a:lnTo>
                  <a:pt x="709676" y="165988"/>
                </a:lnTo>
                <a:lnTo>
                  <a:pt x="709676" y="152400"/>
                </a:lnTo>
                <a:close/>
              </a:path>
              <a:path w="1227454" h="182245">
                <a:moveTo>
                  <a:pt x="705705" y="71755"/>
                </a:moveTo>
                <a:lnTo>
                  <a:pt x="677417" y="71755"/>
                </a:lnTo>
                <a:lnTo>
                  <a:pt x="684783" y="74930"/>
                </a:lnTo>
                <a:lnTo>
                  <a:pt x="690117" y="81152"/>
                </a:lnTo>
                <a:lnTo>
                  <a:pt x="693620" y="86276"/>
                </a:lnTo>
                <a:lnTo>
                  <a:pt x="696134" y="92328"/>
                </a:lnTo>
                <a:lnTo>
                  <a:pt x="697672" y="99333"/>
                </a:lnTo>
                <a:lnTo>
                  <a:pt x="698246" y="107314"/>
                </a:lnTo>
                <a:lnTo>
                  <a:pt x="717669" y="107314"/>
                </a:lnTo>
                <a:lnTo>
                  <a:pt x="717248" y="100583"/>
                </a:lnTo>
                <a:lnTo>
                  <a:pt x="714819" y="89153"/>
                </a:lnTo>
                <a:lnTo>
                  <a:pt x="710771" y="79248"/>
                </a:lnTo>
                <a:lnTo>
                  <a:pt x="705705" y="71755"/>
                </a:lnTo>
                <a:close/>
              </a:path>
              <a:path w="1227454" h="182245">
                <a:moveTo>
                  <a:pt x="750697" y="58293"/>
                </a:moveTo>
                <a:lnTo>
                  <a:pt x="730376" y="58293"/>
                </a:lnTo>
                <a:lnTo>
                  <a:pt x="767079" y="179450"/>
                </a:lnTo>
                <a:lnTo>
                  <a:pt x="786510" y="179450"/>
                </a:lnTo>
                <a:lnTo>
                  <a:pt x="792474" y="160274"/>
                </a:lnTo>
                <a:lnTo>
                  <a:pt x="777493" y="160274"/>
                </a:lnTo>
                <a:lnTo>
                  <a:pt x="777112" y="155701"/>
                </a:lnTo>
                <a:lnTo>
                  <a:pt x="776604" y="152146"/>
                </a:lnTo>
                <a:lnTo>
                  <a:pt x="750697" y="58293"/>
                </a:lnTo>
                <a:close/>
              </a:path>
              <a:path w="1227454" h="182245">
                <a:moveTo>
                  <a:pt x="832595" y="81407"/>
                </a:moveTo>
                <a:lnTo>
                  <a:pt x="816482" y="81407"/>
                </a:lnTo>
                <a:lnTo>
                  <a:pt x="816863" y="85598"/>
                </a:lnTo>
                <a:lnTo>
                  <a:pt x="817499" y="89408"/>
                </a:lnTo>
                <a:lnTo>
                  <a:pt x="818387" y="92710"/>
                </a:lnTo>
                <a:lnTo>
                  <a:pt x="843406" y="179450"/>
                </a:lnTo>
                <a:lnTo>
                  <a:pt x="863473" y="179450"/>
                </a:lnTo>
                <a:lnTo>
                  <a:pt x="869145" y="160527"/>
                </a:lnTo>
                <a:lnTo>
                  <a:pt x="853058" y="160527"/>
                </a:lnTo>
                <a:lnTo>
                  <a:pt x="852677" y="156210"/>
                </a:lnTo>
                <a:lnTo>
                  <a:pt x="852170" y="152526"/>
                </a:lnTo>
                <a:lnTo>
                  <a:pt x="851280" y="149606"/>
                </a:lnTo>
                <a:lnTo>
                  <a:pt x="832595" y="81407"/>
                </a:lnTo>
                <a:close/>
              </a:path>
              <a:path w="1227454" h="182245">
                <a:moveTo>
                  <a:pt x="899795" y="58293"/>
                </a:moveTo>
                <a:lnTo>
                  <a:pt x="880617" y="58293"/>
                </a:lnTo>
                <a:lnTo>
                  <a:pt x="856106" y="149606"/>
                </a:lnTo>
                <a:lnTo>
                  <a:pt x="854836" y="153797"/>
                </a:lnTo>
                <a:lnTo>
                  <a:pt x="854201" y="157480"/>
                </a:lnTo>
                <a:lnTo>
                  <a:pt x="854075" y="160527"/>
                </a:lnTo>
                <a:lnTo>
                  <a:pt x="869145" y="160527"/>
                </a:lnTo>
                <a:lnTo>
                  <a:pt x="899795" y="58293"/>
                </a:lnTo>
                <a:close/>
              </a:path>
              <a:path w="1227454" h="182245">
                <a:moveTo>
                  <a:pt x="826261" y="58293"/>
                </a:moveTo>
                <a:lnTo>
                  <a:pt x="808481" y="58293"/>
                </a:lnTo>
                <a:lnTo>
                  <a:pt x="780541" y="149098"/>
                </a:lnTo>
                <a:lnTo>
                  <a:pt x="779399" y="153035"/>
                </a:lnTo>
                <a:lnTo>
                  <a:pt x="778636" y="156845"/>
                </a:lnTo>
                <a:lnTo>
                  <a:pt x="778382" y="160274"/>
                </a:lnTo>
                <a:lnTo>
                  <a:pt x="792474" y="160274"/>
                </a:lnTo>
                <a:lnTo>
                  <a:pt x="813561" y="92456"/>
                </a:lnTo>
                <a:lnTo>
                  <a:pt x="814958" y="88011"/>
                </a:lnTo>
                <a:lnTo>
                  <a:pt x="815848" y="84327"/>
                </a:lnTo>
                <a:lnTo>
                  <a:pt x="816101" y="81407"/>
                </a:lnTo>
                <a:lnTo>
                  <a:pt x="832595" y="81407"/>
                </a:lnTo>
                <a:lnTo>
                  <a:pt x="826261" y="58293"/>
                </a:lnTo>
                <a:close/>
              </a:path>
              <a:path w="1227454" h="182245">
                <a:moveTo>
                  <a:pt x="1001341" y="71755"/>
                </a:moveTo>
                <a:lnTo>
                  <a:pt x="964818" y="71755"/>
                </a:lnTo>
                <a:lnTo>
                  <a:pt x="975746" y="73683"/>
                </a:lnTo>
                <a:lnTo>
                  <a:pt x="983567" y="79470"/>
                </a:lnTo>
                <a:lnTo>
                  <a:pt x="988268" y="89114"/>
                </a:lnTo>
                <a:lnTo>
                  <a:pt x="989837" y="102616"/>
                </a:lnTo>
                <a:lnTo>
                  <a:pt x="953515" y="107696"/>
                </a:lnTo>
                <a:lnTo>
                  <a:pt x="936013" y="112242"/>
                </a:lnTo>
                <a:lnTo>
                  <a:pt x="923512" y="120348"/>
                </a:lnTo>
                <a:lnTo>
                  <a:pt x="916011" y="132002"/>
                </a:lnTo>
                <a:lnTo>
                  <a:pt x="913510" y="147193"/>
                </a:lnTo>
                <a:lnTo>
                  <a:pt x="914151" y="154771"/>
                </a:lnTo>
                <a:lnTo>
                  <a:pt x="943441" y="181649"/>
                </a:lnTo>
                <a:lnTo>
                  <a:pt x="951991" y="182245"/>
                </a:lnTo>
                <a:lnTo>
                  <a:pt x="963594" y="180887"/>
                </a:lnTo>
                <a:lnTo>
                  <a:pt x="973661" y="176815"/>
                </a:lnTo>
                <a:lnTo>
                  <a:pt x="982227" y="170029"/>
                </a:lnTo>
                <a:lnTo>
                  <a:pt x="985247" y="165988"/>
                </a:lnTo>
                <a:lnTo>
                  <a:pt x="949578" y="165988"/>
                </a:lnTo>
                <a:lnTo>
                  <a:pt x="943863" y="164084"/>
                </a:lnTo>
                <a:lnTo>
                  <a:pt x="939652" y="160256"/>
                </a:lnTo>
                <a:lnTo>
                  <a:pt x="935481" y="156591"/>
                </a:lnTo>
                <a:lnTo>
                  <a:pt x="933323" y="151764"/>
                </a:lnTo>
                <a:lnTo>
                  <a:pt x="933338" y="137630"/>
                </a:lnTo>
                <a:lnTo>
                  <a:pt x="935608" y="132080"/>
                </a:lnTo>
                <a:lnTo>
                  <a:pt x="940180" y="128905"/>
                </a:lnTo>
                <a:lnTo>
                  <a:pt x="944752" y="125602"/>
                </a:lnTo>
                <a:lnTo>
                  <a:pt x="951610" y="123444"/>
                </a:lnTo>
                <a:lnTo>
                  <a:pt x="989837" y="118110"/>
                </a:lnTo>
                <a:lnTo>
                  <a:pt x="1009141" y="118110"/>
                </a:lnTo>
                <a:lnTo>
                  <a:pt x="1009141" y="100584"/>
                </a:lnTo>
                <a:lnTo>
                  <a:pt x="1006474" y="80821"/>
                </a:lnTo>
                <a:lnTo>
                  <a:pt x="1001341" y="71755"/>
                </a:lnTo>
                <a:close/>
              </a:path>
              <a:path w="1227454" h="182245">
                <a:moveTo>
                  <a:pt x="1009141" y="160527"/>
                </a:moveTo>
                <a:lnTo>
                  <a:pt x="989837" y="160527"/>
                </a:lnTo>
                <a:lnTo>
                  <a:pt x="989837" y="179450"/>
                </a:lnTo>
                <a:lnTo>
                  <a:pt x="1009141" y="179450"/>
                </a:lnTo>
                <a:lnTo>
                  <a:pt x="1009141" y="160527"/>
                </a:lnTo>
                <a:close/>
              </a:path>
              <a:path w="1227454" h="182245">
                <a:moveTo>
                  <a:pt x="1009141" y="118110"/>
                </a:moveTo>
                <a:lnTo>
                  <a:pt x="989837" y="118110"/>
                </a:lnTo>
                <a:lnTo>
                  <a:pt x="989837" y="130175"/>
                </a:lnTo>
                <a:lnTo>
                  <a:pt x="989234" y="137668"/>
                </a:lnTo>
                <a:lnTo>
                  <a:pt x="956563" y="165988"/>
                </a:lnTo>
                <a:lnTo>
                  <a:pt x="985247" y="165988"/>
                </a:lnTo>
                <a:lnTo>
                  <a:pt x="989329" y="160527"/>
                </a:lnTo>
                <a:lnTo>
                  <a:pt x="1009141" y="160527"/>
                </a:lnTo>
                <a:lnTo>
                  <a:pt x="1009141" y="118110"/>
                </a:lnTo>
                <a:close/>
              </a:path>
              <a:path w="1227454" h="182245">
                <a:moveTo>
                  <a:pt x="966470" y="55372"/>
                </a:moveTo>
                <a:lnTo>
                  <a:pt x="955182" y="56086"/>
                </a:lnTo>
                <a:lnTo>
                  <a:pt x="944562" y="58229"/>
                </a:lnTo>
                <a:lnTo>
                  <a:pt x="934608" y="61801"/>
                </a:lnTo>
                <a:lnTo>
                  <a:pt x="925322" y="66801"/>
                </a:lnTo>
                <a:lnTo>
                  <a:pt x="925322" y="86613"/>
                </a:lnTo>
                <a:lnTo>
                  <a:pt x="934368" y="80113"/>
                </a:lnTo>
                <a:lnTo>
                  <a:pt x="943975" y="75469"/>
                </a:lnTo>
                <a:lnTo>
                  <a:pt x="954129" y="72683"/>
                </a:lnTo>
                <a:lnTo>
                  <a:pt x="964818" y="71755"/>
                </a:lnTo>
                <a:lnTo>
                  <a:pt x="1001341" y="71755"/>
                </a:lnTo>
                <a:lnTo>
                  <a:pt x="998473" y="66690"/>
                </a:lnTo>
                <a:lnTo>
                  <a:pt x="985138" y="58203"/>
                </a:lnTo>
                <a:lnTo>
                  <a:pt x="966470" y="55372"/>
                </a:lnTo>
                <a:close/>
              </a:path>
              <a:path w="1227454" h="182245">
                <a:moveTo>
                  <a:pt x="1065276" y="58293"/>
                </a:moveTo>
                <a:lnTo>
                  <a:pt x="1045845" y="58293"/>
                </a:lnTo>
                <a:lnTo>
                  <a:pt x="1045845" y="179450"/>
                </a:lnTo>
                <a:lnTo>
                  <a:pt x="1065276" y="179450"/>
                </a:lnTo>
                <a:lnTo>
                  <a:pt x="1065276" y="117729"/>
                </a:lnTo>
                <a:lnTo>
                  <a:pt x="1065799" y="108084"/>
                </a:lnTo>
                <a:lnTo>
                  <a:pt x="1067371" y="99536"/>
                </a:lnTo>
                <a:lnTo>
                  <a:pt x="1069990" y="92082"/>
                </a:lnTo>
                <a:lnTo>
                  <a:pt x="1073657" y="85725"/>
                </a:lnTo>
                <a:lnTo>
                  <a:pt x="1075460" y="83185"/>
                </a:lnTo>
                <a:lnTo>
                  <a:pt x="1065276" y="83185"/>
                </a:lnTo>
                <a:lnTo>
                  <a:pt x="1065276" y="58293"/>
                </a:lnTo>
                <a:close/>
              </a:path>
              <a:path w="1227454" h="182245">
                <a:moveTo>
                  <a:pt x="1102486" y="56134"/>
                </a:moveTo>
                <a:lnTo>
                  <a:pt x="1090422" y="56134"/>
                </a:lnTo>
                <a:lnTo>
                  <a:pt x="1084072" y="58547"/>
                </a:lnTo>
                <a:lnTo>
                  <a:pt x="1072768" y="68072"/>
                </a:lnTo>
                <a:lnTo>
                  <a:pt x="1068577" y="74675"/>
                </a:lnTo>
                <a:lnTo>
                  <a:pt x="1065783" y="83185"/>
                </a:lnTo>
                <a:lnTo>
                  <a:pt x="1075460" y="83185"/>
                </a:lnTo>
                <a:lnTo>
                  <a:pt x="1079246" y="77850"/>
                </a:lnTo>
                <a:lnTo>
                  <a:pt x="1086103" y="74041"/>
                </a:lnTo>
                <a:lnTo>
                  <a:pt x="1109090" y="74041"/>
                </a:lnTo>
                <a:lnTo>
                  <a:pt x="1109090" y="57785"/>
                </a:lnTo>
                <a:lnTo>
                  <a:pt x="1106424" y="56642"/>
                </a:lnTo>
                <a:lnTo>
                  <a:pt x="1102486" y="56134"/>
                </a:lnTo>
                <a:close/>
              </a:path>
              <a:path w="1227454" h="182245">
                <a:moveTo>
                  <a:pt x="1109090" y="74041"/>
                </a:moveTo>
                <a:lnTo>
                  <a:pt x="1100835" y="74041"/>
                </a:lnTo>
                <a:lnTo>
                  <a:pt x="1105661" y="75311"/>
                </a:lnTo>
                <a:lnTo>
                  <a:pt x="1109090" y="77850"/>
                </a:lnTo>
                <a:lnTo>
                  <a:pt x="1109090" y="74041"/>
                </a:lnTo>
                <a:close/>
              </a:path>
              <a:path w="1227454" h="182245">
                <a:moveTo>
                  <a:pt x="1177289" y="55372"/>
                </a:moveTo>
                <a:lnTo>
                  <a:pt x="1137538" y="73279"/>
                </a:lnTo>
                <a:lnTo>
                  <a:pt x="1121409" y="119380"/>
                </a:lnTo>
                <a:lnTo>
                  <a:pt x="1122336" y="133498"/>
                </a:lnTo>
                <a:lnTo>
                  <a:pt x="1144164" y="172975"/>
                </a:lnTo>
                <a:lnTo>
                  <a:pt x="1176401" y="182245"/>
                </a:lnTo>
                <a:lnTo>
                  <a:pt x="1188902" y="181528"/>
                </a:lnTo>
                <a:lnTo>
                  <a:pt x="1200118" y="179371"/>
                </a:lnTo>
                <a:lnTo>
                  <a:pt x="1210048" y="175762"/>
                </a:lnTo>
                <a:lnTo>
                  <a:pt x="1218691" y="170687"/>
                </a:lnTo>
                <a:lnTo>
                  <a:pt x="1218691" y="165988"/>
                </a:lnTo>
                <a:lnTo>
                  <a:pt x="1181100" y="165988"/>
                </a:lnTo>
                <a:lnTo>
                  <a:pt x="1172454" y="165298"/>
                </a:lnTo>
                <a:lnTo>
                  <a:pt x="1142432" y="133223"/>
                </a:lnTo>
                <a:lnTo>
                  <a:pt x="1141602" y="123698"/>
                </a:lnTo>
                <a:lnTo>
                  <a:pt x="1227074" y="123698"/>
                </a:lnTo>
                <a:lnTo>
                  <a:pt x="1227074" y="113537"/>
                </a:lnTo>
                <a:lnTo>
                  <a:pt x="1226685" y="107314"/>
                </a:lnTo>
                <a:lnTo>
                  <a:pt x="1141856" y="107314"/>
                </a:lnTo>
                <a:lnTo>
                  <a:pt x="1143380" y="99714"/>
                </a:lnTo>
                <a:lnTo>
                  <a:pt x="1167764" y="71755"/>
                </a:lnTo>
                <a:lnTo>
                  <a:pt x="1214721" y="71755"/>
                </a:lnTo>
                <a:lnTo>
                  <a:pt x="1214120" y="70866"/>
                </a:lnTo>
                <a:lnTo>
                  <a:pt x="1206900" y="64105"/>
                </a:lnTo>
                <a:lnTo>
                  <a:pt x="1198372" y="59261"/>
                </a:lnTo>
                <a:lnTo>
                  <a:pt x="1188509" y="56346"/>
                </a:lnTo>
                <a:lnTo>
                  <a:pt x="1177289" y="55372"/>
                </a:lnTo>
                <a:close/>
              </a:path>
              <a:path w="1227454" h="182245">
                <a:moveTo>
                  <a:pt x="1218691" y="152400"/>
                </a:moveTo>
                <a:lnTo>
                  <a:pt x="1209907" y="158327"/>
                </a:lnTo>
                <a:lnTo>
                  <a:pt x="1200705" y="162575"/>
                </a:lnTo>
                <a:lnTo>
                  <a:pt x="1191099" y="165133"/>
                </a:lnTo>
                <a:lnTo>
                  <a:pt x="1181100" y="165988"/>
                </a:lnTo>
                <a:lnTo>
                  <a:pt x="1218691" y="165988"/>
                </a:lnTo>
                <a:lnTo>
                  <a:pt x="1218691" y="152400"/>
                </a:lnTo>
                <a:close/>
              </a:path>
              <a:path w="1227454" h="182245">
                <a:moveTo>
                  <a:pt x="1214721" y="71755"/>
                </a:moveTo>
                <a:lnTo>
                  <a:pt x="1186433" y="71755"/>
                </a:lnTo>
                <a:lnTo>
                  <a:pt x="1193800" y="74930"/>
                </a:lnTo>
                <a:lnTo>
                  <a:pt x="1199133" y="81152"/>
                </a:lnTo>
                <a:lnTo>
                  <a:pt x="1202636" y="86276"/>
                </a:lnTo>
                <a:lnTo>
                  <a:pt x="1205150" y="92328"/>
                </a:lnTo>
                <a:lnTo>
                  <a:pt x="1206688" y="99333"/>
                </a:lnTo>
                <a:lnTo>
                  <a:pt x="1207261" y="107314"/>
                </a:lnTo>
                <a:lnTo>
                  <a:pt x="1226685" y="107314"/>
                </a:lnTo>
                <a:lnTo>
                  <a:pt x="1226264" y="100583"/>
                </a:lnTo>
                <a:lnTo>
                  <a:pt x="1223835" y="89153"/>
                </a:lnTo>
                <a:lnTo>
                  <a:pt x="1219787" y="79248"/>
                </a:lnTo>
                <a:lnTo>
                  <a:pt x="1214721" y="71755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5030227" y="4385136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90" h="429895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194334" y="4484086"/>
            <a:ext cx="1021812" cy="178607"/>
          </a:xfrm>
          <a:custGeom>
            <a:avLst/>
            <a:gdLst/>
            <a:ahLst/>
            <a:cxnLst/>
            <a:rect l="l" t="t" r="r" b="b"/>
            <a:pathLst>
              <a:path w="1389379" h="182245">
                <a:moveTo>
                  <a:pt x="22098" y="9778"/>
                </a:moveTo>
                <a:lnTo>
                  <a:pt x="0" y="9778"/>
                </a:lnTo>
                <a:lnTo>
                  <a:pt x="61468" y="179450"/>
                </a:lnTo>
                <a:lnTo>
                  <a:pt x="83439" y="179450"/>
                </a:lnTo>
                <a:lnTo>
                  <a:pt x="90905" y="159257"/>
                </a:lnTo>
                <a:lnTo>
                  <a:pt x="72517" y="159257"/>
                </a:lnTo>
                <a:lnTo>
                  <a:pt x="71754" y="153542"/>
                </a:lnTo>
                <a:lnTo>
                  <a:pt x="70612" y="148589"/>
                </a:lnTo>
                <a:lnTo>
                  <a:pt x="68999" y="144017"/>
                </a:lnTo>
                <a:lnTo>
                  <a:pt x="22098" y="9778"/>
                </a:lnTo>
                <a:close/>
              </a:path>
              <a:path w="1389379" h="182245">
                <a:moveTo>
                  <a:pt x="146176" y="9778"/>
                </a:moveTo>
                <a:lnTo>
                  <a:pt x="124841" y="9778"/>
                </a:lnTo>
                <a:lnTo>
                  <a:pt x="76746" y="144271"/>
                </a:lnTo>
                <a:lnTo>
                  <a:pt x="74929" y="149478"/>
                </a:lnTo>
                <a:lnTo>
                  <a:pt x="73659" y="154558"/>
                </a:lnTo>
                <a:lnTo>
                  <a:pt x="73025" y="159257"/>
                </a:lnTo>
                <a:lnTo>
                  <a:pt x="90905" y="159257"/>
                </a:lnTo>
                <a:lnTo>
                  <a:pt x="146176" y="9778"/>
                </a:lnTo>
                <a:close/>
              </a:path>
              <a:path w="1389379" h="182245">
                <a:moveTo>
                  <a:pt x="181864" y="2285"/>
                </a:moveTo>
                <a:lnTo>
                  <a:pt x="174878" y="2285"/>
                </a:lnTo>
                <a:lnTo>
                  <a:pt x="171830" y="3428"/>
                </a:lnTo>
                <a:lnTo>
                  <a:pt x="167004" y="8254"/>
                </a:lnTo>
                <a:lnTo>
                  <a:pt x="165734" y="11302"/>
                </a:lnTo>
                <a:lnTo>
                  <a:pt x="165734" y="18541"/>
                </a:lnTo>
                <a:lnTo>
                  <a:pt x="167004" y="21589"/>
                </a:lnTo>
                <a:lnTo>
                  <a:pt x="169418" y="23875"/>
                </a:lnTo>
                <a:lnTo>
                  <a:pt x="171830" y="26288"/>
                </a:lnTo>
                <a:lnTo>
                  <a:pt x="174878" y="27431"/>
                </a:lnTo>
                <a:lnTo>
                  <a:pt x="181864" y="27431"/>
                </a:lnTo>
                <a:lnTo>
                  <a:pt x="184912" y="26288"/>
                </a:lnTo>
                <a:lnTo>
                  <a:pt x="187325" y="23748"/>
                </a:lnTo>
                <a:lnTo>
                  <a:pt x="189865" y="21335"/>
                </a:lnTo>
                <a:lnTo>
                  <a:pt x="191079" y="18541"/>
                </a:lnTo>
                <a:lnTo>
                  <a:pt x="191134" y="11302"/>
                </a:lnTo>
                <a:lnTo>
                  <a:pt x="189865" y="8254"/>
                </a:lnTo>
                <a:lnTo>
                  <a:pt x="187325" y="5841"/>
                </a:lnTo>
                <a:lnTo>
                  <a:pt x="184912" y="3428"/>
                </a:lnTo>
                <a:lnTo>
                  <a:pt x="181864" y="2285"/>
                </a:lnTo>
                <a:close/>
              </a:path>
              <a:path w="1389379" h="182245">
                <a:moveTo>
                  <a:pt x="187832" y="58292"/>
                </a:moveTo>
                <a:lnTo>
                  <a:pt x="168401" y="58292"/>
                </a:lnTo>
                <a:lnTo>
                  <a:pt x="168401" y="179450"/>
                </a:lnTo>
                <a:lnTo>
                  <a:pt x="187832" y="179450"/>
                </a:lnTo>
                <a:lnTo>
                  <a:pt x="187832" y="58292"/>
                </a:lnTo>
                <a:close/>
              </a:path>
              <a:path w="1389379" h="182245">
                <a:moveTo>
                  <a:pt x="247269" y="58292"/>
                </a:moveTo>
                <a:lnTo>
                  <a:pt x="227838" y="58292"/>
                </a:lnTo>
                <a:lnTo>
                  <a:pt x="227838" y="179450"/>
                </a:lnTo>
                <a:lnTo>
                  <a:pt x="247269" y="179450"/>
                </a:lnTo>
                <a:lnTo>
                  <a:pt x="247269" y="117601"/>
                </a:lnTo>
                <a:lnTo>
                  <a:pt x="247773" y="108031"/>
                </a:lnTo>
                <a:lnTo>
                  <a:pt x="249300" y="99520"/>
                </a:lnTo>
                <a:lnTo>
                  <a:pt x="251876" y="92080"/>
                </a:lnTo>
                <a:lnTo>
                  <a:pt x="255524" y="85724"/>
                </a:lnTo>
                <a:lnTo>
                  <a:pt x="257326" y="83184"/>
                </a:lnTo>
                <a:lnTo>
                  <a:pt x="247269" y="83184"/>
                </a:lnTo>
                <a:lnTo>
                  <a:pt x="247269" y="58292"/>
                </a:lnTo>
                <a:close/>
              </a:path>
              <a:path w="1389379" h="182245">
                <a:moveTo>
                  <a:pt x="284479" y="56133"/>
                </a:moveTo>
                <a:lnTo>
                  <a:pt x="272415" y="56133"/>
                </a:lnTo>
                <a:lnTo>
                  <a:pt x="266065" y="58546"/>
                </a:lnTo>
                <a:lnTo>
                  <a:pt x="260350" y="63245"/>
                </a:lnTo>
                <a:lnTo>
                  <a:pt x="254634" y="68071"/>
                </a:lnTo>
                <a:lnTo>
                  <a:pt x="250444" y="74675"/>
                </a:lnTo>
                <a:lnTo>
                  <a:pt x="247650" y="83184"/>
                </a:lnTo>
                <a:lnTo>
                  <a:pt x="257326" y="83184"/>
                </a:lnTo>
                <a:lnTo>
                  <a:pt x="261112" y="77850"/>
                </a:lnTo>
                <a:lnTo>
                  <a:pt x="267970" y="74040"/>
                </a:lnTo>
                <a:lnTo>
                  <a:pt x="290956" y="74040"/>
                </a:lnTo>
                <a:lnTo>
                  <a:pt x="290956" y="57784"/>
                </a:lnTo>
                <a:lnTo>
                  <a:pt x="288290" y="56641"/>
                </a:lnTo>
                <a:lnTo>
                  <a:pt x="284479" y="56133"/>
                </a:lnTo>
                <a:close/>
              </a:path>
              <a:path w="1389379" h="182245">
                <a:moveTo>
                  <a:pt x="290956" y="74040"/>
                </a:moveTo>
                <a:lnTo>
                  <a:pt x="282701" y="74040"/>
                </a:lnTo>
                <a:lnTo>
                  <a:pt x="287654" y="75310"/>
                </a:lnTo>
                <a:lnTo>
                  <a:pt x="290956" y="77850"/>
                </a:lnTo>
                <a:lnTo>
                  <a:pt x="290956" y="74040"/>
                </a:lnTo>
                <a:close/>
              </a:path>
              <a:path w="1389379" h="182245">
                <a:moveTo>
                  <a:pt x="337312" y="74802"/>
                </a:moveTo>
                <a:lnTo>
                  <a:pt x="317880" y="74802"/>
                </a:lnTo>
                <a:lnTo>
                  <a:pt x="317880" y="146557"/>
                </a:lnTo>
                <a:lnTo>
                  <a:pt x="319879" y="162059"/>
                </a:lnTo>
                <a:lnTo>
                  <a:pt x="325866" y="173132"/>
                </a:lnTo>
                <a:lnTo>
                  <a:pt x="335829" y="179776"/>
                </a:lnTo>
                <a:lnTo>
                  <a:pt x="349757" y="181990"/>
                </a:lnTo>
                <a:lnTo>
                  <a:pt x="357250" y="181990"/>
                </a:lnTo>
                <a:lnTo>
                  <a:pt x="363220" y="180720"/>
                </a:lnTo>
                <a:lnTo>
                  <a:pt x="367792" y="178180"/>
                </a:lnTo>
                <a:lnTo>
                  <a:pt x="367792" y="165734"/>
                </a:lnTo>
                <a:lnTo>
                  <a:pt x="348742" y="165734"/>
                </a:lnTo>
                <a:lnTo>
                  <a:pt x="344170" y="163956"/>
                </a:lnTo>
                <a:lnTo>
                  <a:pt x="338708" y="156971"/>
                </a:lnTo>
                <a:lnTo>
                  <a:pt x="337312" y="151256"/>
                </a:lnTo>
                <a:lnTo>
                  <a:pt x="337312" y="74802"/>
                </a:lnTo>
                <a:close/>
              </a:path>
              <a:path w="1389379" h="182245">
                <a:moveTo>
                  <a:pt x="367792" y="161670"/>
                </a:moveTo>
                <a:lnTo>
                  <a:pt x="364235" y="164337"/>
                </a:lnTo>
                <a:lnTo>
                  <a:pt x="360045" y="165734"/>
                </a:lnTo>
                <a:lnTo>
                  <a:pt x="367792" y="165734"/>
                </a:lnTo>
                <a:lnTo>
                  <a:pt x="367792" y="161670"/>
                </a:lnTo>
                <a:close/>
              </a:path>
              <a:path w="1389379" h="182245">
                <a:moveTo>
                  <a:pt x="367792" y="58292"/>
                </a:moveTo>
                <a:lnTo>
                  <a:pt x="297052" y="58292"/>
                </a:lnTo>
                <a:lnTo>
                  <a:pt x="297052" y="74802"/>
                </a:lnTo>
                <a:lnTo>
                  <a:pt x="367792" y="74802"/>
                </a:lnTo>
                <a:lnTo>
                  <a:pt x="367792" y="58292"/>
                </a:lnTo>
                <a:close/>
              </a:path>
              <a:path w="1389379" h="182245">
                <a:moveTo>
                  <a:pt x="337312" y="22351"/>
                </a:moveTo>
                <a:lnTo>
                  <a:pt x="317880" y="28701"/>
                </a:lnTo>
                <a:lnTo>
                  <a:pt x="317880" y="58292"/>
                </a:lnTo>
                <a:lnTo>
                  <a:pt x="337312" y="58292"/>
                </a:lnTo>
                <a:lnTo>
                  <a:pt x="337312" y="22351"/>
                </a:lnTo>
                <a:close/>
              </a:path>
              <a:path w="1389379" h="182245">
                <a:moveTo>
                  <a:pt x="410591" y="58292"/>
                </a:moveTo>
                <a:lnTo>
                  <a:pt x="391287" y="58292"/>
                </a:lnTo>
                <a:lnTo>
                  <a:pt x="391287" y="130682"/>
                </a:lnTo>
                <a:lnTo>
                  <a:pt x="393999" y="153259"/>
                </a:lnTo>
                <a:lnTo>
                  <a:pt x="402129" y="169370"/>
                </a:lnTo>
                <a:lnTo>
                  <a:pt x="415665" y="179028"/>
                </a:lnTo>
                <a:lnTo>
                  <a:pt x="434594" y="182244"/>
                </a:lnTo>
                <a:lnTo>
                  <a:pt x="446430" y="180865"/>
                </a:lnTo>
                <a:lnTo>
                  <a:pt x="456612" y="176736"/>
                </a:lnTo>
                <a:lnTo>
                  <a:pt x="465151" y="169868"/>
                </a:lnTo>
                <a:lnTo>
                  <a:pt x="468035" y="165861"/>
                </a:lnTo>
                <a:lnTo>
                  <a:pt x="439927" y="165861"/>
                </a:lnTo>
                <a:lnTo>
                  <a:pt x="427093" y="163478"/>
                </a:lnTo>
                <a:lnTo>
                  <a:pt x="417925" y="156321"/>
                </a:lnTo>
                <a:lnTo>
                  <a:pt x="412424" y="144377"/>
                </a:lnTo>
                <a:lnTo>
                  <a:pt x="410632" y="128015"/>
                </a:lnTo>
                <a:lnTo>
                  <a:pt x="410591" y="58292"/>
                </a:lnTo>
                <a:close/>
              </a:path>
              <a:path w="1389379" h="182245">
                <a:moveTo>
                  <a:pt x="491871" y="160273"/>
                </a:moveTo>
                <a:lnTo>
                  <a:pt x="472440" y="160273"/>
                </a:lnTo>
                <a:lnTo>
                  <a:pt x="472440" y="179450"/>
                </a:lnTo>
                <a:lnTo>
                  <a:pt x="491871" y="179450"/>
                </a:lnTo>
                <a:lnTo>
                  <a:pt x="491871" y="160273"/>
                </a:lnTo>
                <a:close/>
              </a:path>
              <a:path w="1389379" h="182245">
                <a:moveTo>
                  <a:pt x="491871" y="58292"/>
                </a:moveTo>
                <a:lnTo>
                  <a:pt x="472440" y="58292"/>
                </a:lnTo>
                <a:lnTo>
                  <a:pt x="472440" y="128015"/>
                </a:lnTo>
                <a:lnTo>
                  <a:pt x="471868" y="136088"/>
                </a:lnTo>
                <a:lnTo>
                  <a:pt x="446740" y="165217"/>
                </a:lnTo>
                <a:lnTo>
                  <a:pt x="439927" y="165861"/>
                </a:lnTo>
                <a:lnTo>
                  <a:pt x="468035" y="165861"/>
                </a:lnTo>
                <a:lnTo>
                  <a:pt x="472058" y="160273"/>
                </a:lnTo>
                <a:lnTo>
                  <a:pt x="491871" y="160273"/>
                </a:lnTo>
                <a:lnTo>
                  <a:pt x="491871" y="58292"/>
                </a:lnTo>
                <a:close/>
              </a:path>
              <a:path w="1389379" h="182245">
                <a:moveTo>
                  <a:pt x="610043" y="71754"/>
                </a:moveTo>
                <a:lnTo>
                  <a:pt x="573404" y="71754"/>
                </a:lnTo>
                <a:lnTo>
                  <a:pt x="584332" y="73683"/>
                </a:lnTo>
                <a:lnTo>
                  <a:pt x="592153" y="79470"/>
                </a:lnTo>
                <a:lnTo>
                  <a:pt x="596854" y="89114"/>
                </a:lnTo>
                <a:lnTo>
                  <a:pt x="598424" y="102615"/>
                </a:lnTo>
                <a:lnTo>
                  <a:pt x="562101" y="107695"/>
                </a:lnTo>
                <a:lnTo>
                  <a:pt x="544599" y="112242"/>
                </a:lnTo>
                <a:lnTo>
                  <a:pt x="532098" y="120348"/>
                </a:lnTo>
                <a:lnTo>
                  <a:pt x="524597" y="132002"/>
                </a:lnTo>
                <a:lnTo>
                  <a:pt x="522097" y="147192"/>
                </a:lnTo>
                <a:lnTo>
                  <a:pt x="522739" y="154715"/>
                </a:lnTo>
                <a:lnTo>
                  <a:pt x="552136" y="181647"/>
                </a:lnTo>
                <a:lnTo>
                  <a:pt x="560704" y="182244"/>
                </a:lnTo>
                <a:lnTo>
                  <a:pt x="572252" y="180887"/>
                </a:lnTo>
                <a:lnTo>
                  <a:pt x="582310" y="176815"/>
                </a:lnTo>
                <a:lnTo>
                  <a:pt x="590869" y="170029"/>
                </a:lnTo>
                <a:lnTo>
                  <a:pt x="593960" y="165861"/>
                </a:lnTo>
                <a:lnTo>
                  <a:pt x="558165" y="165861"/>
                </a:lnTo>
                <a:lnTo>
                  <a:pt x="552576" y="164083"/>
                </a:lnTo>
                <a:lnTo>
                  <a:pt x="544068" y="156590"/>
                </a:lnTo>
                <a:lnTo>
                  <a:pt x="541908" y="151764"/>
                </a:lnTo>
                <a:lnTo>
                  <a:pt x="541945" y="137576"/>
                </a:lnTo>
                <a:lnTo>
                  <a:pt x="598424" y="118109"/>
                </a:lnTo>
                <a:lnTo>
                  <a:pt x="617854" y="118109"/>
                </a:lnTo>
                <a:lnTo>
                  <a:pt x="617854" y="100583"/>
                </a:lnTo>
                <a:lnTo>
                  <a:pt x="615186" y="80821"/>
                </a:lnTo>
                <a:lnTo>
                  <a:pt x="610043" y="71754"/>
                </a:lnTo>
                <a:close/>
              </a:path>
              <a:path w="1389379" h="182245">
                <a:moveTo>
                  <a:pt x="617854" y="160527"/>
                </a:moveTo>
                <a:lnTo>
                  <a:pt x="598424" y="160527"/>
                </a:lnTo>
                <a:lnTo>
                  <a:pt x="598424" y="179450"/>
                </a:lnTo>
                <a:lnTo>
                  <a:pt x="617854" y="179450"/>
                </a:lnTo>
                <a:lnTo>
                  <a:pt x="617854" y="160527"/>
                </a:lnTo>
                <a:close/>
              </a:path>
              <a:path w="1389379" h="182245">
                <a:moveTo>
                  <a:pt x="617854" y="118109"/>
                </a:moveTo>
                <a:lnTo>
                  <a:pt x="598424" y="118109"/>
                </a:lnTo>
                <a:lnTo>
                  <a:pt x="598424" y="130174"/>
                </a:lnTo>
                <a:lnTo>
                  <a:pt x="597830" y="137576"/>
                </a:lnTo>
                <a:lnTo>
                  <a:pt x="565150" y="165861"/>
                </a:lnTo>
                <a:lnTo>
                  <a:pt x="593960" y="165861"/>
                </a:lnTo>
                <a:lnTo>
                  <a:pt x="597916" y="160527"/>
                </a:lnTo>
                <a:lnTo>
                  <a:pt x="617854" y="160527"/>
                </a:lnTo>
                <a:lnTo>
                  <a:pt x="617854" y="118109"/>
                </a:lnTo>
                <a:close/>
              </a:path>
              <a:path w="1389379" h="182245">
                <a:moveTo>
                  <a:pt x="575055" y="55371"/>
                </a:moveTo>
                <a:lnTo>
                  <a:pt x="563768" y="56086"/>
                </a:lnTo>
                <a:lnTo>
                  <a:pt x="553148" y="58229"/>
                </a:lnTo>
                <a:lnTo>
                  <a:pt x="543194" y="61801"/>
                </a:lnTo>
                <a:lnTo>
                  <a:pt x="533907" y="66801"/>
                </a:lnTo>
                <a:lnTo>
                  <a:pt x="533907" y="86613"/>
                </a:lnTo>
                <a:lnTo>
                  <a:pt x="543008" y="80113"/>
                </a:lnTo>
                <a:lnTo>
                  <a:pt x="552608" y="75469"/>
                </a:lnTo>
                <a:lnTo>
                  <a:pt x="562733" y="72683"/>
                </a:lnTo>
                <a:lnTo>
                  <a:pt x="573404" y="71754"/>
                </a:lnTo>
                <a:lnTo>
                  <a:pt x="610043" y="71754"/>
                </a:lnTo>
                <a:lnTo>
                  <a:pt x="607171" y="66690"/>
                </a:lnTo>
                <a:lnTo>
                  <a:pt x="593798" y="58203"/>
                </a:lnTo>
                <a:lnTo>
                  <a:pt x="575055" y="55371"/>
                </a:lnTo>
                <a:close/>
              </a:path>
              <a:path w="1389379" h="182245">
                <a:moveTo>
                  <a:pt x="673989" y="0"/>
                </a:moveTo>
                <a:lnTo>
                  <a:pt x="654557" y="0"/>
                </a:lnTo>
                <a:lnTo>
                  <a:pt x="654557" y="179450"/>
                </a:lnTo>
                <a:lnTo>
                  <a:pt x="673989" y="179450"/>
                </a:lnTo>
                <a:lnTo>
                  <a:pt x="673989" y="0"/>
                </a:lnTo>
                <a:close/>
              </a:path>
              <a:path w="1389379" h="182245">
                <a:moveTo>
                  <a:pt x="727455" y="2285"/>
                </a:moveTo>
                <a:lnTo>
                  <a:pt x="720471" y="2285"/>
                </a:lnTo>
                <a:lnTo>
                  <a:pt x="717423" y="3428"/>
                </a:lnTo>
                <a:lnTo>
                  <a:pt x="712597" y="8254"/>
                </a:lnTo>
                <a:lnTo>
                  <a:pt x="711326" y="11302"/>
                </a:lnTo>
                <a:lnTo>
                  <a:pt x="711326" y="18541"/>
                </a:lnTo>
                <a:lnTo>
                  <a:pt x="712597" y="21589"/>
                </a:lnTo>
                <a:lnTo>
                  <a:pt x="715009" y="23875"/>
                </a:lnTo>
                <a:lnTo>
                  <a:pt x="717423" y="26288"/>
                </a:lnTo>
                <a:lnTo>
                  <a:pt x="720471" y="27431"/>
                </a:lnTo>
                <a:lnTo>
                  <a:pt x="727455" y="27431"/>
                </a:lnTo>
                <a:lnTo>
                  <a:pt x="730503" y="26288"/>
                </a:lnTo>
                <a:lnTo>
                  <a:pt x="732917" y="23748"/>
                </a:lnTo>
                <a:lnTo>
                  <a:pt x="735456" y="21335"/>
                </a:lnTo>
                <a:lnTo>
                  <a:pt x="736671" y="18541"/>
                </a:lnTo>
                <a:lnTo>
                  <a:pt x="736726" y="11302"/>
                </a:lnTo>
                <a:lnTo>
                  <a:pt x="735456" y="8254"/>
                </a:lnTo>
                <a:lnTo>
                  <a:pt x="732917" y="5841"/>
                </a:lnTo>
                <a:lnTo>
                  <a:pt x="730503" y="3428"/>
                </a:lnTo>
                <a:lnTo>
                  <a:pt x="727455" y="2285"/>
                </a:lnTo>
                <a:close/>
              </a:path>
              <a:path w="1389379" h="182245">
                <a:moveTo>
                  <a:pt x="733425" y="58292"/>
                </a:moveTo>
                <a:lnTo>
                  <a:pt x="713994" y="58292"/>
                </a:lnTo>
                <a:lnTo>
                  <a:pt x="713994" y="179450"/>
                </a:lnTo>
                <a:lnTo>
                  <a:pt x="733425" y="179450"/>
                </a:lnTo>
                <a:lnTo>
                  <a:pt x="733425" y="58292"/>
                </a:lnTo>
                <a:close/>
              </a:path>
              <a:path w="1389379" h="182245">
                <a:moveTo>
                  <a:pt x="857884" y="58292"/>
                </a:moveTo>
                <a:lnTo>
                  <a:pt x="764413" y="58292"/>
                </a:lnTo>
                <a:lnTo>
                  <a:pt x="764413" y="74802"/>
                </a:lnTo>
                <a:lnTo>
                  <a:pt x="829309" y="74802"/>
                </a:lnTo>
                <a:lnTo>
                  <a:pt x="757681" y="173354"/>
                </a:lnTo>
                <a:lnTo>
                  <a:pt x="757681" y="179450"/>
                </a:lnTo>
                <a:lnTo>
                  <a:pt x="857123" y="179450"/>
                </a:lnTo>
                <a:lnTo>
                  <a:pt x="857123" y="162813"/>
                </a:lnTo>
                <a:lnTo>
                  <a:pt x="786129" y="162813"/>
                </a:lnTo>
                <a:lnTo>
                  <a:pt x="857884" y="63753"/>
                </a:lnTo>
                <a:lnTo>
                  <a:pt x="857884" y="58292"/>
                </a:lnTo>
                <a:close/>
              </a:path>
              <a:path w="1389379" h="182245">
                <a:moveTo>
                  <a:pt x="962087" y="71754"/>
                </a:moveTo>
                <a:lnTo>
                  <a:pt x="925449" y="71754"/>
                </a:lnTo>
                <a:lnTo>
                  <a:pt x="936376" y="73683"/>
                </a:lnTo>
                <a:lnTo>
                  <a:pt x="944197" y="79470"/>
                </a:lnTo>
                <a:lnTo>
                  <a:pt x="948898" y="89114"/>
                </a:lnTo>
                <a:lnTo>
                  <a:pt x="950468" y="102615"/>
                </a:lnTo>
                <a:lnTo>
                  <a:pt x="914146" y="107695"/>
                </a:lnTo>
                <a:lnTo>
                  <a:pt x="896643" y="112242"/>
                </a:lnTo>
                <a:lnTo>
                  <a:pt x="884142" y="120348"/>
                </a:lnTo>
                <a:lnTo>
                  <a:pt x="876641" y="132002"/>
                </a:lnTo>
                <a:lnTo>
                  <a:pt x="874141" y="147192"/>
                </a:lnTo>
                <a:lnTo>
                  <a:pt x="874783" y="154715"/>
                </a:lnTo>
                <a:lnTo>
                  <a:pt x="904180" y="181647"/>
                </a:lnTo>
                <a:lnTo>
                  <a:pt x="912749" y="182244"/>
                </a:lnTo>
                <a:lnTo>
                  <a:pt x="924296" y="180887"/>
                </a:lnTo>
                <a:lnTo>
                  <a:pt x="934354" y="176815"/>
                </a:lnTo>
                <a:lnTo>
                  <a:pt x="942913" y="170029"/>
                </a:lnTo>
                <a:lnTo>
                  <a:pt x="946004" y="165861"/>
                </a:lnTo>
                <a:lnTo>
                  <a:pt x="910208" y="165861"/>
                </a:lnTo>
                <a:lnTo>
                  <a:pt x="904621" y="164083"/>
                </a:lnTo>
                <a:lnTo>
                  <a:pt x="896112" y="156590"/>
                </a:lnTo>
                <a:lnTo>
                  <a:pt x="893952" y="151764"/>
                </a:lnTo>
                <a:lnTo>
                  <a:pt x="893989" y="137576"/>
                </a:lnTo>
                <a:lnTo>
                  <a:pt x="950468" y="118109"/>
                </a:lnTo>
                <a:lnTo>
                  <a:pt x="969899" y="118109"/>
                </a:lnTo>
                <a:lnTo>
                  <a:pt x="969899" y="100583"/>
                </a:lnTo>
                <a:lnTo>
                  <a:pt x="967230" y="80821"/>
                </a:lnTo>
                <a:lnTo>
                  <a:pt x="962087" y="71754"/>
                </a:lnTo>
                <a:close/>
              </a:path>
              <a:path w="1389379" h="182245">
                <a:moveTo>
                  <a:pt x="969899" y="160527"/>
                </a:moveTo>
                <a:lnTo>
                  <a:pt x="950468" y="160527"/>
                </a:lnTo>
                <a:lnTo>
                  <a:pt x="950468" y="179450"/>
                </a:lnTo>
                <a:lnTo>
                  <a:pt x="969899" y="179450"/>
                </a:lnTo>
                <a:lnTo>
                  <a:pt x="969899" y="160527"/>
                </a:lnTo>
                <a:close/>
              </a:path>
              <a:path w="1389379" h="182245">
                <a:moveTo>
                  <a:pt x="969899" y="118109"/>
                </a:moveTo>
                <a:lnTo>
                  <a:pt x="950468" y="118109"/>
                </a:lnTo>
                <a:lnTo>
                  <a:pt x="950468" y="130174"/>
                </a:lnTo>
                <a:lnTo>
                  <a:pt x="949874" y="137576"/>
                </a:lnTo>
                <a:lnTo>
                  <a:pt x="917194" y="165861"/>
                </a:lnTo>
                <a:lnTo>
                  <a:pt x="946004" y="165861"/>
                </a:lnTo>
                <a:lnTo>
                  <a:pt x="949959" y="160527"/>
                </a:lnTo>
                <a:lnTo>
                  <a:pt x="969899" y="160527"/>
                </a:lnTo>
                <a:lnTo>
                  <a:pt x="969899" y="118109"/>
                </a:lnTo>
                <a:close/>
              </a:path>
              <a:path w="1389379" h="182245">
                <a:moveTo>
                  <a:pt x="927100" y="55371"/>
                </a:moveTo>
                <a:lnTo>
                  <a:pt x="915812" y="56086"/>
                </a:lnTo>
                <a:lnTo>
                  <a:pt x="905192" y="58229"/>
                </a:lnTo>
                <a:lnTo>
                  <a:pt x="895238" y="61801"/>
                </a:lnTo>
                <a:lnTo>
                  <a:pt x="885951" y="66801"/>
                </a:lnTo>
                <a:lnTo>
                  <a:pt x="885951" y="86613"/>
                </a:lnTo>
                <a:lnTo>
                  <a:pt x="895052" y="80113"/>
                </a:lnTo>
                <a:lnTo>
                  <a:pt x="904652" y="75469"/>
                </a:lnTo>
                <a:lnTo>
                  <a:pt x="914777" y="72683"/>
                </a:lnTo>
                <a:lnTo>
                  <a:pt x="925449" y="71754"/>
                </a:lnTo>
                <a:lnTo>
                  <a:pt x="962087" y="71754"/>
                </a:lnTo>
                <a:lnTo>
                  <a:pt x="959215" y="66690"/>
                </a:lnTo>
                <a:lnTo>
                  <a:pt x="945842" y="58203"/>
                </a:lnTo>
                <a:lnTo>
                  <a:pt x="927100" y="55371"/>
                </a:lnTo>
                <a:close/>
              </a:path>
              <a:path w="1389379" h="182245">
                <a:moveTo>
                  <a:pt x="1032255" y="74802"/>
                </a:moveTo>
                <a:lnTo>
                  <a:pt x="1012825" y="74802"/>
                </a:lnTo>
                <a:lnTo>
                  <a:pt x="1012825" y="146557"/>
                </a:lnTo>
                <a:lnTo>
                  <a:pt x="1014823" y="162059"/>
                </a:lnTo>
                <a:lnTo>
                  <a:pt x="1020810" y="173132"/>
                </a:lnTo>
                <a:lnTo>
                  <a:pt x="1030773" y="179776"/>
                </a:lnTo>
                <a:lnTo>
                  <a:pt x="1044701" y="181990"/>
                </a:lnTo>
                <a:lnTo>
                  <a:pt x="1052195" y="181990"/>
                </a:lnTo>
                <a:lnTo>
                  <a:pt x="1058164" y="180720"/>
                </a:lnTo>
                <a:lnTo>
                  <a:pt x="1062735" y="178180"/>
                </a:lnTo>
                <a:lnTo>
                  <a:pt x="1062735" y="165734"/>
                </a:lnTo>
                <a:lnTo>
                  <a:pt x="1043685" y="165734"/>
                </a:lnTo>
                <a:lnTo>
                  <a:pt x="1039114" y="163956"/>
                </a:lnTo>
                <a:lnTo>
                  <a:pt x="1033652" y="156971"/>
                </a:lnTo>
                <a:lnTo>
                  <a:pt x="1032255" y="151256"/>
                </a:lnTo>
                <a:lnTo>
                  <a:pt x="1032255" y="74802"/>
                </a:lnTo>
                <a:close/>
              </a:path>
              <a:path w="1389379" h="182245">
                <a:moveTo>
                  <a:pt x="1062735" y="161670"/>
                </a:moveTo>
                <a:lnTo>
                  <a:pt x="1059179" y="164337"/>
                </a:lnTo>
                <a:lnTo>
                  <a:pt x="1054989" y="165734"/>
                </a:lnTo>
                <a:lnTo>
                  <a:pt x="1062735" y="165734"/>
                </a:lnTo>
                <a:lnTo>
                  <a:pt x="1062735" y="161670"/>
                </a:lnTo>
                <a:close/>
              </a:path>
              <a:path w="1389379" h="182245">
                <a:moveTo>
                  <a:pt x="1062735" y="58292"/>
                </a:moveTo>
                <a:lnTo>
                  <a:pt x="991997" y="58292"/>
                </a:lnTo>
                <a:lnTo>
                  <a:pt x="991997" y="74802"/>
                </a:lnTo>
                <a:lnTo>
                  <a:pt x="1062735" y="74802"/>
                </a:lnTo>
                <a:lnTo>
                  <a:pt x="1062735" y="58292"/>
                </a:lnTo>
                <a:close/>
              </a:path>
              <a:path w="1389379" h="182245">
                <a:moveTo>
                  <a:pt x="1032255" y="22351"/>
                </a:moveTo>
                <a:lnTo>
                  <a:pt x="1012825" y="28701"/>
                </a:lnTo>
                <a:lnTo>
                  <a:pt x="1012825" y="58292"/>
                </a:lnTo>
                <a:lnTo>
                  <a:pt x="1032255" y="58292"/>
                </a:lnTo>
                <a:lnTo>
                  <a:pt x="1032255" y="22351"/>
                </a:lnTo>
                <a:close/>
              </a:path>
              <a:path w="1389379" h="182245">
                <a:moveTo>
                  <a:pt x="1102359" y="2285"/>
                </a:moveTo>
                <a:lnTo>
                  <a:pt x="1095375" y="2285"/>
                </a:lnTo>
                <a:lnTo>
                  <a:pt x="1092327" y="3428"/>
                </a:lnTo>
                <a:lnTo>
                  <a:pt x="1087501" y="8254"/>
                </a:lnTo>
                <a:lnTo>
                  <a:pt x="1086230" y="11302"/>
                </a:lnTo>
                <a:lnTo>
                  <a:pt x="1086230" y="18541"/>
                </a:lnTo>
                <a:lnTo>
                  <a:pt x="1087501" y="21589"/>
                </a:lnTo>
                <a:lnTo>
                  <a:pt x="1089914" y="23875"/>
                </a:lnTo>
                <a:lnTo>
                  <a:pt x="1092327" y="26288"/>
                </a:lnTo>
                <a:lnTo>
                  <a:pt x="1095375" y="27431"/>
                </a:lnTo>
                <a:lnTo>
                  <a:pt x="1102359" y="27431"/>
                </a:lnTo>
                <a:lnTo>
                  <a:pt x="1105407" y="26288"/>
                </a:lnTo>
                <a:lnTo>
                  <a:pt x="1107821" y="23748"/>
                </a:lnTo>
                <a:lnTo>
                  <a:pt x="1110360" y="21335"/>
                </a:lnTo>
                <a:lnTo>
                  <a:pt x="1111575" y="18541"/>
                </a:lnTo>
                <a:lnTo>
                  <a:pt x="1111630" y="11302"/>
                </a:lnTo>
                <a:lnTo>
                  <a:pt x="1110360" y="8254"/>
                </a:lnTo>
                <a:lnTo>
                  <a:pt x="1107821" y="5841"/>
                </a:lnTo>
                <a:lnTo>
                  <a:pt x="1105407" y="3428"/>
                </a:lnTo>
                <a:lnTo>
                  <a:pt x="1102359" y="2285"/>
                </a:lnTo>
                <a:close/>
              </a:path>
              <a:path w="1389379" h="182245">
                <a:moveTo>
                  <a:pt x="1108328" y="58292"/>
                </a:moveTo>
                <a:lnTo>
                  <a:pt x="1088898" y="58292"/>
                </a:lnTo>
                <a:lnTo>
                  <a:pt x="1088898" y="179450"/>
                </a:lnTo>
                <a:lnTo>
                  <a:pt x="1108328" y="179450"/>
                </a:lnTo>
                <a:lnTo>
                  <a:pt x="1108328" y="58292"/>
                </a:lnTo>
                <a:close/>
              </a:path>
              <a:path w="1389379" h="182245">
                <a:moveTo>
                  <a:pt x="1201801" y="55371"/>
                </a:moveTo>
                <a:lnTo>
                  <a:pt x="1156695" y="72542"/>
                </a:lnTo>
                <a:lnTo>
                  <a:pt x="1140078" y="120268"/>
                </a:lnTo>
                <a:lnTo>
                  <a:pt x="1141079" y="133580"/>
                </a:lnTo>
                <a:lnTo>
                  <a:pt x="1164750" y="172654"/>
                </a:lnTo>
                <a:lnTo>
                  <a:pt x="1198879" y="182244"/>
                </a:lnTo>
                <a:lnTo>
                  <a:pt x="1211998" y="181151"/>
                </a:lnTo>
                <a:lnTo>
                  <a:pt x="1223724" y="177879"/>
                </a:lnTo>
                <a:lnTo>
                  <a:pt x="1234045" y="172440"/>
                </a:lnTo>
                <a:lnTo>
                  <a:pt x="1241757" y="165861"/>
                </a:lnTo>
                <a:lnTo>
                  <a:pt x="1200403" y="165861"/>
                </a:lnTo>
                <a:lnTo>
                  <a:pt x="1191621" y="165098"/>
                </a:lnTo>
                <a:lnTo>
                  <a:pt x="1162653" y="138763"/>
                </a:lnTo>
                <a:lnTo>
                  <a:pt x="1159942" y="120268"/>
                </a:lnTo>
                <a:lnTo>
                  <a:pt x="1159965" y="118363"/>
                </a:lnTo>
                <a:lnTo>
                  <a:pt x="1176740" y="78880"/>
                </a:lnTo>
                <a:lnTo>
                  <a:pt x="1200403" y="71754"/>
                </a:lnTo>
                <a:lnTo>
                  <a:pt x="1243657" y="71754"/>
                </a:lnTo>
                <a:lnTo>
                  <a:pt x="1235733" y="64801"/>
                </a:lnTo>
                <a:lnTo>
                  <a:pt x="1225899" y="59562"/>
                </a:lnTo>
                <a:lnTo>
                  <a:pt x="1214588" y="56419"/>
                </a:lnTo>
                <a:lnTo>
                  <a:pt x="1201801" y="55371"/>
                </a:lnTo>
                <a:close/>
              </a:path>
              <a:path w="1389379" h="182245">
                <a:moveTo>
                  <a:pt x="1243657" y="71754"/>
                </a:moveTo>
                <a:lnTo>
                  <a:pt x="1200403" y="71754"/>
                </a:lnTo>
                <a:lnTo>
                  <a:pt x="1209189" y="72516"/>
                </a:lnTo>
                <a:lnTo>
                  <a:pt x="1216961" y="74818"/>
                </a:lnTo>
                <a:lnTo>
                  <a:pt x="1238769" y="108309"/>
                </a:lnTo>
                <a:lnTo>
                  <a:pt x="1239355" y="118363"/>
                </a:lnTo>
                <a:lnTo>
                  <a:pt x="1239318" y="120268"/>
                </a:lnTo>
                <a:lnTo>
                  <a:pt x="1223639" y="159003"/>
                </a:lnTo>
                <a:lnTo>
                  <a:pt x="1200403" y="165861"/>
                </a:lnTo>
                <a:lnTo>
                  <a:pt x="1241757" y="165861"/>
                </a:lnTo>
                <a:lnTo>
                  <a:pt x="1259331" y="118363"/>
                </a:lnTo>
                <a:lnTo>
                  <a:pt x="1258379" y="104390"/>
                </a:lnTo>
                <a:lnTo>
                  <a:pt x="1255522" y="92011"/>
                </a:lnTo>
                <a:lnTo>
                  <a:pt x="1250759" y="81252"/>
                </a:lnTo>
                <a:lnTo>
                  <a:pt x="1244092" y="72135"/>
                </a:lnTo>
                <a:lnTo>
                  <a:pt x="1243657" y="71754"/>
                </a:lnTo>
                <a:close/>
              </a:path>
              <a:path w="1389379" h="182245">
                <a:moveTo>
                  <a:pt x="1307973" y="58292"/>
                </a:moveTo>
                <a:lnTo>
                  <a:pt x="1288542" y="58292"/>
                </a:lnTo>
                <a:lnTo>
                  <a:pt x="1288542" y="179450"/>
                </a:lnTo>
                <a:lnTo>
                  <a:pt x="1307973" y="179450"/>
                </a:lnTo>
                <a:lnTo>
                  <a:pt x="1307973" y="110362"/>
                </a:lnTo>
                <a:lnTo>
                  <a:pt x="1308568" y="102340"/>
                </a:lnTo>
                <a:lnTo>
                  <a:pt x="1310354" y="95043"/>
                </a:lnTo>
                <a:lnTo>
                  <a:pt x="1313330" y="88485"/>
                </a:lnTo>
                <a:lnTo>
                  <a:pt x="1317498" y="82676"/>
                </a:lnTo>
                <a:lnTo>
                  <a:pt x="1322098" y="78358"/>
                </a:lnTo>
                <a:lnTo>
                  <a:pt x="1307973" y="78358"/>
                </a:lnTo>
                <a:lnTo>
                  <a:pt x="1307973" y="58292"/>
                </a:lnTo>
                <a:close/>
              </a:path>
              <a:path w="1389379" h="182245">
                <a:moveTo>
                  <a:pt x="1380863" y="71754"/>
                </a:moveTo>
                <a:lnTo>
                  <a:pt x="1341501" y="71754"/>
                </a:lnTo>
                <a:lnTo>
                  <a:pt x="1353835" y="74162"/>
                </a:lnTo>
                <a:lnTo>
                  <a:pt x="1362646" y="81391"/>
                </a:lnTo>
                <a:lnTo>
                  <a:pt x="1367932" y="93454"/>
                </a:lnTo>
                <a:lnTo>
                  <a:pt x="1369695" y="110362"/>
                </a:lnTo>
                <a:lnTo>
                  <a:pt x="1369695" y="179450"/>
                </a:lnTo>
                <a:lnTo>
                  <a:pt x="1389126" y="179450"/>
                </a:lnTo>
                <a:lnTo>
                  <a:pt x="1389126" y="105282"/>
                </a:lnTo>
                <a:lnTo>
                  <a:pt x="1388461" y="93898"/>
                </a:lnTo>
                <a:lnTo>
                  <a:pt x="1386474" y="83931"/>
                </a:lnTo>
                <a:lnTo>
                  <a:pt x="1383178" y="75368"/>
                </a:lnTo>
                <a:lnTo>
                  <a:pt x="1380863" y="71754"/>
                </a:lnTo>
                <a:close/>
              </a:path>
              <a:path w="1389379" h="182245">
                <a:moveTo>
                  <a:pt x="1348104" y="55371"/>
                </a:moveTo>
                <a:lnTo>
                  <a:pt x="1335893" y="56802"/>
                </a:lnTo>
                <a:lnTo>
                  <a:pt x="1325181" y="61102"/>
                </a:lnTo>
                <a:lnTo>
                  <a:pt x="1315993" y="68284"/>
                </a:lnTo>
                <a:lnTo>
                  <a:pt x="1308353" y="78358"/>
                </a:lnTo>
                <a:lnTo>
                  <a:pt x="1322098" y="78358"/>
                </a:lnTo>
                <a:lnTo>
                  <a:pt x="1322570" y="77916"/>
                </a:lnTo>
                <a:lnTo>
                  <a:pt x="1328261" y="74501"/>
                </a:lnTo>
                <a:lnTo>
                  <a:pt x="1334571" y="72443"/>
                </a:lnTo>
                <a:lnTo>
                  <a:pt x="1341501" y="71754"/>
                </a:lnTo>
                <a:lnTo>
                  <a:pt x="1380863" y="71754"/>
                </a:lnTo>
                <a:lnTo>
                  <a:pt x="1378584" y="68198"/>
                </a:lnTo>
                <a:lnTo>
                  <a:pt x="1372697" y="62605"/>
                </a:lnTo>
                <a:lnTo>
                  <a:pt x="1365678" y="58594"/>
                </a:lnTo>
                <a:lnTo>
                  <a:pt x="1357493" y="56179"/>
                </a:lnTo>
                <a:lnTo>
                  <a:pt x="1348104" y="55371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5030227" y="1869956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90" h="429894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D73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5227678" y="1969030"/>
            <a:ext cx="959700" cy="230882"/>
          </a:xfrm>
          <a:custGeom>
            <a:avLst/>
            <a:gdLst/>
            <a:ahLst/>
            <a:cxnLst/>
            <a:rect l="l" t="t" r="r" b="b"/>
            <a:pathLst>
              <a:path w="1304925" h="235585">
                <a:moveTo>
                  <a:pt x="85598" y="9779"/>
                </a:moveTo>
                <a:lnTo>
                  <a:pt x="65024" y="9779"/>
                </a:lnTo>
                <a:lnTo>
                  <a:pt x="0" y="179450"/>
                </a:lnTo>
                <a:lnTo>
                  <a:pt x="22098" y="179450"/>
                </a:lnTo>
                <a:lnTo>
                  <a:pt x="38988" y="131825"/>
                </a:lnTo>
                <a:lnTo>
                  <a:pt x="132553" y="131825"/>
                </a:lnTo>
                <a:lnTo>
                  <a:pt x="125663" y="113919"/>
                </a:lnTo>
                <a:lnTo>
                  <a:pt x="45592" y="113919"/>
                </a:lnTo>
                <a:lnTo>
                  <a:pt x="72008" y="41656"/>
                </a:lnTo>
                <a:lnTo>
                  <a:pt x="73025" y="38989"/>
                </a:lnTo>
                <a:lnTo>
                  <a:pt x="73913" y="35179"/>
                </a:lnTo>
                <a:lnTo>
                  <a:pt x="74675" y="30353"/>
                </a:lnTo>
                <a:lnTo>
                  <a:pt x="93513" y="30353"/>
                </a:lnTo>
                <a:lnTo>
                  <a:pt x="85598" y="9779"/>
                </a:lnTo>
                <a:close/>
              </a:path>
              <a:path w="1304925" h="235585">
                <a:moveTo>
                  <a:pt x="132553" y="131825"/>
                </a:moveTo>
                <a:lnTo>
                  <a:pt x="110870" y="131825"/>
                </a:lnTo>
                <a:lnTo>
                  <a:pt x="128904" y="179450"/>
                </a:lnTo>
                <a:lnTo>
                  <a:pt x="150875" y="179450"/>
                </a:lnTo>
                <a:lnTo>
                  <a:pt x="132553" y="131825"/>
                </a:lnTo>
                <a:close/>
              </a:path>
              <a:path w="1304925" h="235585">
                <a:moveTo>
                  <a:pt x="93513" y="30353"/>
                </a:moveTo>
                <a:lnTo>
                  <a:pt x="75183" y="30353"/>
                </a:lnTo>
                <a:lnTo>
                  <a:pt x="76073" y="35560"/>
                </a:lnTo>
                <a:lnTo>
                  <a:pt x="76961" y="39370"/>
                </a:lnTo>
                <a:lnTo>
                  <a:pt x="77850" y="41656"/>
                </a:lnTo>
                <a:lnTo>
                  <a:pt x="104393" y="113919"/>
                </a:lnTo>
                <a:lnTo>
                  <a:pt x="125663" y="113919"/>
                </a:lnTo>
                <a:lnTo>
                  <a:pt x="93513" y="30353"/>
                </a:lnTo>
                <a:close/>
              </a:path>
              <a:path w="1304925" h="235585">
                <a:moveTo>
                  <a:pt x="193420" y="58293"/>
                </a:moveTo>
                <a:lnTo>
                  <a:pt x="173989" y="58293"/>
                </a:lnTo>
                <a:lnTo>
                  <a:pt x="173989" y="235077"/>
                </a:lnTo>
                <a:lnTo>
                  <a:pt x="193420" y="235077"/>
                </a:lnTo>
                <a:lnTo>
                  <a:pt x="193420" y="161925"/>
                </a:lnTo>
                <a:lnTo>
                  <a:pt x="211787" y="161925"/>
                </a:lnTo>
                <a:lnTo>
                  <a:pt x="193420" y="129921"/>
                </a:lnTo>
                <a:lnTo>
                  <a:pt x="193420" y="113030"/>
                </a:lnTo>
                <a:lnTo>
                  <a:pt x="208073" y="79502"/>
                </a:lnTo>
                <a:lnTo>
                  <a:pt x="193420" y="79502"/>
                </a:lnTo>
                <a:lnTo>
                  <a:pt x="193420" y="58293"/>
                </a:lnTo>
                <a:close/>
              </a:path>
              <a:path w="1304925" h="235585">
                <a:moveTo>
                  <a:pt x="211787" y="161925"/>
                </a:moveTo>
                <a:lnTo>
                  <a:pt x="193801" y="161925"/>
                </a:lnTo>
                <a:lnTo>
                  <a:pt x="200870" y="170832"/>
                </a:lnTo>
                <a:lnTo>
                  <a:pt x="209296" y="177180"/>
                </a:lnTo>
                <a:lnTo>
                  <a:pt x="219055" y="180980"/>
                </a:lnTo>
                <a:lnTo>
                  <a:pt x="230124" y="182245"/>
                </a:lnTo>
                <a:lnTo>
                  <a:pt x="242294" y="181101"/>
                </a:lnTo>
                <a:lnTo>
                  <a:pt x="253095" y="177673"/>
                </a:lnTo>
                <a:lnTo>
                  <a:pt x="262538" y="171958"/>
                </a:lnTo>
                <a:lnTo>
                  <a:pt x="268708" y="165862"/>
                </a:lnTo>
                <a:lnTo>
                  <a:pt x="227964" y="165862"/>
                </a:lnTo>
                <a:lnTo>
                  <a:pt x="220771" y="165217"/>
                </a:lnTo>
                <a:lnTo>
                  <a:pt x="214233" y="163274"/>
                </a:lnTo>
                <a:lnTo>
                  <a:pt x="211787" y="161925"/>
                </a:lnTo>
                <a:close/>
              </a:path>
              <a:path w="1304925" h="235585">
                <a:moveTo>
                  <a:pt x="272370" y="71755"/>
                </a:moveTo>
                <a:lnTo>
                  <a:pt x="230885" y="71755"/>
                </a:lnTo>
                <a:lnTo>
                  <a:pt x="238460" y="72469"/>
                </a:lnTo>
                <a:lnTo>
                  <a:pt x="245189" y="74612"/>
                </a:lnTo>
                <a:lnTo>
                  <a:pt x="265438" y="113030"/>
                </a:lnTo>
                <a:lnTo>
                  <a:pt x="265536" y="115316"/>
                </a:lnTo>
                <a:lnTo>
                  <a:pt x="264935" y="126271"/>
                </a:lnTo>
                <a:lnTo>
                  <a:pt x="243649" y="162512"/>
                </a:lnTo>
                <a:lnTo>
                  <a:pt x="227964" y="165862"/>
                </a:lnTo>
                <a:lnTo>
                  <a:pt x="268708" y="165862"/>
                </a:lnTo>
                <a:lnTo>
                  <a:pt x="284460" y="129720"/>
                </a:lnTo>
                <a:lnTo>
                  <a:pt x="285368" y="115316"/>
                </a:lnTo>
                <a:lnTo>
                  <a:pt x="284557" y="102310"/>
                </a:lnTo>
                <a:lnTo>
                  <a:pt x="282114" y="90709"/>
                </a:lnTo>
                <a:lnTo>
                  <a:pt x="278028" y="80490"/>
                </a:lnTo>
                <a:lnTo>
                  <a:pt x="272370" y="71755"/>
                </a:lnTo>
                <a:close/>
              </a:path>
              <a:path w="1304925" h="235585">
                <a:moveTo>
                  <a:pt x="235711" y="55372"/>
                </a:moveTo>
                <a:lnTo>
                  <a:pt x="222734" y="56892"/>
                </a:lnTo>
                <a:lnTo>
                  <a:pt x="211423" y="61436"/>
                </a:lnTo>
                <a:lnTo>
                  <a:pt x="201779" y="68980"/>
                </a:lnTo>
                <a:lnTo>
                  <a:pt x="193801" y="79502"/>
                </a:lnTo>
                <a:lnTo>
                  <a:pt x="208073" y="79502"/>
                </a:lnTo>
                <a:lnTo>
                  <a:pt x="209258" y="78398"/>
                </a:lnTo>
                <a:lnTo>
                  <a:pt x="215630" y="74707"/>
                </a:lnTo>
                <a:lnTo>
                  <a:pt x="222835" y="72493"/>
                </a:lnTo>
                <a:lnTo>
                  <a:pt x="230885" y="71755"/>
                </a:lnTo>
                <a:lnTo>
                  <a:pt x="272370" y="71755"/>
                </a:lnTo>
                <a:lnTo>
                  <a:pt x="265072" y="64533"/>
                </a:lnTo>
                <a:lnTo>
                  <a:pt x="256571" y="59451"/>
                </a:lnTo>
                <a:lnTo>
                  <a:pt x="246784" y="56393"/>
                </a:lnTo>
                <a:lnTo>
                  <a:pt x="235711" y="55372"/>
                </a:lnTo>
                <a:close/>
              </a:path>
              <a:path w="1304925" h="235585">
                <a:moveTo>
                  <a:pt x="335152" y="58293"/>
                </a:moveTo>
                <a:lnTo>
                  <a:pt x="315721" y="58293"/>
                </a:lnTo>
                <a:lnTo>
                  <a:pt x="315721" y="235077"/>
                </a:lnTo>
                <a:lnTo>
                  <a:pt x="335152" y="235077"/>
                </a:lnTo>
                <a:lnTo>
                  <a:pt x="335152" y="161925"/>
                </a:lnTo>
                <a:lnTo>
                  <a:pt x="353519" y="161925"/>
                </a:lnTo>
                <a:lnTo>
                  <a:pt x="335152" y="129921"/>
                </a:lnTo>
                <a:lnTo>
                  <a:pt x="335152" y="113030"/>
                </a:lnTo>
                <a:lnTo>
                  <a:pt x="349805" y="79502"/>
                </a:lnTo>
                <a:lnTo>
                  <a:pt x="335152" y="79502"/>
                </a:lnTo>
                <a:lnTo>
                  <a:pt x="335152" y="58293"/>
                </a:lnTo>
                <a:close/>
              </a:path>
              <a:path w="1304925" h="235585">
                <a:moveTo>
                  <a:pt x="353519" y="161925"/>
                </a:moveTo>
                <a:lnTo>
                  <a:pt x="335533" y="161925"/>
                </a:lnTo>
                <a:lnTo>
                  <a:pt x="342602" y="170832"/>
                </a:lnTo>
                <a:lnTo>
                  <a:pt x="351027" y="177180"/>
                </a:lnTo>
                <a:lnTo>
                  <a:pt x="360787" y="180980"/>
                </a:lnTo>
                <a:lnTo>
                  <a:pt x="371855" y="182245"/>
                </a:lnTo>
                <a:lnTo>
                  <a:pt x="384026" y="181101"/>
                </a:lnTo>
                <a:lnTo>
                  <a:pt x="394827" y="177673"/>
                </a:lnTo>
                <a:lnTo>
                  <a:pt x="404270" y="171958"/>
                </a:lnTo>
                <a:lnTo>
                  <a:pt x="410440" y="165862"/>
                </a:lnTo>
                <a:lnTo>
                  <a:pt x="369696" y="165862"/>
                </a:lnTo>
                <a:lnTo>
                  <a:pt x="362503" y="165217"/>
                </a:lnTo>
                <a:lnTo>
                  <a:pt x="355965" y="163274"/>
                </a:lnTo>
                <a:lnTo>
                  <a:pt x="353519" y="161925"/>
                </a:lnTo>
                <a:close/>
              </a:path>
              <a:path w="1304925" h="235585">
                <a:moveTo>
                  <a:pt x="414102" y="71755"/>
                </a:moveTo>
                <a:lnTo>
                  <a:pt x="372617" y="71755"/>
                </a:lnTo>
                <a:lnTo>
                  <a:pt x="380192" y="72469"/>
                </a:lnTo>
                <a:lnTo>
                  <a:pt x="386921" y="74612"/>
                </a:lnTo>
                <a:lnTo>
                  <a:pt x="407170" y="113030"/>
                </a:lnTo>
                <a:lnTo>
                  <a:pt x="407268" y="115316"/>
                </a:lnTo>
                <a:lnTo>
                  <a:pt x="406667" y="126271"/>
                </a:lnTo>
                <a:lnTo>
                  <a:pt x="385381" y="162512"/>
                </a:lnTo>
                <a:lnTo>
                  <a:pt x="369696" y="165862"/>
                </a:lnTo>
                <a:lnTo>
                  <a:pt x="410440" y="165862"/>
                </a:lnTo>
                <a:lnTo>
                  <a:pt x="426192" y="129720"/>
                </a:lnTo>
                <a:lnTo>
                  <a:pt x="427100" y="115316"/>
                </a:lnTo>
                <a:lnTo>
                  <a:pt x="426289" y="102310"/>
                </a:lnTo>
                <a:lnTo>
                  <a:pt x="423846" y="90709"/>
                </a:lnTo>
                <a:lnTo>
                  <a:pt x="419760" y="80490"/>
                </a:lnTo>
                <a:lnTo>
                  <a:pt x="414102" y="71755"/>
                </a:lnTo>
                <a:close/>
              </a:path>
              <a:path w="1304925" h="235585">
                <a:moveTo>
                  <a:pt x="377443" y="55372"/>
                </a:moveTo>
                <a:lnTo>
                  <a:pt x="364466" y="56892"/>
                </a:lnTo>
                <a:lnTo>
                  <a:pt x="353155" y="61436"/>
                </a:lnTo>
                <a:lnTo>
                  <a:pt x="343511" y="68980"/>
                </a:lnTo>
                <a:lnTo>
                  <a:pt x="335533" y="79502"/>
                </a:lnTo>
                <a:lnTo>
                  <a:pt x="349805" y="79502"/>
                </a:lnTo>
                <a:lnTo>
                  <a:pt x="350990" y="78398"/>
                </a:lnTo>
                <a:lnTo>
                  <a:pt x="357362" y="74707"/>
                </a:lnTo>
                <a:lnTo>
                  <a:pt x="364567" y="72493"/>
                </a:lnTo>
                <a:lnTo>
                  <a:pt x="372617" y="71755"/>
                </a:lnTo>
                <a:lnTo>
                  <a:pt x="414102" y="71755"/>
                </a:lnTo>
                <a:lnTo>
                  <a:pt x="406804" y="64533"/>
                </a:lnTo>
                <a:lnTo>
                  <a:pt x="398303" y="59451"/>
                </a:lnTo>
                <a:lnTo>
                  <a:pt x="388516" y="56393"/>
                </a:lnTo>
                <a:lnTo>
                  <a:pt x="377443" y="55372"/>
                </a:lnTo>
                <a:close/>
              </a:path>
              <a:path w="1304925" h="235585">
                <a:moveTo>
                  <a:pt x="476884" y="0"/>
                </a:moveTo>
                <a:lnTo>
                  <a:pt x="457453" y="0"/>
                </a:lnTo>
                <a:lnTo>
                  <a:pt x="457453" y="179450"/>
                </a:lnTo>
                <a:lnTo>
                  <a:pt x="476884" y="179450"/>
                </a:lnTo>
                <a:lnTo>
                  <a:pt x="476884" y="0"/>
                </a:lnTo>
                <a:close/>
              </a:path>
              <a:path w="1304925" h="235585">
                <a:moveTo>
                  <a:pt x="530351" y="2286"/>
                </a:moveTo>
                <a:lnTo>
                  <a:pt x="523366" y="2286"/>
                </a:lnTo>
                <a:lnTo>
                  <a:pt x="520318" y="3429"/>
                </a:lnTo>
                <a:lnTo>
                  <a:pt x="515492" y="8255"/>
                </a:lnTo>
                <a:lnTo>
                  <a:pt x="514223" y="11303"/>
                </a:lnTo>
                <a:lnTo>
                  <a:pt x="514223" y="18542"/>
                </a:lnTo>
                <a:lnTo>
                  <a:pt x="515492" y="21590"/>
                </a:lnTo>
                <a:lnTo>
                  <a:pt x="517905" y="23875"/>
                </a:lnTo>
                <a:lnTo>
                  <a:pt x="520318" y="26289"/>
                </a:lnTo>
                <a:lnTo>
                  <a:pt x="523366" y="27432"/>
                </a:lnTo>
                <a:lnTo>
                  <a:pt x="530351" y="27432"/>
                </a:lnTo>
                <a:lnTo>
                  <a:pt x="533400" y="26289"/>
                </a:lnTo>
                <a:lnTo>
                  <a:pt x="538352" y="21336"/>
                </a:lnTo>
                <a:lnTo>
                  <a:pt x="539567" y="18542"/>
                </a:lnTo>
                <a:lnTo>
                  <a:pt x="539623" y="11303"/>
                </a:lnTo>
                <a:lnTo>
                  <a:pt x="538352" y="8255"/>
                </a:lnTo>
                <a:lnTo>
                  <a:pt x="535812" y="5842"/>
                </a:lnTo>
                <a:lnTo>
                  <a:pt x="533400" y="3429"/>
                </a:lnTo>
                <a:lnTo>
                  <a:pt x="530351" y="2286"/>
                </a:lnTo>
                <a:close/>
              </a:path>
              <a:path w="1304925" h="235585">
                <a:moveTo>
                  <a:pt x="536320" y="58293"/>
                </a:moveTo>
                <a:lnTo>
                  <a:pt x="516889" y="58293"/>
                </a:lnTo>
                <a:lnTo>
                  <a:pt x="516889" y="179450"/>
                </a:lnTo>
                <a:lnTo>
                  <a:pt x="536320" y="179450"/>
                </a:lnTo>
                <a:lnTo>
                  <a:pt x="536320" y="58293"/>
                </a:lnTo>
                <a:close/>
              </a:path>
              <a:path w="1304925" h="235585">
                <a:moveTo>
                  <a:pt x="630935" y="55372"/>
                </a:moveTo>
                <a:lnTo>
                  <a:pt x="585215" y="73533"/>
                </a:lnTo>
                <a:lnTo>
                  <a:pt x="568070" y="121666"/>
                </a:lnTo>
                <a:lnTo>
                  <a:pt x="569051" y="134475"/>
                </a:lnTo>
                <a:lnTo>
                  <a:pt x="592492" y="172761"/>
                </a:lnTo>
                <a:lnTo>
                  <a:pt x="625728" y="182245"/>
                </a:lnTo>
                <a:lnTo>
                  <a:pt x="635015" y="181721"/>
                </a:lnTo>
                <a:lnTo>
                  <a:pt x="643635" y="180149"/>
                </a:lnTo>
                <a:lnTo>
                  <a:pt x="651589" y="177530"/>
                </a:lnTo>
                <a:lnTo>
                  <a:pt x="658876" y="173862"/>
                </a:lnTo>
                <a:lnTo>
                  <a:pt x="658876" y="165862"/>
                </a:lnTo>
                <a:lnTo>
                  <a:pt x="629030" y="165862"/>
                </a:lnTo>
                <a:lnTo>
                  <a:pt x="620097" y="165100"/>
                </a:lnTo>
                <a:lnTo>
                  <a:pt x="590661" y="139080"/>
                </a:lnTo>
                <a:lnTo>
                  <a:pt x="587882" y="120015"/>
                </a:lnTo>
                <a:lnTo>
                  <a:pt x="588623" y="109700"/>
                </a:lnTo>
                <a:lnTo>
                  <a:pt x="613346" y="75088"/>
                </a:lnTo>
                <a:lnTo>
                  <a:pt x="630301" y="71755"/>
                </a:lnTo>
                <a:lnTo>
                  <a:pt x="659129" y="71755"/>
                </a:lnTo>
                <a:lnTo>
                  <a:pt x="659129" y="61341"/>
                </a:lnTo>
                <a:lnTo>
                  <a:pt x="652795" y="58747"/>
                </a:lnTo>
                <a:lnTo>
                  <a:pt x="645985" y="56880"/>
                </a:lnTo>
                <a:lnTo>
                  <a:pt x="638698" y="55751"/>
                </a:lnTo>
                <a:lnTo>
                  <a:pt x="630935" y="55372"/>
                </a:lnTo>
                <a:close/>
              </a:path>
              <a:path w="1304925" h="235585">
                <a:moveTo>
                  <a:pt x="658876" y="155448"/>
                </a:moveTo>
                <a:lnTo>
                  <a:pt x="651783" y="160021"/>
                </a:lnTo>
                <a:lnTo>
                  <a:pt x="644429" y="163274"/>
                </a:lnTo>
                <a:lnTo>
                  <a:pt x="636837" y="165217"/>
                </a:lnTo>
                <a:lnTo>
                  <a:pt x="629030" y="165862"/>
                </a:lnTo>
                <a:lnTo>
                  <a:pt x="658876" y="165862"/>
                </a:lnTo>
                <a:lnTo>
                  <a:pt x="658876" y="155448"/>
                </a:lnTo>
                <a:close/>
              </a:path>
              <a:path w="1304925" h="235585">
                <a:moveTo>
                  <a:pt x="659129" y="71755"/>
                </a:moveTo>
                <a:lnTo>
                  <a:pt x="630301" y="71755"/>
                </a:lnTo>
                <a:lnTo>
                  <a:pt x="637823" y="72348"/>
                </a:lnTo>
                <a:lnTo>
                  <a:pt x="645144" y="74120"/>
                </a:lnTo>
                <a:lnTo>
                  <a:pt x="652250" y="77059"/>
                </a:lnTo>
                <a:lnTo>
                  <a:pt x="659129" y="81153"/>
                </a:lnTo>
                <a:lnTo>
                  <a:pt x="659129" y="71755"/>
                </a:lnTo>
                <a:close/>
              </a:path>
              <a:path w="1304925" h="235585">
                <a:moveTo>
                  <a:pt x="766507" y="71755"/>
                </a:moveTo>
                <a:lnTo>
                  <a:pt x="729868" y="71755"/>
                </a:lnTo>
                <a:lnTo>
                  <a:pt x="740796" y="73683"/>
                </a:lnTo>
                <a:lnTo>
                  <a:pt x="748617" y="79470"/>
                </a:lnTo>
                <a:lnTo>
                  <a:pt x="753318" y="89114"/>
                </a:lnTo>
                <a:lnTo>
                  <a:pt x="754887" y="102616"/>
                </a:lnTo>
                <a:lnTo>
                  <a:pt x="718565" y="107696"/>
                </a:lnTo>
                <a:lnTo>
                  <a:pt x="701063" y="112242"/>
                </a:lnTo>
                <a:lnTo>
                  <a:pt x="688562" y="120348"/>
                </a:lnTo>
                <a:lnTo>
                  <a:pt x="681061" y="132002"/>
                </a:lnTo>
                <a:lnTo>
                  <a:pt x="678560" y="147193"/>
                </a:lnTo>
                <a:lnTo>
                  <a:pt x="679203" y="154717"/>
                </a:lnTo>
                <a:lnTo>
                  <a:pt x="708600" y="181649"/>
                </a:lnTo>
                <a:lnTo>
                  <a:pt x="717168" y="182245"/>
                </a:lnTo>
                <a:lnTo>
                  <a:pt x="728716" y="180887"/>
                </a:lnTo>
                <a:lnTo>
                  <a:pt x="738774" y="176815"/>
                </a:lnTo>
                <a:lnTo>
                  <a:pt x="747333" y="170029"/>
                </a:lnTo>
                <a:lnTo>
                  <a:pt x="750424" y="165862"/>
                </a:lnTo>
                <a:lnTo>
                  <a:pt x="714628" y="165862"/>
                </a:lnTo>
                <a:lnTo>
                  <a:pt x="709040" y="164084"/>
                </a:lnTo>
                <a:lnTo>
                  <a:pt x="700531" y="156591"/>
                </a:lnTo>
                <a:lnTo>
                  <a:pt x="698373" y="151765"/>
                </a:lnTo>
                <a:lnTo>
                  <a:pt x="698410" y="137576"/>
                </a:lnTo>
                <a:lnTo>
                  <a:pt x="754887" y="118110"/>
                </a:lnTo>
                <a:lnTo>
                  <a:pt x="774318" y="118110"/>
                </a:lnTo>
                <a:lnTo>
                  <a:pt x="774318" y="100584"/>
                </a:lnTo>
                <a:lnTo>
                  <a:pt x="771650" y="80821"/>
                </a:lnTo>
                <a:lnTo>
                  <a:pt x="766507" y="71755"/>
                </a:lnTo>
                <a:close/>
              </a:path>
              <a:path w="1304925" h="235585">
                <a:moveTo>
                  <a:pt x="774318" y="160528"/>
                </a:moveTo>
                <a:lnTo>
                  <a:pt x="754887" y="160528"/>
                </a:lnTo>
                <a:lnTo>
                  <a:pt x="754887" y="179450"/>
                </a:lnTo>
                <a:lnTo>
                  <a:pt x="774318" y="179450"/>
                </a:lnTo>
                <a:lnTo>
                  <a:pt x="774318" y="160528"/>
                </a:lnTo>
                <a:close/>
              </a:path>
              <a:path w="1304925" h="235585">
                <a:moveTo>
                  <a:pt x="774318" y="118110"/>
                </a:moveTo>
                <a:lnTo>
                  <a:pt x="754887" y="118110"/>
                </a:lnTo>
                <a:lnTo>
                  <a:pt x="754887" y="130175"/>
                </a:lnTo>
                <a:lnTo>
                  <a:pt x="754294" y="137576"/>
                </a:lnTo>
                <a:lnTo>
                  <a:pt x="721613" y="165862"/>
                </a:lnTo>
                <a:lnTo>
                  <a:pt x="750424" y="165862"/>
                </a:lnTo>
                <a:lnTo>
                  <a:pt x="754379" y="160528"/>
                </a:lnTo>
                <a:lnTo>
                  <a:pt x="774318" y="160528"/>
                </a:lnTo>
                <a:lnTo>
                  <a:pt x="774318" y="118110"/>
                </a:lnTo>
                <a:close/>
              </a:path>
              <a:path w="1304925" h="235585">
                <a:moveTo>
                  <a:pt x="731519" y="55372"/>
                </a:moveTo>
                <a:lnTo>
                  <a:pt x="720232" y="56086"/>
                </a:lnTo>
                <a:lnTo>
                  <a:pt x="709612" y="58229"/>
                </a:lnTo>
                <a:lnTo>
                  <a:pt x="699658" y="61801"/>
                </a:lnTo>
                <a:lnTo>
                  <a:pt x="690371" y="66802"/>
                </a:lnTo>
                <a:lnTo>
                  <a:pt x="690371" y="86614"/>
                </a:lnTo>
                <a:lnTo>
                  <a:pt x="699472" y="80113"/>
                </a:lnTo>
                <a:lnTo>
                  <a:pt x="709072" y="75469"/>
                </a:lnTo>
                <a:lnTo>
                  <a:pt x="719197" y="72683"/>
                </a:lnTo>
                <a:lnTo>
                  <a:pt x="729868" y="71755"/>
                </a:lnTo>
                <a:lnTo>
                  <a:pt x="766507" y="71755"/>
                </a:lnTo>
                <a:lnTo>
                  <a:pt x="763635" y="66690"/>
                </a:lnTo>
                <a:lnTo>
                  <a:pt x="750262" y="58203"/>
                </a:lnTo>
                <a:lnTo>
                  <a:pt x="731519" y="55372"/>
                </a:lnTo>
                <a:close/>
              </a:path>
              <a:path w="1304925" h="235585">
                <a:moveTo>
                  <a:pt x="836676" y="74803"/>
                </a:moveTo>
                <a:lnTo>
                  <a:pt x="817244" y="74803"/>
                </a:lnTo>
                <a:lnTo>
                  <a:pt x="817244" y="146558"/>
                </a:lnTo>
                <a:lnTo>
                  <a:pt x="819243" y="162059"/>
                </a:lnTo>
                <a:lnTo>
                  <a:pt x="825230" y="173132"/>
                </a:lnTo>
                <a:lnTo>
                  <a:pt x="835193" y="179776"/>
                </a:lnTo>
                <a:lnTo>
                  <a:pt x="849121" y="181991"/>
                </a:lnTo>
                <a:lnTo>
                  <a:pt x="856614" y="181991"/>
                </a:lnTo>
                <a:lnTo>
                  <a:pt x="862583" y="180721"/>
                </a:lnTo>
                <a:lnTo>
                  <a:pt x="867155" y="178181"/>
                </a:lnTo>
                <a:lnTo>
                  <a:pt x="867155" y="165735"/>
                </a:lnTo>
                <a:lnTo>
                  <a:pt x="848105" y="165735"/>
                </a:lnTo>
                <a:lnTo>
                  <a:pt x="843533" y="163957"/>
                </a:lnTo>
                <a:lnTo>
                  <a:pt x="838073" y="156972"/>
                </a:lnTo>
                <a:lnTo>
                  <a:pt x="836676" y="151257"/>
                </a:lnTo>
                <a:lnTo>
                  <a:pt x="836676" y="74803"/>
                </a:lnTo>
                <a:close/>
              </a:path>
              <a:path w="1304925" h="235585">
                <a:moveTo>
                  <a:pt x="867155" y="161671"/>
                </a:moveTo>
                <a:lnTo>
                  <a:pt x="863600" y="164337"/>
                </a:lnTo>
                <a:lnTo>
                  <a:pt x="859408" y="165735"/>
                </a:lnTo>
                <a:lnTo>
                  <a:pt x="867155" y="165735"/>
                </a:lnTo>
                <a:lnTo>
                  <a:pt x="867155" y="161671"/>
                </a:lnTo>
                <a:close/>
              </a:path>
              <a:path w="1304925" h="235585">
                <a:moveTo>
                  <a:pt x="867155" y="58293"/>
                </a:moveTo>
                <a:lnTo>
                  <a:pt x="796416" y="58293"/>
                </a:lnTo>
                <a:lnTo>
                  <a:pt x="796416" y="74803"/>
                </a:lnTo>
                <a:lnTo>
                  <a:pt x="867155" y="74803"/>
                </a:lnTo>
                <a:lnTo>
                  <a:pt x="867155" y="58293"/>
                </a:lnTo>
                <a:close/>
              </a:path>
              <a:path w="1304925" h="235585">
                <a:moveTo>
                  <a:pt x="836676" y="22352"/>
                </a:moveTo>
                <a:lnTo>
                  <a:pt x="817244" y="28702"/>
                </a:lnTo>
                <a:lnTo>
                  <a:pt x="817244" y="58293"/>
                </a:lnTo>
                <a:lnTo>
                  <a:pt x="836676" y="58293"/>
                </a:lnTo>
                <a:lnTo>
                  <a:pt x="836676" y="22352"/>
                </a:lnTo>
                <a:close/>
              </a:path>
              <a:path w="1304925" h="235585">
                <a:moveTo>
                  <a:pt x="906779" y="2286"/>
                </a:moveTo>
                <a:lnTo>
                  <a:pt x="899794" y="2286"/>
                </a:lnTo>
                <a:lnTo>
                  <a:pt x="896746" y="3429"/>
                </a:lnTo>
                <a:lnTo>
                  <a:pt x="891920" y="8255"/>
                </a:lnTo>
                <a:lnTo>
                  <a:pt x="890651" y="11303"/>
                </a:lnTo>
                <a:lnTo>
                  <a:pt x="890651" y="18542"/>
                </a:lnTo>
                <a:lnTo>
                  <a:pt x="891920" y="21590"/>
                </a:lnTo>
                <a:lnTo>
                  <a:pt x="894333" y="23875"/>
                </a:lnTo>
                <a:lnTo>
                  <a:pt x="896746" y="26289"/>
                </a:lnTo>
                <a:lnTo>
                  <a:pt x="899794" y="27432"/>
                </a:lnTo>
                <a:lnTo>
                  <a:pt x="906779" y="27432"/>
                </a:lnTo>
                <a:lnTo>
                  <a:pt x="909827" y="26289"/>
                </a:lnTo>
                <a:lnTo>
                  <a:pt x="914780" y="21336"/>
                </a:lnTo>
                <a:lnTo>
                  <a:pt x="915995" y="18542"/>
                </a:lnTo>
                <a:lnTo>
                  <a:pt x="916051" y="11303"/>
                </a:lnTo>
                <a:lnTo>
                  <a:pt x="914780" y="8255"/>
                </a:lnTo>
                <a:lnTo>
                  <a:pt x="912240" y="5842"/>
                </a:lnTo>
                <a:lnTo>
                  <a:pt x="909827" y="3429"/>
                </a:lnTo>
                <a:lnTo>
                  <a:pt x="906779" y="2286"/>
                </a:lnTo>
                <a:close/>
              </a:path>
              <a:path w="1304925" h="235585">
                <a:moveTo>
                  <a:pt x="912749" y="58293"/>
                </a:moveTo>
                <a:lnTo>
                  <a:pt x="893317" y="58293"/>
                </a:lnTo>
                <a:lnTo>
                  <a:pt x="893317" y="179450"/>
                </a:lnTo>
                <a:lnTo>
                  <a:pt x="912749" y="179450"/>
                </a:lnTo>
                <a:lnTo>
                  <a:pt x="912749" y="58293"/>
                </a:lnTo>
                <a:close/>
              </a:path>
              <a:path w="1304925" h="235585">
                <a:moveTo>
                  <a:pt x="1006220" y="55372"/>
                </a:moveTo>
                <a:lnTo>
                  <a:pt x="961115" y="72542"/>
                </a:lnTo>
                <a:lnTo>
                  <a:pt x="944499" y="120269"/>
                </a:lnTo>
                <a:lnTo>
                  <a:pt x="945499" y="133580"/>
                </a:lnTo>
                <a:lnTo>
                  <a:pt x="969170" y="172654"/>
                </a:lnTo>
                <a:lnTo>
                  <a:pt x="1003300" y="182245"/>
                </a:lnTo>
                <a:lnTo>
                  <a:pt x="1016418" y="181151"/>
                </a:lnTo>
                <a:lnTo>
                  <a:pt x="1028144" y="177879"/>
                </a:lnTo>
                <a:lnTo>
                  <a:pt x="1038465" y="172440"/>
                </a:lnTo>
                <a:lnTo>
                  <a:pt x="1046177" y="165862"/>
                </a:lnTo>
                <a:lnTo>
                  <a:pt x="1004824" y="165862"/>
                </a:lnTo>
                <a:lnTo>
                  <a:pt x="996041" y="165098"/>
                </a:lnTo>
                <a:lnTo>
                  <a:pt x="967073" y="138763"/>
                </a:lnTo>
                <a:lnTo>
                  <a:pt x="964362" y="120269"/>
                </a:lnTo>
                <a:lnTo>
                  <a:pt x="964385" y="118364"/>
                </a:lnTo>
                <a:lnTo>
                  <a:pt x="981160" y="78880"/>
                </a:lnTo>
                <a:lnTo>
                  <a:pt x="1004824" y="71755"/>
                </a:lnTo>
                <a:lnTo>
                  <a:pt x="1048077" y="71755"/>
                </a:lnTo>
                <a:lnTo>
                  <a:pt x="1040153" y="64801"/>
                </a:lnTo>
                <a:lnTo>
                  <a:pt x="1030319" y="59562"/>
                </a:lnTo>
                <a:lnTo>
                  <a:pt x="1019008" y="56419"/>
                </a:lnTo>
                <a:lnTo>
                  <a:pt x="1006220" y="55372"/>
                </a:lnTo>
                <a:close/>
              </a:path>
              <a:path w="1304925" h="235585">
                <a:moveTo>
                  <a:pt x="1048077" y="71755"/>
                </a:moveTo>
                <a:lnTo>
                  <a:pt x="1004824" y="71755"/>
                </a:lnTo>
                <a:lnTo>
                  <a:pt x="1013609" y="72517"/>
                </a:lnTo>
                <a:lnTo>
                  <a:pt x="1021381" y="74818"/>
                </a:lnTo>
                <a:lnTo>
                  <a:pt x="1043189" y="108362"/>
                </a:lnTo>
                <a:lnTo>
                  <a:pt x="1043768" y="118364"/>
                </a:lnTo>
                <a:lnTo>
                  <a:pt x="1043745" y="120269"/>
                </a:lnTo>
                <a:lnTo>
                  <a:pt x="1028059" y="159003"/>
                </a:lnTo>
                <a:lnTo>
                  <a:pt x="1004824" y="165862"/>
                </a:lnTo>
                <a:lnTo>
                  <a:pt x="1046177" y="165862"/>
                </a:lnTo>
                <a:lnTo>
                  <a:pt x="1063752" y="118364"/>
                </a:lnTo>
                <a:lnTo>
                  <a:pt x="1062799" y="104390"/>
                </a:lnTo>
                <a:lnTo>
                  <a:pt x="1059941" y="92011"/>
                </a:lnTo>
                <a:lnTo>
                  <a:pt x="1055179" y="81252"/>
                </a:lnTo>
                <a:lnTo>
                  <a:pt x="1048511" y="72136"/>
                </a:lnTo>
                <a:lnTo>
                  <a:pt x="1048077" y="71755"/>
                </a:lnTo>
                <a:close/>
              </a:path>
              <a:path w="1304925" h="235585">
                <a:moveTo>
                  <a:pt x="1113916" y="58293"/>
                </a:moveTo>
                <a:lnTo>
                  <a:pt x="1094485" y="58293"/>
                </a:lnTo>
                <a:lnTo>
                  <a:pt x="1094485" y="179450"/>
                </a:lnTo>
                <a:lnTo>
                  <a:pt x="1113916" y="179450"/>
                </a:lnTo>
                <a:lnTo>
                  <a:pt x="1113916" y="110362"/>
                </a:lnTo>
                <a:lnTo>
                  <a:pt x="1114512" y="102358"/>
                </a:lnTo>
                <a:lnTo>
                  <a:pt x="1116298" y="95091"/>
                </a:lnTo>
                <a:lnTo>
                  <a:pt x="1119274" y="88538"/>
                </a:lnTo>
                <a:lnTo>
                  <a:pt x="1123441" y="82677"/>
                </a:lnTo>
                <a:lnTo>
                  <a:pt x="1128042" y="78359"/>
                </a:lnTo>
                <a:lnTo>
                  <a:pt x="1113916" y="78359"/>
                </a:lnTo>
                <a:lnTo>
                  <a:pt x="1113916" y="58293"/>
                </a:lnTo>
                <a:close/>
              </a:path>
              <a:path w="1304925" h="235585">
                <a:moveTo>
                  <a:pt x="1186807" y="71755"/>
                </a:moveTo>
                <a:lnTo>
                  <a:pt x="1147444" y="71755"/>
                </a:lnTo>
                <a:lnTo>
                  <a:pt x="1159779" y="74162"/>
                </a:lnTo>
                <a:lnTo>
                  <a:pt x="1168590" y="81391"/>
                </a:lnTo>
                <a:lnTo>
                  <a:pt x="1173876" y="93454"/>
                </a:lnTo>
                <a:lnTo>
                  <a:pt x="1175638" y="110362"/>
                </a:lnTo>
                <a:lnTo>
                  <a:pt x="1175638" y="179450"/>
                </a:lnTo>
                <a:lnTo>
                  <a:pt x="1195069" y="179450"/>
                </a:lnTo>
                <a:lnTo>
                  <a:pt x="1195069" y="105283"/>
                </a:lnTo>
                <a:lnTo>
                  <a:pt x="1194405" y="93898"/>
                </a:lnTo>
                <a:lnTo>
                  <a:pt x="1192418" y="83931"/>
                </a:lnTo>
                <a:lnTo>
                  <a:pt x="1189122" y="75368"/>
                </a:lnTo>
                <a:lnTo>
                  <a:pt x="1186807" y="71755"/>
                </a:lnTo>
                <a:close/>
              </a:path>
              <a:path w="1304925" h="235585">
                <a:moveTo>
                  <a:pt x="1154049" y="55372"/>
                </a:moveTo>
                <a:lnTo>
                  <a:pt x="1141837" y="56820"/>
                </a:lnTo>
                <a:lnTo>
                  <a:pt x="1131125" y="61150"/>
                </a:lnTo>
                <a:lnTo>
                  <a:pt x="1121937" y="68337"/>
                </a:lnTo>
                <a:lnTo>
                  <a:pt x="1114298" y="78359"/>
                </a:lnTo>
                <a:lnTo>
                  <a:pt x="1128042" y="78359"/>
                </a:lnTo>
                <a:lnTo>
                  <a:pt x="1128514" y="77916"/>
                </a:lnTo>
                <a:lnTo>
                  <a:pt x="1134205" y="74501"/>
                </a:lnTo>
                <a:lnTo>
                  <a:pt x="1140515" y="72443"/>
                </a:lnTo>
                <a:lnTo>
                  <a:pt x="1147444" y="71755"/>
                </a:lnTo>
                <a:lnTo>
                  <a:pt x="1186807" y="71755"/>
                </a:lnTo>
                <a:lnTo>
                  <a:pt x="1184528" y="68199"/>
                </a:lnTo>
                <a:lnTo>
                  <a:pt x="1178641" y="62605"/>
                </a:lnTo>
                <a:lnTo>
                  <a:pt x="1171622" y="58594"/>
                </a:lnTo>
                <a:lnTo>
                  <a:pt x="1163437" y="56179"/>
                </a:lnTo>
                <a:lnTo>
                  <a:pt x="1154049" y="55372"/>
                </a:lnTo>
                <a:close/>
              </a:path>
              <a:path w="1304925" h="235585">
                <a:moveTo>
                  <a:pt x="1224279" y="154178"/>
                </a:moveTo>
                <a:lnTo>
                  <a:pt x="1224279" y="175006"/>
                </a:lnTo>
                <a:lnTo>
                  <a:pt x="1231447" y="178173"/>
                </a:lnTo>
                <a:lnTo>
                  <a:pt x="1239234" y="180435"/>
                </a:lnTo>
                <a:lnTo>
                  <a:pt x="1247640" y="181792"/>
                </a:lnTo>
                <a:lnTo>
                  <a:pt x="1256664" y="182245"/>
                </a:lnTo>
                <a:lnTo>
                  <a:pt x="1263014" y="182245"/>
                </a:lnTo>
                <a:lnTo>
                  <a:pt x="1298066" y="167005"/>
                </a:lnTo>
                <a:lnTo>
                  <a:pt x="1298720" y="165862"/>
                </a:lnTo>
                <a:lnTo>
                  <a:pt x="1259204" y="165862"/>
                </a:lnTo>
                <a:lnTo>
                  <a:pt x="1249872" y="165143"/>
                </a:lnTo>
                <a:lnTo>
                  <a:pt x="1240932" y="162972"/>
                </a:lnTo>
                <a:lnTo>
                  <a:pt x="1232398" y="159325"/>
                </a:lnTo>
                <a:lnTo>
                  <a:pt x="1224279" y="154178"/>
                </a:lnTo>
                <a:close/>
              </a:path>
              <a:path w="1304925" h="235585">
                <a:moveTo>
                  <a:pt x="1270888" y="55372"/>
                </a:moveTo>
                <a:lnTo>
                  <a:pt x="1264919" y="55372"/>
                </a:lnTo>
                <a:lnTo>
                  <a:pt x="1259204" y="56134"/>
                </a:lnTo>
                <a:lnTo>
                  <a:pt x="1248155" y="59182"/>
                </a:lnTo>
                <a:lnTo>
                  <a:pt x="1243202" y="61341"/>
                </a:lnTo>
                <a:lnTo>
                  <a:pt x="1238884" y="64389"/>
                </a:lnTo>
                <a:lnTo>
                  <a:pt x="1234439" y="67310"/>
                </a:lnTo>
                <a:lnTo>
                  <a:pt x="1231010" y="70993"/>
                </a:lnTo>
                <a:lnTo>
                  <a:pt x="1228470" y="75311"/>
                </a:lnTo>
                <a:lnTo>
                  <a:pt x="1225803" y="79756"/>
                </a:lnTo>
                <a:lnTo>
                  <a:pt x="1224533" y="84709"/>
                </a:lnTo>
                <a:lnTo>
                  <a:pt x="1224533" y="95123"/>
                </a:lnTo>
                <a:lnTo>
                  <a:pt x="1225168" y="99187"/>
                </a:lnTo>
                <a:lnTo>
                  <a:pt x="1227962" y="106045"/>
                </a:lnTo>
                <a:lnTo>
                  <a:pt x="1229994" y="109220"/>
                </a:lnTo>
                <a:lnTo>
                  <a:pt x="1232788" y="111887"/>
                </a:lnTo>
                <a:lnTo>
                  <a:pt x="1235455" y="114681"/>
                </a:lnTo>
                <a:lnTo>
                  <a:pt x="1264538" y="128650"/>
                </a:lnTo>
                <a:lnTo>
                  <a:pt x="1267840" y="130048"/>
                </a:lnTo>
                <a:lnTo>
                  <a:pt x="1271269" y="131445"/>
                </a:lnTo>
                <a:lnTo>
                  <a:pt x="1274190" y="132969"/>
                </a:lnTo>
                <a:lnTo>
                  <a:pt x="1276603" y="134747"/>
                </a:lnTo>
                <a:lnTo>
                  <a:pt x="1279143" y="136398"/>
                </a:lnTo>
                <a:lnTo>
                  <a:pt x="1281049" y="138430"/>
                </a:lnTo>
                <a:lnTo>
                  <a:pt x="1282573" y="140716"/>
                </a:lnTo>
                <a:lnTo>
                  <a:pt x="1283969" y="142875"/>
                </a:lnTo>
                <a:lnTo>
                  <a:pt x="1284731" y="145669"/>
                </a:lnTo>
                <a:lnTo>
                  <a:pt x="1284731" y="148844"/>
                </a:lnTo>
                <a:lnTo>
                  <a:pt x="1283136" y="156325"/>
                </a:lnTo>
                <a:lnTo>
                  <a:pt x="1278350" y="161639"/>
                </a:lnTo>
                <a:lnTo>
                  <a:pt x="1270373" y="164810"/>
                </a:lnTo>
                <a:lnTo>
                  <a:pt x="1259204" y="165862"/>
                </a:lnTo>
                <a:lnTo>
                  <a:pt x="1298720" y="165862"/>
                </a:lnTo>
                <a:lnTo>
                  <a:pt x="1300606" y="162560"/>
                </a:lnTo>
                <a:lnTo>
                  <a:pt x="1303274" y="158242"/>
                </a:lnTo>
                <a:lnTo>
                  <a:pt x="1304670" y="153035"/>
                </a:lnTo>
                <a:lnTo>
                  <a:pt x="1304670" y="142112"/>
                </a:lnTo>
                <a:lnTo>
                  <a:pt x="1303781" y="137922"/>
                </a:lnTo>
                <a:lnTo>
                  <a:pt x="1302130" y="134366"/>
                </a:lnTo>
                <a:lnTo>
                  <a:pt x="1300606" y="130810"/>
                </a:lnTo>
                <a:lnTo>
                  <a:pt x="1298320" y="127635"/>
                </a:lnTo>
                <a:lnTo>
                  <a:pt x="1295273" y="124968"/>
                </a:lnTo>
                <a:lnTo>
                  <a:pt x="1292225" y="122174"/>
                </a:lnTo>
                <a:lnTo>
                  <a:pt x="1288668" y="119761"/>
                </a:lnTo>
                <a:lnTo>
                  <a:pt x="1284351" y="117602"/>
                </a:lnTo>
                <a:lnTo>
                  <a:pt x="1280159" y="115443"/>
                </a:lnTo>
                <a:lnTo>
                  <a:pt x="1275333" y="113284"/>
                </a:lnTo>
                <a:lnTo>
                  <a:pt x="1265935" y="109728"/>
                </a:lnTo>
                <a:lnTo>
                  <a:pt x="1262379" y="108204"/>
                </a:lnTo>
                <a:lnTo>
                  <a:pt x="1246124" y="96647"/>
                </a:lnTo>
                <a:lnTo>
                  <a:pt x="1244980" y="94615"/>
                </a:lnTo>
                <a:lnTo>
                  <a:pt x="1244345" y="91948"/>
                </a:lnTo>
                <a:lnTo>
                  <a:pt x="1244345" y="86233"/>
                </a:lnTo>
                <a:lnTo>
                  <a:pt x="1244980" y="83947"/>
                </a:lnTo>
                <a:lnTo>
                  <a:pt x="1246124" y="81915"/>
                </a:lnTo>
                <a:lnTo>
                  <a:pt x="1247266" y="79756"/>
                </a:lnTo>
                <a:lnTo>
                  <a:pt x="1258442" y="73025"/>
                </a:lnTo>
                <a:lnTo>
                  <a:pt x="1261363" y="72136"/>
                </a:lnTo>
                <a:lnTo>
                  <a:pt x="1264665" y="71755"/>
                </a:lnTo>
                <a:lnTo>
                  <a:pt x="1299082" y="71755"/>
                </a:lnTo>
                <a:lnTo>
                  <a:pt x="1299082" y="60833"/>
                </a:lnTo>
                <a:lnTo>
                  <a:pt x="1292677" y="58479"/>
                </a:lnTo>
                <a:lnTo>
                  <a:pt x="1285843" y="56769"/>
                </a:lnTo>
                <a:lnTo>
                  <a:pt x="1278580" y="55725"/>
                </a:lnTo>
                <a:lnTo>
                  <a:pt x="1270888" y="55372"/>
                </a:lnTo>
                <a:close/>
              </a:path>
              <a:path w="1304925" h="235585">
                <a:moveTo>
                  <a:pt x="1299082" y="71755"/>
                </a:moveTo>
                <a:lnTo>
                  <a:pt x="1268349" y="71755"/>
                </a:lnTo>
                <a:lnTo>
                  <a:pt x="1276776" y="72302"/>
                </a:lnTo>
                <a:lnTo>
                  <a:pt x="1284716" y="73945"/>
                </a:lnTo>
                <a:lnTo>
                  <a:pt x="1292155" y="76684"/>
                </a:lnTo>
                <a:lnTo>
                  <a:pt x="1299082" y="80518"/>
                </a:lnTo>
                <a:lnTo>
                  <a:pt x="1299082" y="71755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030227" y="2876625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90" h="429895">
                <a:moveTo>
                  <a:pt x="0" y="429767"/>
                </a:moveTo>
                <a:lnTo>
                  <a:pt x="1850136" y="429767"/>
                </a:lnTo>
                <a:lnTo>
                  <a:pt x="1850136" y="0"/>
                </a:lnTo>
                <a:lnTo>
                  <a:pt x="0" y="0"/>
                </a:lnTo>
                <a:lnTo>
                  <a:pt x="0" y="429767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97388" y="2977317"/>
            <a:ext cx="636063" cy="176740"/>
          </a:xfrm>
          <a:custGeom>
            <a:avLst/>
            <a:gdLst/>
            <a:ahLst/>
            <a:cxnLst/>
            <a:rect l="l" t="t" r="r" b="b"/>
            <a:pathLst>
              <a:path w="864870" h="180339">
                <a:moveTo>
                  <a:pt x="58039" y="7365"/>
                </a:moveTo>
                <a:lnTo>
                  <a:pt x="0" y="7365"/>
                </a:lnTo>
                <a:lnTo>
                  <a:pt x="0" y="177037"/>
                </a:lnTo>
                <a:lnTo>
                  <a:pt x="19811" y="177037"/>
                </a:lnTo>
                <a:lnTo>
                  <a:pt x="19811" y="104901"/>
                </a:lnTo>
                <a:lnTo>
                  <a:pt x="74311" y="104901"/>
                </a:lnTo>
                <a:lnTo>
                  <a:pt x="74041" y="104647"/>
                </a:lnTo>
                <a:lnTo>
                  <a:pt x="69850" y="101472"/>
                </a:lnTo>
                <a:lnTo>
                  <a:pt x="67436" y="100075"/>
                </a:lnTo>
                <a:lnTo>
                  <a:pt x="64643" y="98805"/>
                </a:lnTo>
                <a:lnTo>
                  <a:pt x="64643" y="98297"/>
                </a:lnTo>
                <a:lnTo>
                  <a:pt x="70357" y="96773"/>
                </a:lnTo>
                <a:lnTo>
                  <a:pt x="75565" y="94741"/>
                </a:lnTo>
                <a:lnTo>
                  <a:pt x="80136" y="91947"/>
                </a:lnTo>
                <a:lnTo>
                  <a:pt x="84708" y="89280"/>
                </a:lnTo>
                <a:lnTo>
                  <a:pt x="87522" y="86994"/>
                </a:lnTo>
                <a:lnTo>
                  <a:pt x="19811" y="86994"/>
                </a:lnTo>
                <a:lnTo>
                  <a:pt x="19811" y="25400"/>
                </a:lnTo>
                <a:lnTo>
                  <a:pt x="94364" y="25400"/>
                </a:lnTo>
                <a:lnTo>
                  <a:pt x="92075" y="22478"/>
                </a:lnTo>
                <a:lnTo>
                  <a:pt x="82930" y="14858"/>
                </a:lnTo>
                <a:lnTo>
                  <a:pt x="77470" y="12064"/>
                </a:lnTo>
                <a:lnTo>
                  <a:pt x="71120" y="10159"/>
                </a:lnTo>
                <a:lnTo>
                  <a:pt x="64897" y="8381"/>
                </a:lnTo>
                <a:lnTo>
                  <a:pt x="58039" y="7365"/>
                </a:lnTo>
                <a:close/>
              </a:path>
              <a:path w="864870" h="180339">
                <a:moveTo>
                  <a:pt x="74311" y="104901"/>
                </a:moveTo>
                <a:lnTo>
                  <a:pt x="39877" y="104901"/>
                </a:lnTo>
                <a:lnTo>
                  <a:pt x="43179" y="105409"/>
                </a:lnTo>
                <a:lnTo>
                  <a:pt x="46227" y="106298"/>
                </a:lnTo>
                <a:lnTo>
                  <a:pt x="49149" y="107187"/>
                </a:lnTo>
                <a:lnTo>
                  <a:pt x="51943" y="108584"/>
                </a:lnTo>
                <a:lnTo>
                  <a:pt x="54482" y="110616"/>
                </a:lnTo>
                <a:lnTo>
                  <a:pt x="57023" y="112521"/>
                </a:lnTo>
                <a:lnTo>
                  <a:pt x="59562" y="115062"/>
                </a:lnTo>
                <a:lnTo>
                  <a:pt x="61975" y="118237"/>
                </a:lnTo>
                <a:lnTo>
                  <a:pt x="64389" y="121284"/>
                </a:lnTo>
                <a:lnTo>
                  <a:pt x="66928" y="125094"/>
                </a:lnTo>
                <a:lnTo>
                  <a:pt x="69596" y="129539"/>
                </a:lnTo>
                <a:lnTo>
                  <a:pt x="97917" y="177037"/>
                </a:lnTo>
                <a:lnTo>
                  <a:pt x="121666" y="177037"/>
                </a:lnTo>
                <a:lnTo>
                  <a:pt x="89789" y="126110"/>
                </a:lnTo>
                <a:lnTo>
                  <a:pt x="85471" y="119125"/>
                </a:lnTo>
                <a:lnTo>
                  <a:pt x="83566" y="116331"/>
                </a:lnTo>
                <a:lnTo>
                  <a:pt x="81787" y="113537"/>
                </a:lnTo>
                <a:lnTo>
                  <a:pt x="79882" y="110997"/>
                </a:lnTo>
                <a:lnTo>
                  <a:pt x="77977" y="108838"/>
                </a:lnTo>
                <a:lnTo>
                  <a:pt x="76073" y="106552"/>
                </a:lnTo>
                <a:lnTo>
                  <a:pt x="74311" y="104901"/>
                </a:lnTo>
                <a:close/>
              </a:path>
              <a:path w="864870" h="180339">
                <a:moveTo>
                  <a:pt x="94364" y="25400"/>
                </a:moveTo>
                <a:lnTo>
                  <a:pt x="47117" y="25400"/>
                </a:lnTo>
                <a:lnTo>
                  <a:pt x="54927" y="25876"/>
                </a:lnTo>
                <a:lnTo>
                  <a:pt x="61785" y="27304"/>
                </a:lnTo>
                <a:lnTo>
                  <a:pt x="81406" y="59308"/>
                </a:lnTo>
                <a:lnTo>
                  <a:pt x="80518" y="63880"/>
                </a:lnTo>
                <a:lnTo>
                  <a:pt x="78740" y="67944"/>
                </a:lnTo>
                <a:lnTo>
                  <a:pt x="77089" y="72008"/>
                </a:lnTo>
                <a:lnTo>
                  <a:pt x="60578" y="84708"/>
                </a:lnTo>
                <a:lnTo>
                  <a:pt x="56387" y="86232"/>
                </a:lnTo>
                <a:lnTo>
                  <a:pt x="51816" y="86994"/>
                </a:lnTo>
                <a:lnTo>
                  <a:pt x="87522" y="86994"/>
                </a:lnTo>
                <a:lnTo>
                  <a:pt x="88773" y="85978"/>
                </a:lnTo>
                <a:lnTo>
                  <a:pt x="91948" y="82041"/>
                </a:lnTo>
                <a:lnTo>
                  <a:pt x="95250" y="78231"/>
                </a:lnTo>
                <a:lnTo>
                  <a:pt x="97790" y="73787"/>
                </a:lnTo>
                <a:lnTo>
                  <a:pt x="99568" y="68833"/>
                </a:lnTo>
                <a:lnTo>
                  <a:pt x="101346" y="64007"/>
                </a:lnTo>
                <a:lnTo>
                  <a:pt x="102110" y="59308"/>
                </a:lnTo>
                <a:lnTo>
                  <a:pt x="102234" y="45084"/>
                </a:lnTo>
                <a:lnTo>
                  <a:pt x="100965" y="38480"/>
                </a:lnTo>
                <a:lnTo>
                  <a:pt x="98298" y="32765"/>
                </a:lnTo>
                <a:lnTo>
                  <a:pt x="95757" y="27177"/>
                </a:lnTo>
                <a:lnTo>
                  <a:pt x="94364" y="25400"/>
                </a:lnTo>
                <a:close/>
              </a:path>
              <a:path w="864870" h="180339">
                <a:moveTo>
                  <a:pt x="158876" y="55879"/>
                </a:moveTo>
                <a:lnTo>
                  <a:pt x="139573" y="55879"/>
                </a:lnTo>
                <a:lnTo>
                  <a:pt x="139573" y="128396"/>
                </a:lnTo>
                <a:lnTo>
                  <a:pt x="142285" y="150919"/>
                </a:lnTo>
                <a:lnTo>
                  <a:pt x="150415" y="167036"/>
                </a:lnTo>
                <a:lnTo>
                  <a:pt x="163951" y="176724"/>
                </a:lnTo>
                <a:lnTo>
                  <a:pt x="182879" y="179958"/>
                </a:lnTo>
                <a:lnTo>
                  <a:pt x="194714" y="178579"/>
                </a:lnTo>
                <a:lnTo>
                  <a:pt x="204882" y="174450"/>
                </a:lnTo>
                <a:lnTo>
                  <a:pt x="213383" y="167582"/>
                </a:lnTo>
                <a:lnTo>
                  <a:pt x="216237" y="163575"/>
                </a:lnTo>
                <a:lnTo>
                  <a:pt x="188214" y="163575"/>
                </a:lnTo>
                <a:lnTo>
                  <a:pt x="175379" y="161190"/>
                </a:lnTo>
                <a:lnTo>
                  <a:pt x="166211" y="154019"/>
                </a:lnTo>
                <a:lnTo>
                  <a:pt x="160710" y="142037"/>
                </a:lnTo>
                <a:lnTo>
                  <a:pt x="158932" y="125729"/>
                </a:lnTo>
                <a:lnTo>
                  <a:pt x="158876" y="55879"/>
                </a:lnTo>
                <a:close/>
              </a:path>
              <a:path w="864870" h="180339">
                <a:moveTo>
                  <a:pt x="240156" y="157987"/>
                </a:moveTo>
                <a:lnTo>
                  <a:pt x="220725" y="157987"/>
                </a:lnTo>
                <a:lnTo>
                  <a:pt x="220725" y="177037"/>
                </a:lnTo>
                <a:lnTo>
                  <a:pt x="240156" y="177037"/>
                </a:lnTo>
                <a:lnTo>
                  <a:pt x="240156" y="157987"/>
                </a:lnTo>
                <a:close/>
              </a:path>
              <a:path w="864870" h="180339">
                <a:moveTo>
                  <a:pt x="240156" y="55879"/>
                </a:moveTo>
                <a:lnTo>
                  <a:pt x="220725" y="55879"/>
                </a:lnTo>
                <a:lnTo>
                  <a:pt x="220725" y="125729"/>
                </a:lnTo>
                <a:lnTo>
                  <a:pt x="220154" y="133802"/>
                </a:lnTo>
                <a:lnTo>
                  <a:pt x="194972" y="162931"/>
                </a:lnTo>
                <a:lnTo>
                  <a:pt x="188214" y="163575"/>
                </a:lnTo>
                <a:lnTo>
                  <a:pt x="216237" y="163575"/>
                </a:lnTo>
                <a:lnTo>
                  <a:pt x="220218" y="157987"/>
                </a:lnTo>
                <a:lnTo>
                  <a:pt x="240156" y="157987"/>
                </a:lnTo>
                <a:lnTo>
                  <a:pt x="240156" y="55879"/>
                </a:lnTo>
                <a:close/>
              </a:path>
              <a:path w="864870" h="180339">
                <a:moveTo>
                  <a:pt x="298703" y="55879"/>
                </a:moveTo>
                <a:lnTo>
                  <a:pt x="279273" y="55879"/>
                </a:lnTo>
                <a:lnTo>
                  <a:pt x="279273" y="177037"/>
                </a:lnTo>
                <a:lnTo>
                  <a:pt x="298703" y="177037"/>
                </a:lnTo>
                <a:lnTo>
                  <a:pt x="298703" y="107950"/>
                </a:lnTo>
                <a:lnTo>
                  <a:pt x="299299" y="100000"/>
                </a:lnTo>
                <a:lnTo>
                  <a:pt x="301085" y="92741"/>
                </a:lnTo>
                <a:lnTo>
                  <a:pt x="304061" y="86197"/>
                </a:lnTo>
                <a:lnTo>
                  <a:pt x="308228" y="80390"/>
                </a:lnTo>
                <a:lnTo>
                  <a:pt x="312780" y="76072"/>
                </a:lnTo>
                <a:lnTo>
                  <a:pt x="298703" y="76072"/>
                </a:lnTo>
                <a:lnTo>
                  <a:pt x="298703" y="55879"/>
                </a:lnTo>
                <a:close/>
              </a:path>
              <a:path w="864870" h="180339">
                <a:moveTo>
                  <a:pt x="371621" y="69468"/>
                </a:moveTo>
                <a:lnTo>
                  <a:pt x="332358" y="69468"/>
                </a:lnTo>
                <a:lnTo>
                  <a:pt x="344693" y="71874"/>
                </a:lnTo>
                <a:lnTo>
                  <a:pt x="353504" y="79089"/>
                </a:lnTo>
                <a:lnTo>
                  <a:pt x="358790" y="91114"/>
                </a:lnTo>
                <a:lnTo>
                  <a:pt x="360552" y="107950"/>
                </a:lnTo>
                <a:lnTo>
                  <a:pt x="360552" y="177037"/>
                </a:lnTo>
                <a:lnTo>
                  <a:pt x="379856" y="177037"/>
                </a:lnTo>
                <a:lnTo>
                  <a:pt x="379856" y="102996"/>
                </a:lnTo>
                <a:lnTo>
                  <a:pt x="379210" y="91612"/>
                </a:lnTo>
                <a:lnTo>
                  <a:pt x="377253" y="81645"/>
                </a:lnTo>
                <a:lnTo>
                  <a:pt x="373963" y="73082"/>
                </a:lnTo>
                <a:lnTo>
                  <a:pt x="371621" y="69468"/>
                </a:lnTo>
                <a:close/>
              </a:path>
              <a:path w="864870" h="180339">
                <a:moveTo>
                  <a:pt x="338962" y="53085"/>
                </a:moveTo>
                <a:lnTo>
                  <a:pt x="326697" y="54516"/>
                </a:lnTo>
                <a:lnTo>
                  <a:pt x="315991" y="58816"/>
                </a:lnTo>
                <a:lnTo>
                  <a:pt x="306833" y="65998"/>
                </a:lnTo>
                <a:lnTo>
                  <a:pt x="299211" y="76072"/>
                </a:lnTo>
                <a:lnTo>
                  <a:pt x="312780" y="76072"/>
                </a:lnTo>
                <a:lnTo>
                  <a:pt x="313303" y="75576"/>
                </a:lnTo>
                <a:lnTo>
                  <a:pt x="319008" y="72167"/>
                </a:lnTo>
                <a:lnTo>
                  <a:pt x="325356" y="70139"/>
                </a:lnTo>
                <a:lnTo>
                  <a:pt x="332358" y="69468"/>
                </a:lnTo>
                <a:lnTo>
                  <a:pt x="371621" y="69468"/>
                </a:lnTo>
                <a:lnTo>
                  <a:pt x="369316" y="65912"/>
                </a:lnTo>
                <a:lnTo>
                  <a:pt x="363483" y="60319"/>
                </a:lnTo>
                <a:lnTo>
                  <a:pt x="356473" y="56308"/>
                </a:lnTo>
                <a:lnTo>
                  <a:pt x="348295" y="53893"/>
                </a:lnTo>
                <a:lnTo>
                  <a:pt x="338962" y="53085"/>
                </a:lnTo>
                <a:close/>
              </a:path>
              <a:path w="864870" h="180339">
                <a:moveTo>
                  <a:pt x="442214" y="72516"/>
                </a:moveTo>
                <a:lnTo>
                  <a:pt x="422782" y="72516"/>
                </a:lnTo>
                <a:lnTo>
                  <a:pt x="422782" y="144144"/>
                </a:lnTo>
                <a:lnTo>
                  <a:pt x="424761" y="159720"/>
                </a:lnTo>
                <a:lnTo>
                  <a:pt x="430704" y="170830"/>
                </a:lnTo>
                <a:lnTo>
                  <a:pt x="440624" y="177488"/>
                </a:lnTo>
                <a:lnTo>
                  <a:pt x="454532" y="179704"/>
                </a:lnTo>
                <a:lnTo>
                  <a:pt x="462025" y="179704"/>
                </a:lnTo>
                <a:lnTo>
                  <a:pt x="468122" y="178434"/>
                </a:lnTo>
                <a:lnTo>
                  <a:pt x="472694" y="175894"/>
                </a:lnTo>
                <a:lnTo>
                  <a:pt x="472694" y="163321"/>
                </a:lnTo>
                <a:lnTo>
                  <a:pt x="453644" y="163321"/>
                </a:lnTo>
                <a:lnTo>
                  <a:pt x="449072" y="161670"/>
                </a:lnTo>
                <a:lnTo>
                  <a:pt x="443610" y="154685"/>
                </a:lnTo>
                <a:lnTo>
                  <a:pt x="442214" y="148843"/>
                </a:lnTo>
                <a:lnTo>
                  <a:pt x="442214" y="72516"/>
                </a:lnTo>
                <a:close/>
              </a:path>
              <a:path w="864870" h="180339">
                <a:moveTo>
                  <a:pt x="472694" y="159384"/>
                </a:moveTo>
                <a:lnTo>
                  <a:pt x="469137" y="162051"/>
                </a:lnTo>
                <a:lnTo>
                  <a:pt x="464947" y="163321"/>
                </a:lnTo>
                <a:lnTo>
                  <a:pt x="472694" y="163321"/>
                </a:lnTo>
                <a:lnTo>
                  <a:pt x="472694" y="159384"/>
                </a:lnTo>
                <a:close/>
              </a:path>
              <a:path w="864870" h="180339">
                <a:moveTo>
                  <a:pt x="472694" y="55879"/>
                </a:moveTo>
                <a:lnTo>
                  <a:pt x="401954" y="55879"/>
                </a:lnTo>
                <a:lnTo>
                  <a:pt x="401954" y="72516"/>
                </a:lnTo>
                <a:lnTo>
                  <a:pt x="472694" y="72516"/>
                </a:lnTo>
                <a:lnTo>
                  <a:pt x="472694" y="55879"/>
                </a:lnTo>
                <a:close/>
              </a:path>
              <a:path w="864870" h="180339">
                <a:moveTo>
                  <a:pt x="442214" y="20065"/>
                </a:moveTo>
                <a:lnTo>
                  <a:pt x="422782" y="26415"/>
                </a:lnTo>
                <a:lnTo>
                  <a:pt x="422782" y="55879"/>
                </a:lnTo>
                <a:lnTo>
                  <a:pt x="442214" y="55879"/>
                </a:lnTo>
                <a:lnTo>
                  <a:pt x="442214" y="20065"/>
                </a:lnTo>
                <a:close/>
              </a:path>
              <a:path w="864870" h="180339">
                <a:moveTo>
                  <a:pt x="512318" y="0"/>
                </a:moveTo>
                <a:lnTo>
                  <a:pt x="505205" y="0"/>
                </a:lnTo>
                <a:lnTo>
                  <a:pt x="502284" y="1142"/>
                </a:lnTo>
                <a:lnTo>
                  <a:pt x="497458" y="5968"/>
                </a:lnTo>
                <a:lnTo>
                  <a:pt x="496189" y="9016"/>
                </a:lnTo>
                <a:lnTo>
                  <a:pt x="496189" y="16255"/>
                </a:lnTo>
                <a:lnTo>
                  <a:pt x="497458" y="19303"/>
                </a:lnTo>
                <a:lnTo>
                  <a:pt x="499872" y="21589"/>
                </a:lnTo>
                <a:lnTo>
                  <a:pt x="502284" y="24002"/>
                </a:lnTo>
                <a:lnTo>
                  <a:pt x="505205" y="25145"/>
                </a:lnTo>
                <a:lnTo>
                  <a:pt x="512318" y="25145"/>
                </a:lnTo>
                <a:lnTo>
                  <a:pt x="515239" y="24002"/>
                </a:lnTo>
                <a:lnTo>
                  <a:pt x="517778" y="21462"/>
                </a:lnTo>
                <a:lnTo>
                  <a:pt x="520319" y="19050"/>
                </a:lnTo>
                <a:lnTo>
                  <a:pt x="521412" y="16255"/>
                </a:lnTo>
                <a:lnTo>
                  <a:pt x="521461" y="9016"/>
                </a:lnTo>
                <a:lnTo>
                  <a:pt x="520319" y="5968"/>
                </a:lnTo>
                <a:lnTo>
                  <a:pt x="515239" y="1142"/>
                </a:lnTo>
                <a:lnTo>
                  <a:pt x="512318" y="0"/>
                </a:lnTo>
                <a:close/>
              </a:path>
              <a:path w="864870" h="180339">
                <a:moveTo>
                  <a:pt x="518159" y="55879"/>
                </a:moveTo>
                <a:lnTo>
                  <a:pt x="498728" y="55879"/>
                </a:lnTo>
                <a:lnTo>
                  <a:pt x="498728" y="177037"/>
                </a:lnTo>
                <a:lnTo>
                  <a:pt x="518159" y="177037"/>
                </a:lnTo>
                <a:lnTo>
                  <a:pt x="518159" y="55879"/>
                </a:lnTo>
                <a:close/>
              </a:path>
              <a:path w="864870" h="180339">
                <a:moveTo>
                  <a:pt x="577596" y="55879"/>
                </a:moveTo>
                <a:lnTo>
                  <a:pt x="558165" y="55879"/>
                </a:lnTo>
                <a:lnTo>
                  <a:pt x="558165" y="177037"/>
                </a:lnTo>
                <a:lnTo>
                  <a:pt x="577596" y="177037"/>
                </a:lnTo>
                <a:lnTo>
                  <a:pt x="577620" y="107568"/>
                </a:lnTo>
                <a:lnTo>
                  <a:pt x="578117" y="99782"/>
                </a:lnTo>
                <a:lnTo>
                  <a:pt x="579675" y="92424"/>
                </a:lnTo>
                <a:lnTo>
                  <a:pt x="582257" y="85875"/>
                </a:lnTo>
                <a:lnTo>
                  <a:pt x="585851" y="80137"/>
                </a:lnTo>
                <a:lnTo>
                  <a:pt x="589842" y="75056"/>
                </a:lnTo>
                <a:lnTo>
                  <a:pt x="577596" y="75056"/>
                </a:lnTo>
                <a:lnTo>
                  <a:pt x="577596" y="55879"/>
                </a:lnTo>
                <a:close/>
              </a:path>
              <a:path w="864870" h="180339">
                <a:moveTo>
                  <a:pt x="646826" y="69468"/>
                </a:moveTo>
                <a:lnTo>
                  <a:pt x="606932" y="69468"/>
                </a:lnTo>
                <a:lnTo>
                  <a:pt x="619007" y="71687"/>
                </a:lnTo>
                <a:lnTo>
                  <a:pt x="627618" y="78358"/>
                </a:lnTo>
                <a:lnTo>
                  <a:pt x="632775" y="89507"/>
                </a:lnTo>
                <a:lnTo>
                  <a:pt x="634492" y="105155"/>
                </a:lnTo>
                <a:lnTo>
                  <a:pt x="634492" y="177037"/>
                </a:lnTo>
                <a:lnTo>
                  <a:pt x="653923" y="177037"/>
                </a:lnTo>
                <a:lnTo>
                  <a:pt x="653950" y="107568"/>
                </a:lnTo>
                <a:lnTo>
                  <a:pt x="664590" y="78231"/>
                </a:lnTo>
                <a:lnTo>
                  <a:pt x="649985" y="78231"/>
                </a:lnTo>
                <a:lnTo>
                  <a:pt x="647700" y="70738"/>
                </a:lnTo>
                <a:lnTo>
                  <a:pt x="646826" y="69468"/>
                </a:lnTo>
                <a:close/>
              </a:path>
              <a:path w="864870" h="180339">
                <a:moveTo>
                  <a:pt x="722199" y="69468"/>
                </a:moveTo>
                <a:lnTo>
                  <a:pt x="693547" y="69468"/>
                </a:lnTo>
                <a:lnTo>
                  <a:pt x="700531" y="72389"/>
                </a:lnTo>
                <a:lnTo>
                  <a:pt x="704596" y="78358"/>
                </a:lnTo>
                <a:lnTo>
                  <a:pt x="710819" y="177037"/>
                </a:lnTo>
                <a:lnTo>
                  <a:pt x="730250" y="177037"/>
                </a:lnTo>
                <a:lnTo>
                  <a:pt x="730250" y="102488"/>
                </a:lnTo>
                <a:lnTo>
                  <a:pt x="727749" y="80893"/>
                </a:lnTo>
                <a:lnTo>
                  <a:pt x="722199" y="69468"/>
                </a:lnTo>
                <a:close/>
              </a:path>
              <a:path w="864870" h="180339">
                <a:moveTo>
                  <a:pt x="690245" y="53085"/>
                </a:moveTo>
                <a:lnTo>
                  <a:pt x="677721" y="54657"/>
                </a:lnTo>
                <a:lnTo>
                  <a:pt x="666829" y="59372"/>
                </a:lnTo>
                <a:lnTo>
                  <a:pt x="657580" y="67230"/>
                </a:lnTo>
                <a:lnTo>
                  <a:pt x="649985" y="78231"/>
                </a:lnTo>
                <a:lnTo>
                  <a:pt x="664590" y="78231"/>
                </a:lnTo>
                <a:lnTo>
                  <a:pt x="668401" y="73151"/>
                </a:lnTo>
                <a:lnTo>
                  <a:pt x="675512" y="69468"/>
                </a:lnTo>
                <a:lnTo>
                  <a:pt x="722199" y="69468"/>
                </a:lnTo>
                <a:lnTo>
                  <a:pt x="720248" y="65452"/>
                </a:lnTo>
                <a:lnTo>
                  <a:pt x="707747" y="56179"/>
                </a:lnTo>
                <a:lnTo>
                  <a:pt x="690245" y="53085"/>
                </a:lnTo>
                <a:close/>
              </a:path>
              <a:path w="864870" h="180339">
                <a:moveTo>
                  <a:pt x="623951" y="53085"/>
                </a:moveTo>
                <a:lnTo>
                  <a:pt x="615696" y="53085"/>
                </a:lnTo>
                <a:lnTo>
                  <a:pt x="604071" y="54465"/>
                </a:lnTo>
                <a:lnTo>
                  <a:pt x="593947" y="58594"/>
                </a:lnTo>
                <a:lnTo>
                  <a:pt x="585299" y="65462"/>
                </a:lnTo>
                <a:lnTo>
                  <a:pt x="578103" y="75056"/>
                </a:lnTo>
                <a:lnTo>
                  <a:pt x="589842" y="75056"/>
                </a:lnTo>
                <a:lnTo>
                  <a:pt x="591439" y="73025"/>
                </a:lnTo>
                <a:lnTo>
                  <a:pt x="598424" y="69468"/>
                </a:lnTo>
                <a:lnTo>
                  <a:pt x="646826" y="69468"/>
                </a:lnTo>
                <a:lnTo>
                  <a:pt x="643508" y="64642"/>
                </a:lnTo>
                <a:lnTo>
                  <a:pt x="631190" y="55371"/>
                </a:lnTo>
                <a:lnTo>
                  <a:pt x="623951" y="53085"/>
                </a:lnTo>
                <a:close/>
              </a:path>
              <a:path w="864870" h="180339">
                <a:moveTo>
                  <a:pt x="814577" y="53085"/>
                </a:moveTo>
                <a:lnTo>
                  <a:pt x="774826" y="70865"/>
                </a:lnTo>
                <a:lnTo>
                  <a:pt x="758698" y="116966"/>
                </a:lnTo>
                <a:lnTo>
                  <a:pt x="759624" y="131087"/>
                </a:lnTo>
                <a:lnTo>
                  <a:pt x="781452" y="170636"/>
                </a:lnTo>
                <a:lnTo>
                  <a:pt x="813689" y="179958"/>
                </a:lnTo>
                <a:lnTo>
                  <a:pt x="826190" y="179224"/>
                </a:lnTo>
                <a:lnTo>
                  <a:pt x="837406" y="177037"/>
                </a:lnTo>
                <a:lnTo>
                  <a:pt x="847336" y="173422"/>
                </a:lnTo>
                <a:lnTo>
                  <a:pt x="855979" y="168401"/>
                </a:lnTo>
                <a:lnTo>
                  <a:pt x="855979" y="163575"/>
                </a:lnTo>
                <a:lnTo>
                  <a:pt x="818387" y="163575"/>
                </a:lnTo>
                <a:lnTo>
                  <a:pt x="809742" y="162887"/>
                </a:lnTo>
                <a:lnTo>
                  <a:pt x="779720" y="130937"/>
                </a:lnTo>
                <a:lnTo>
                  <a:pt x="778891" y="121412"/>
                </a:lnTo>
                <a:lnTo>
                  <a:pt x="864361" y="121412"/>
                </a:lnTo>
                <a:lnTo>
                  <a:pt x="864361" y="111251"/>
                </a:lnTo>
                <a:lnTo>
                  <a:pt x="863965" y="104901"/>
                </a:lnTo>
                <a:lnTo>
                  <a:pt x="779145" y="104901"/>
                </a:lnTo>
                <a:lnTo>
                  <a:pt x="780669" y="97375"/>
                </a:lnTo>
                <a:lnTo>
                  <a:pt x="805052" y="69468"/>
                </a:lnTo>
                <a:lnTo>
                  <a:pt x="852088" y="69468"/>
                </a:lnTo>
                <a:lnTo>
                  <a:pt x="851407" y="68452"/>
                </a:lnTo>
                <a:lnTo>
                  <a:pt x="844188" y="61712"/>
                </a:lnTo>
                <a:lnTo>
                  <a:pt x="835659" y="56911"/>
                </a:lnTo>
                <a:lnTo>
                  <a:pt x="825797" y="54040"/>
                </a:lnTo>
                <a:lnTo>
                  <a:pt x="814577" y="53085"/>
                </a:lnTo>
                <a:close/>
              </a:path>
              <a:path w="864870" h="180339">
                <a:moveTo>
                  <a:pt x="855979" y="150113"/>
                </a:moveTo>
                <a:lnTo>
                  <a:pt x="847195" y="156021"/>
                </a:lnTo>
                <a:lnTo>
                  <a:pt x="837993" y="160226"/>
                </a:lnTo>
                <a:lnTo>
                  <a:pt x="828387" y="162740"/>
                </a:lnTo>
                <a:lnTo>
                  <a:pt x="818387" y="163575"/>
                </a:lnTo>
                <a:lnTo>
                  <a:pt x="855979" y="163575"/>
                </a:lnTo>
                <a:lnTo>
                  <a:pt x="855979" y="150113"/>
                </a:lnTo>
                <a:close/>
              </a:path>
              <a:path w="864870" h="180339">
                <a:moveTo>
                  <a:pt x="852088" y="69468"/>
                </a:moveTo>
                <a:lnTo>
                  <a:pt x="823722" y="69468"/>
                </a:lnTo>
                <a:lnTo>
                  <a:pt x="831087" y="72516"/>
                </a:lnTo>
                <a:lnTo>
                  <a:pt x="836422" y="78739"/>
                </a:lnTo>
                <a:lnTo>
                  <a:pt x="839924" y="83881"/>
                </a:lnTo>
                <a:lnTo>
                  <a:pt x="842438" y="89963"/>
                </a:lnTo>
                <a:lnTo>
                  <a:pt x="843976" y="96974"/>
                </a:lnTo>
                <a:lnTo>
                  <a:pt x="844550" y="104901"/>
                </a:lnTo>
                <a:lnTo>
                  <a:pt x="863965" y="104901"/>
                </a:lnTo>
                <a:lnTo>
                  <a:pt x="863552" y="98296"/>
                </a:lnTo>
                <a:lnTo>
                  <a:pt x="861123" y="86852"/>
                </a:lnTo>
                <a:lnTo>
                  <a:pt x="857075" y="76908"/>
                </a:lnTo>
                <a:lnTo>
                  <a:pt x="852088" y="69468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5030227" y="2373291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90" h="429894">
                <a:moveTo>
                  <a:pt x="0" y="429768"/>
                </a:moveTo>
                <a:lnTo>
                  <a:pt x="1850136" y="429768"/>
                </a:lnTo>
                <a:lnTo>
                  <a:pt x="1850136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D73A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5543562" y="2481574"/>
            <a:ext cx="337646" cy="169272"/>
          </a:xfrm>
          <a:custGeom>
            <a:avLst/>
            <a:gdLst/>
            <a:ahLst/>
            <a:cxnLst/>
            <a:rect l="l" t="t" r="r" b="b"/>
            <a:pathLst>
              <a:path w="459104" h="172719">
                <a:moveTo>
                  <a:pt x="46863" y="0"/>
                </a:moveTo>
                <a:lnTo>
                  <a:pt x="0" y="0"/>
                </a:lnTo>
                <a:lnTo>
                  <a:pt x="0" y="169672"/>
                </a:lnTo>
                <a:lnTo>
                  <a:pt x="44957" y="169672"/>
                </a:lnTo>
                <a:lnTo>
                  <a:pt x="64770" y="168173"/>
                </a:lnTo>
                <a:lnTo>
                  <a:pt x="82486" y="163687"/>
                </a:lnTo>
                <a:lnTo>
                  <a:pt x="98107" y="156223"/>
                </a:lnTo>
                <a:lnTo>
                  <a:pt x="104055" y="151637"/>
                </a:lnTo>
                <a:lnTo>
                  <a:pt x="19939" y="151637"/>
                </a:lnTo>
                <a:lnTo>
                  <a:pt x="19939" y="18034"/>
                </a:lnTo>
                <a:lnTo>
                  <a:pt x="109362" y="18034"/>
                </a:lnTo>
                <a:lnTo>
                  <a:pt x="86107" y="5167"/>
                </a:lnTo>
                <a:lnTo>
                  <a:pt x="46863" y="0"/>
                </a:lnTo>
                <a:close/>
              </a:path>
              <a:path w="459104" h="172719">
                <a:moveTo>
                  <a:pt x="109362" y="18034"/>
                </a:moveTo>
                <a:lnTo>
                  <a:pt x="46354" y="18034"/>
                </a:lnTo>
                <a:lnTo>
                  <a:pt x="76692" y="22105"/>
                </a:lnTo>
                <a:lnTo>
                  <a:pt x="98361" y="34321"/>
                </a:lnTo>
                <a:lnTo>
                  <a:pt x="111363" y="54681"/>
                </a:lnTo>
                <a:lnTo>
                  <a:pt x="115697" y="83185"/>
                </a:lnTo>
                <a:lnTo>
                  <a:pt x="114532" y="98639"/>
                </a:lnTo>
                <a:lnTo>
                  <a:pt x="97154" y="133858"/>
                </a:lnTo>
                <a:lnTo>
                  <a:pt x="60954" y="150538"/>
                </a:lnTo>
                <a:lnTo>
                  <a:pt x="45212" y="151637"/>
                </a:lnTo>
                <a:lnTo>
                  <a:pt x="104055" y="151637"/>
                </a:lnTo>
                <a:lnTo>
                  <a:pt x="130317" y="118141"/>
                </a:lnTo>
                <a:lnTo>
                  <a:pt x="136525" y="82676"/>
                </a:lnTo>
                <a:lnTo>
                  <a:pt x="130927" y="46505"/>
                </a:lnTo>
                <a:lnTo>
                  <a:pt x="114125" y="20669"/>
                </a:lnTo>
                <a:lnTo>
                  <a:pt x="109362" y="18034"/>
                </a:lnTo>
                <a:close/>
              </a:path>
              <a:path w="459104" h="172719">
                <a:moveTo>
                  <a:pt x="245393" y="61975"/>
                </a:moveTo>
                <a:lnTo>
                  <a:pt x="208915" y="61975"/>
                </a:lnTo>
                <a:lnTo>
                  <a:pt x="219842" y="63904"/>
                </a:lnTo>
                <a:lnTo>
                  <a:pt x="227663" y="69691"/>
                </a:lnTo>
                <a:lnTo>
                  <a:pt x="232364" y="79335"/>
                </a:lnTo>
                <a:lnTo>
                  <a:pt x="233934" y="92837"/>
                </a:lnTo>
                <a:lnTo>
                  <a:pt x="197612" y="97917"/>
                </a:lnTo>
                <a:lnTo>
                  <a:pt x="180109" y="102518"/>
                </a:lnTo>
                <a:lnTo>
                  <a:pt x="167608" y="110632"/>
                </a:lnTo>
                <a:lnTo>
                  <a:pt x="160106" y="122300"/>
                </a:lnTo>
                <a:lnTo>
                  <a:pt x="157606" y="137541"/>
                </a:lnTo>
                <a:lnTo>
                  <a:pt x="158247" y="145063"/>
                </a:lnTo>
                <a:lnTo>
                  <a:pt x="187537" y="171870"/>
                </a:lnTo>
                <a:lnTo>
                  <a:pt x="196088" y="172466"/>
                </a:lnTo>
                <a:lnTo>
                  <a:pt x="207690" y="171108"/>
                </a:lnTo>
                <a:lnTo>
                  <a:pt x="217757" y="167036"/>
                </a:lnTo>
                <a:lnTo>
                  <a:pt x="226323" y="160250"/>
                </a:lnTo>
                <a:lnTo>
                  <a:pt x="229343" y="156210"/>
                </a:lnTo>
                <a:lnTo>
                  <a:pt x="193675" y="156210"/>
                </a:lnTo>
                <a:lnTo>
                  <a:pt x="187960" y="154305"/>
                </a:lnTo>
                <a:lnTo>
                  <a:pt x="183769" y="150622"/>
                </a:lnTo>
                <a:lnTo>
                  <a:pt x="179577" y="146812"/>
                </a:lnTo>
                <a:lnTo>
                  <a:pt x="177419" y="141986"/>
                </a:lnTo>
                <a:lnTo>
                  <a:pt x="177434" y="127851"/>
                </a:lnTo>
                <a:lnTo>
                  <a:pt x="179713" y="122295"/>
                </a:lnTo>
                <a:lnTo>
                  <a:pt x="188849" y="115950"/>
                </a:lnTo>
                <a:lnTo>
                  <a:pt x="195706" y="113664"/>
                </a:lnTo>
                <a:lnTo>
                  <a:pt x="233934" y="108331"/>
                </a:lnTo>
                <a:lnTo>
                  <a:pt x="253238" y="108331"/>
                </a:lnTo>
                <a:lnTo>
                  <a:pt x="253238" y="90932"/>
                </a:lnTo>
                <a:lnTo>
                  <a:pt x="250571" y="71116"/>
                </a:lnTo>
                <a:lnTo>
                  <a:pt x="245393" y="61975"/>
                </a:lnTo>
                <a:close/>
              </a:path>
              <a:path w="459104" h="172719">
                <a:moveTo>
                  <a:pt x="253238" y="150749"/>
                </a:moveTo>
                <a:lnTo>
                  <a:pt x="233934" y="150749"/>
                </a:lnTo>
                <a:lnTo>
                  <a:pt x="233934" y="169672"/>
                </a:lnTo>
                <a:lnTo>
                  <a:pt x="253238" y="169672"/>
                </a:lnTo>
                <a:lnTo>
                  <a:pt x="253238" y="150749"/>
                </a:lnTo>
                <a:close/>
              </a:path>
              <a:path w="459104" h="172719">
                <a:moveTo>
                  <a:pt x="253238" y="108331"/>
                </a:moveTo>
                <a:lnTo>
                  <a:pt x="233934" y="108331"/>
                </a:lnTo>
                <a:lnTo>
                  <a:pt x="233934" y="120396"/>
                </a:lnTo>
                <a:lnTo>
                  <a:pt x="233330" y="127888"/>
                </a:lnTo>
                <a:lnTo>
                  <a:pt x="200660" y="156210"/>
                </a:lnTo>
                <a:lnTo>
                  <a:pt x="229343" y="156210"/>
                </a:lnTo>
                <a:lnTo>
                  <a:pt x="233425" y="150749"/>
                </a:lnTo>
                <a:lnTo>
                  <a:pt x="253238" y="150749"/>
                </a:lnTo>
                <a:lnTo>
                  <a:pt x="253238" y="108331"/>
                </a:lnTo>
                <a:close/>
              </a:path>
              <a:path w="459104" h="172719">
                <a:moveTo>
                  <a:pt x="210566" y="45720"/>
                </a:moveTo>
                <a:lnTo>
                  <a:pt x="169477" y="56991"/>
                </a:lnTo>
                <a:lnTo>
                  <a:pt x="169418" y="76962"/>
                </a:lnTo>
                <a:lnTo>
                  <a:pt x="178464" y="70387"/>
                </a:lnTo>
                <a:lnTo>
                  <a:pt x="188071" y="65706"/>
                </a:lnTo>
                <a:lnTo>
                  <a:pt x="198225" y="62906"/>
                </a:lnTo>
                <a:lnTo>
                  <a:pt x="208915" y="61975"/>
                </a:lnTo>
                <a:lnTo>
                  <a:pt x="245393" y="61975"/>
                </a:lnTo>
                <a:lnTo>
                  <a:pt x="242570" y="56991"/>
                </a:lnTo>
                <a:lnTo>
                  <a:pt x="229235" y="48533"/>
                </a:lnTo>
                <a:lnTo>
                  <a:pt x="210566" y="45720"/>
                </a:lnTo>
                <a:close/>
              </a:path>
              <a:path w="459104" h="172719">
                <a:moveTo>
                  <a:pt x="315722" y="65024"/>
                </a:moveTo>
                <a:lnTo>
                  <a:pt x="296291" y="65024"/>
                </a:lnTo>
                <a:lnTo>
                  <a:pt x="296291" y="136779"/>
                </a:lnTo>
                <a:lnTo>
                  <a:pt x="298269" y="152300"/>
                </a:lnTo>
                <a:lnTo>
                  <a:pt x="304212" y="163417"/>
                </a:lnTo>
                <a:lnTo>
                  <a:pt x="314132" y="170104"/>
                </a:lnTo>
                <a:lnTo>
                  <a:pt x="328041" y="172338"/>
                </a:lnTo>
                <a:lnTo>
                  <a:pt x="335534" y="172338"/>
                </a:lnTo>
                <a:lnTo>
                  <a:pt x="341629" y="171069"/>
                </a:lnTo>
                <a:lnTo>
                  <a:pt x="346201" y="168529"/>
                </a:lnTo>
                <a:lnTo>
                  <a:pt x="346201" y="155956"/>
                </a:lnTo>
                <a:lnTo>
                  <a:pt x="327151" y="155956"/>
                </a:lnTo>
                <a:lnTo>
                  <a:pt x="322579" y="154178"/>
                </a:lnTo>
                <a:lnTo>
                  <a:pt x="319786" y="150749"/>
                </a:lnTo>
                <a:lnTo>
                  <a:pt x="317119" y="147320"/>
                </a:lnTo>
                <a:lnTo>
                  <a:pt x="315722" y="141478"/>
                </a:lnTo>
                <a:lnTo>
                  <a:pt x="315722" y="65024"/>
                </a:lnTo>
                <a:close/>
              </a:path>
              <a:path w="459104" h="172719">
                <a:moveTo>
                  <a:pt x="346201" y="151892"/>
                </a:moveTo>
                <a:lnTo>
                  <a:pt x="342646" y="154559"/>
                </a:lnTo>
                <a:lnTo>
                  <a:pt x="338454" y="155956"/>
                </a:lnTo>
                <a:lnTo>
                  <a:pt x="346201" y="155956"/>
                </a:lnTo>
                <a:lnTo>
                  <a:pt x="346201" y="151892"/>
                </a:lnTo>
                <a:close/>
              </a:path>
              <a:path w="459104" h="172719">
                <a:moveTo>
                  <a:pt x="346201" y="48513"/>
                </a:moveTo>
                <a:lnTo>
                  <a:pt x="275463" y="48513"/>
                </a:lnTo>
                <a:lnTo>
                  <a:pt x="275463" y="65024"/>
                </a:lnTo>
                <a:lnTo>
                  <a:pt x="346201" y="65024"/>
                </a:lnTo>
                <a:lnTo>
                  <a:pt x="346201" y="48513"/>
                </a:lnTo>
                <a:close/>
              </a:path>
              <a:path w="459104" h="172719">
                <a:moveTo>
                  <a:pt x="315722" y="12700"/>
                </a:moveTo>
                <a:lnTo>
                  <a:pt x="296291" y="18923"/>
                </a:lnTo>
                <a:lnTo>
                  <a:pt x="296291" y="48513"/>
                </a:lnTo>
                <a:lnTo>
                  <a:pt x="315722" y="48513"/>
                </a:lnTo>
                <a:lnTo>
                  <a:pt x="315722" y="12700"/>
                </a:lnTo>
                <a:close/>
              </a:path>
              <a:path w="459104" h="172719">
                <a:moveTo>
                  <a:pt x="451133" y="61975"/>
                </a:moveTo>
                <a:lnTo>
                  <a:pt x="414654" y="61975"/>
                </a:lnTo>
                <a:lnTo>
                  <a:pt x="425582" y="63904"/>
                </a:lnTo>
                <a:lnTo>
                  <a:pt x="433403" y="69691"/>
                </a:lnTo>
                <a:lnTo>
                  <a:pt x="438104" y="79335"/>
                </a:lnTo>
                <a:lnTo>
                  <a:pt x="439674" y="92837"/>
                </a:lnTo>
                <a:lnTo>
                  <a:pt x="403351" y="97917"/>
                </a:lnTo>
                <a:lnTo>
                  <a:pt x="385849" y="102518"/>
                </a:lnTo>
                <a:lnTo>
                  <a:pt x="373348" y="110632"/>
                </a:lnTo>
                <a:lnTo>
                  <a:pt x="365846" y="122300"/>
                </a:lnTo>
                <a:lnTo>
                  <a:pt x="363347" y="137541"/>
                </a:lnTo>
                <a:lnTo>
                  <a:pt x="363987" y="145063"/>
                </a:lnTo>
                <a:lnTo>
                  <a:pt x="393277" y="171870"/>
                </a:lnTo>
                <a:lnTo>
                  <a:pt x="401827" y="172466"/>
                </a:lnTo>
                <a:lnTo>
                  <a:pt x="413430" y="171108"/>
                </a:lnTo>
                <a:lnTo>
                  <a:pt x="423497" y="167036"/>
                </a:lnTo>
                <a:lnTo>
                  <a:pt x="432063" y="160250"/>
                </a:lnTo>
                <a:lnTo>
                  <a:pt x="435083" y="156210"/>
                </a:lnTo>
                <a:lnTo>
                  <a:pt x="399415" y="156210"/>
                </a:lnTo>
                <a:lnTo>
                  <a:pt x="393700" y="154305"/>
                </a:lnTo>
                <a:lnTo>
                  <a:pt x="389509" y="150622"/>
                </a:lnTo>
                <a:lnTo>
                  <a:pt x="385318" y="146812"/>
                </a:lnTo>
                <a:lnTo>
                  <a:pt x="383159" y="141986"/>
                </a:lnTo>
                <a:lnTo>
                  <a:pt x="383174" y="127851"/>
                </a:lnTo>
                <a:lnTo>
                  <a:pt x="385453" y="122295"/>
                </a:lnTo>
                <a:lnTo>
                  <a:pt x="394589" y="115950"/>
                </a:lnTo>
                <a:lnTo>
                  <a:pt x="401447" y="113664"/>
                </a:lnTo>
                <a:lnTo>
                  <a:pt x="439674" y="108331"/>
                </a:lnTo>
                <a:lnTo>
                  <a:pt x="458977" y="108331"/>
                </a:lnTo>
                <a:lnTo>
                  <a:pt x="458977" y="90932"/>
                </a:lnTo>
                <a:lnTo>
                  <a:pt x="456310" y="71116"/>
                </a:lnTo>
                <a:lnTo>
                  <a:pt x="451133" y="61975"/>
                </a:lnTo>
                <a:close/>
              </a:path>
              <a:path w="459104" h="172719">
                <a:moveTo>
                  <a:pt x="458977" y="150749"/>
                </a:moveTo>
                <a:lnTo>
                  <a:pt x="439674" y="150749"/>
                </a:lnTo>
                <a:lnTo>
                  <a:pt x="439674" y="169672"/>
                </a:lnTo>
                <a:lnTo>
                  <a:pt x="458977" y="169672"/>
                </a:lnTo>
                <a:lnTo>
                  <a:pt x="458977" y="150749"/>
                </a:lnTo>
                <a:close/>
              </a:path>
              <a:path w="459104" h="172719">
                <a:moveTo>
                  <a:pt x="458977" y="108331"/>
                </a:moveTo>
                <a:lnTo>
                  <a:pt x="439674" y="108331"/>
                </a:lnTo>
                <a:lnTo>
                  <a:pt x="439674" y="120396"/>
                </a:lnTo>
                <a:lnTo>
                  <a:pt x="439070" y="127888"/>
                </a:lnTo>
                <a:lnTo>
                  <a:pt x="406400" y="156210"/>
                </a:lnTo>
                <a:lnTo>
                  <a:pt x="435083" y="156210"/>
                </a:lnTo>
                <a:lnTo>
                  <a:pt x="439166" y="150749"/>
                </a:lnTo>
                <a:lnTo>
                  <a:pt x="458977" y="150749"/>
                </a:lnTo>
                <a:lnTo>
                  <a:pt x="458977" y="108331"/>
                </a:lnTo>
                <a:close/>
              </a:path>
              <a:path w="459104" h="172719">
                <a:moveTo>
                  <a:pt x="416305" y="45720"/>
                </a:moveTo>
                <a:lnTo>
                  <a:pt x="375217" y="56991"/>
                </a:lnTo>
                <a:lnTo>
                  <a:pt x="375157" y="76962"/>
                </a:lnTo>
                <a:lnTo>
                  <a:pt x="384204" y="70387"/>
                </a:lnTo>
                <a:lnTo>
                  <a:pt x="393811" y="65706"/>
                </a:lnTo>
                <a:lnTo>
                  <a:pt x="403965" y="62906"/>
                </a:lnTo>
                <a:lnTo>
                  <a:pt x="414654" y="61975"/>
                </a:lnTo>
                <a:lnTo>
                  <a:pt x="451133" y="61975"/>
                </a:lnTo>
                <a:lnTo>
                  <a:pt x="448309" y="56991"/>
                </a:lnTo>
                <a:lnTo>
                  <a:pt x="434975" y="48533"/>
                </a:lnTo>
                <a:lnTo>
                  <a:pt x="416305" y="45720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7398234" y="1213404"/>
            <a:ext cx="859293" cy="232749"/>
          </a:xfrm>
          <a:custGeom>
            <a:avLst/>
            <a:gdLst/>
            <a:ahLst/>
            <a:cxnLst/>
            <a:rect l="l" t="t" r="r" b="b"/>
            <a:pathLst>
              <a:path w="1168400" h="237490">
                <a:moveTo>
                  <a:pt x="0" y="194690"/>
                </a:moveTo>
                <a:lnTo>
                  <a:pt x="0" y="224662"/>
                </a:lnTo>
                <a:lnTo>
                  <a:pt x="2793" y="226567"/>
                </a:lnTo>
                <a:lnTo>
                  <a:pt x="6603" y="228346"/>
                </a:lnTo>
                <a:lnTo>
                  <a:pt x="11302" y="229870"/>
                </a:lnTo>
                <a:lnTo>
                  <a:pt x="16001" y="231521"/>
                </a:lnTo>
                <a:lnTo>
                  <a:pt x="51053" y="237109"/>
                </a:lnTo>
                <a:lnTo>
                  <a:pt x="54482" y="237109"/>
                </a:lnTo>
                <a:lnTo>
                  <a:pt x="97075" y="229933"/>
                </a:lnTo>
                <a:lnTo>
                  <a:pt x="120459" y="214249"/>
                </a:lnTo>
                <a:lnTo>
                  <a:pt x="53848" y="214249"/>
                </a:lnTo>
                <a:lnTo>
                  <a:pt x="48895" y="213740"/>
                </a:lnTo>
                <a:lnTo>
                  <a:pt x="38226" y="211962"/>
                </a:lnTo>
                <a:lnTo>
                  <a:pt x="32892" y="210692"/>
                </a:lnTo>
                <a:lnTo>
                  <a:pt x="27558" y="208914"/>
                </a:lnTo>
                <a:lnTo>
                  <a:pt x="22225" y="207263"/>
                </a:lnTo>
                <a:lnTo>
                  <a:pt x="17145" y="205232"/>
                </a:lnTo>
                <a:lnTo>
                  <a:pt x="12318" y="202819"/>
                </a:lnTo>
                <a:lnTo>
                  <a:pt x="7620" y="200406"/>
                </a:lnTo>
                <a:lnTo>
                  <a:pt x="3428" y="197612"/>
                </a:lnTo>
                <a:lnTo>
                  <a:pt x="0" y="194690"/>
                </a:lnTo>
                <a:close/>
              </a:path>
              <a:path w="1168400" h="237490">
                <a:moveTo>
                  <a:pt x="75946" y="12191"/>
                </a:moveTo>
                <a:lnTo>
                  <a:pt x="35369" y="20050"/>
                </a:lnTo>
                <a:lnTo>
                  <a:pt x="4004" y="50194"/>
                </a:lnTo>
                <a:lnTo>
                  <a:pt x="253" y="70358"/>
                </a:lnTo>
                <a:lnTo>
                  <a:pt x="253" y="78359"/>
                </a:lnTo>
                <a:lnTo>
                  <a:pt x="1650" y="85471"/>
                </a:lnTo>
                <a:lnTo>
                  <a:pt x="4445" y="91439"/>
                </a:lnTo>
                <a:lnTo>
                  <a:pt x="7238" y="97536"/>
                </a:lnTo>
                <a:lnTo>
                  <a:pt x="11049" y="102870"/>
                </a:lnTo>
                <a:lnTo>
                  <a:pt x="20827" y="112395"/>
                </a:lnTo>
                <a:lnTo>
                  <a:pt x="26542" y="116712"/>
                </a:lnTo>
                <a:lnTo>
                  <a:pt x="33147" y="120650"/>
                </a:lnTo>
                <a:lnTo>
                  <a:pt x="39624" y="124587"/>
                </a:lnTo>
                <a:lnTo>
                  <a:pt x="46735" y="128524"/>
                </a:lnTo>
                <a:lnTo>
                  <a:pt x="61595" y="136016"/>
                </a:lnTo>
                <a:lnTo>
                  <a:pt x="68199" y="139446"/>
                </a:lnTo>
                <a:lnTo>
                  <a:pt x="101346" y="164973"/>
                </a:lnTo>
                <a:lnTo>
                  <a:pt x="105155" y="174498"/>
                </a:lnTo>
                <a:lnTo>
                  <a:pt x="105155" y="180339"/>
                </a:lnTo>
                <a:lnTo>
                  <a:pt x="79009" y="212058"/>
                </a:lnTo>
                <a:lnTo>
                  <a:pt x="58420" y="214249"/>
                </a:lnTo>
                <a:lnTo>
                  <a:pt x="120459" y="214249"/>
                </a:lnTo>
                <a:lnTo>
                  <a:pt x="131952" y="170434"/>
                </a:lnTo>
                <a:lnTo>
                  <a:pt x="130428" y="163195"/>
                </a:lnTo>
                <a:lnTo>
                  <a:pt x="127129" y="156717"/>
                </a:lnTo>
                <a:lnTo>
                  <a:pt x="124205" y="150749"/>
                </a:lnTo>
                <a:lnTo>
                  <a:pt x="96392" y="125729"/>
                </a:lnTo>
                <a:lnTo>
                  <a:pt x="89407" y="121412"/>
                </a:lnTo>
                <a:lnTo>
                  <a:pt x="82041" y="117348"/>
                </a:lnTo>
                <a:lnTo>
                  <a:pt x="66675" y="109854"/>
                </a:lnTo>
                <a:lnTo>
                  <a:pt x="59943" y="106425"/>
                </a:lnTo>
                <a:lnTo>
                  <a:pt x="48259" y="100075"/>
                </a:lnTo>
                <a:lnTo>
                  <a:pt x="43433" y="96900"/>
                </a:lnTo>
                <a:lnTo>
                  <a:pt x="39370" y="93472"/>
                </a:lnTo>
                <a:lnTo>
                  <a:pt x="35305" y="90170"/>
                </a:lnTo>
                <a:lnTo>
                  <a:pt x="32257" y="86487"/>
                </a:lnTo>
                <a:lnTo>
                  <a:pt x="30099" y="82423"/>
                </a:lnTo>
                <a:lnTo>
                  <a:pt x="28066" y="78359"/>
                </a:lnTo>
                <a:lnTo>
                  <a:pt x="27050" y="73533"/>
                </a:lnTo>
                <a:lnTo>
                  <a:pt x="27050" y="62102"/>
                </a:lnTo>
                <a:lnTo>
                  <a:pt x="41782" y="42672"/>
                </a:lnTo>
                <a:lnTo>
                  <a:pt x="46100" y="40004"/>
                </a:lnTo>
                <a:lnTo>
                  <a:pt x="51053" y="38100"/>
                </a:lnTo>
                <a:lnTo>
                  <a:pt x="62229" y="35813"/>
                </a:lnTo>
                <a:lnTo>
                  <a:pt x="67817" y="35178"/>
                </a:lnTo>
                <a:lnTo>
                  <a:pt x="122808" y="35178"/>
                </a:lnTo>
                <a:lnTo>
                  <a:pt x="122808" y="19938"/>
                </a:lnTo>
                <a:lnTo>
                  <a:pt x="114379" y="16531"/>
                </a:lnTo>
                <a:lnTo>
                  <a:pt x="103758" y="14112"/>
                </a:lnTo>
                <a:lnTo>
                  <a:pt x="90947" y="12670"/>
                </a:lnTo>
                <a:lnTo>
                  <a:pt x="75946" y="12191"/>
                </a:lnTo>
                <a:close/>
              </a:path>
              <a:path w="1168400" h="237490">
                <a:moveTo>
                  <a:pt x="122808" y="35178"/>
                </a:moveTo>
                <a:lnTo>
                  <a:pt x="73278" y="35178"/>
                </a:lnTo>
                <a:lnTo>
                  <a:pt x="87733" y="36014"/>
                </a:lnTo>
                <a:lnTo>
                  <a:pt x="100806" y="38528"/>
                </a:lnTo>
                <a:lnTo>
                  <a:pt x="112498" y="42733"/>
                </a:lnTo>
                <a:lnTo>
                  <a:pt x="122808" y="48640"/>
                </a:lnTo>
                <a:lnTo>
                  <a:pt x="122808" y="35178"/>
                </a:lnTo>
                <a:close/>
              </a:path>
              <a:path w="1168400" h="237490">
                <a:moveTo>
                  <a:pt x="240029" y="74422"/>
                </a:moveTo>
                <a:lnTo>
                  <a:pt x="193863" y="86798"/>
                </a:lnTo>
                <a:lnTo>
                  <a:pt x="166131" y="122713"/>
                </a:lnTo>
                <a:lnTo>
                  <a:pt x="160781" y="157607"/>
                </a:lnTo>
                <a:lnTo>
                  <a:pt x="162067" y="174708"/>
                </a:lnTo>
                <a:lnTo>
                  <a:pt x="181355" y="215391"/>
                </a:lnTo>
                <a:lnTo>
                  <a:pt x="220039" y="235751"/>
                </a:lnTo>
                <a:lnTo>
                  <a:pt x="236347" y="237109"/>
                </a:lnTo>
                <a:lnTo>
                  <a:pt x="253158" y="235706"/>
                </a:lnTo>
                <a:lnTo>
                  <a:pt x="268160" y="231505"/>
                </a:lnTo>
                <a:lnTo>
                  <a:pt x="281352" y="224518"/>
                </a:lnTo>
                <a:lnTo>
                  <a:pt x="291105" y="216153"/>
                </a:lnTo>
                <a:lnTo>
                  <a:pt x="238251" y="216153"/>
                </a:lnTo>
                <a:lnTo>
                  <a:pt x="226962" y="215155"/>
                </a:lnTo>
                <a:lnTo>
                  <a:pt x="194238" y="191561"/>
                </a:lnTo>
                <a:lnTo>
                  <a:pt x="186368" y="157607"/>
                </a:lnTo>
                <a:lnTo>
                  <a:pt x="186407" y="155194"/>
                </a:lnTo>
                <a:lnTo>
                  <a:pt x="200278" y="111633"/>
                </a:lnTo>
                <a:lnTo>
                  <a:pt x="238251" y="95376"/>
                </a:lnTo>
                <a:lnTo>
                  <a:pt x="293823" y="95376"/>
                </a:lnTo>
                <a:lnTo>
                  <a:pt x="283589" y="86423"/>
                </a:lnTo>
                <a:lnTo>
                  <a:pt x="271002" y="79756"/>
                </a:lnTo>
                <a:lnTo>
                  <a:pt x="256486" y="75755"/>
                </a:lnTo>
                <a:lnTo>
                  <a:pt x="240029" y="74422"/>
                </a:lnTo>
                <a:close/>
              </a:path>
              <a:path w="1168400" h="237490">
                <a:moveTo>
                  <a:pt x="293823" y="95376"/>
                </a:moveTo>
                <a:lnTo>
                  <a:pt x="238251" y="95376"/>
                </a:lnTo>
                <a:lnTo>
                  <a:pt x="249582" y="96355"/>
                </a:lnTo>
                <a:lnTo>
                  <a:pt x="259556" y="99298"/>
                </a:lnTo>
                <a:lnTo>
                  <a:pt x="285051" y="130270"/>
                </a:lnTo>
                <a:lnTo>
                  <a:pt x="288237" y="155194"/>
                </a:lnTo>
                <a:lnTo>
                  <a:pt x="288199" y="157607"/>
                </a:lnTo>
                <a:lnTo>
                  <a:pt x="275335" y="200533"/>
                </a:lnTo>
                <a:lnTo>
                  <a:pt x="238251" y="216153"/>
                </a:lnTo>
                <a:lnTo>
                  <a:pt x="291105" y="216153"/>
                </a:lnTo>
                <a:lnTo>
                  <a:pt x="312505" y="172841"/>
                </a:lnTo>
                <a:lnTo>
                  <a:pt x="313816" y="155194"/>
                </a:lnTo>
                <a:lnTo>
                  <a:pt x="312600" y="137263"/>
                </a:lnTo>
                <a:lnTo>
                  <a:pt x="308943" y="121380"/>
                </a:lnTo>
                <a:lnTo>
                  <a:pt x="302833" y="107545"/>
                </a:lnTo>
                <a:lnTo>
                  <a:pt x="294258" y="95758"/>
                </a:lnTo>
                <a:lnTo>
                  <a:pt x="293823" y="95376"/>
                </a:lnTo>
                <a:close/>
              </a:path>
              <a:path w="1168400" h="237490">
                <a:moveTo>
                  <a:pt x="382397" y="99313"/>
                </a:moveTo>
                <a:lnTo>
                  <a:pt x="357631" y="99313"/>
                </a:lnTo>
                <a:lnTo>
                  <a:pt x="357631" y="233552"/>
                </a:lnTo>
                <a:lnTo>
                  <a:pt x="382397" y="233552"/>
                </a:lnTo>
                <a:lnTo>
                  <a:pt x="382397" y="99313"/>
                </a:lnTo>
                <a:close/>
              </a:path>
              <a:path w="1168400" h="237490">
                <a:moveTo>
                  <a:pt x="418846" y="78104"/>
                </a:moveTo>
                <a:lnTo>
                  <a:pt x="331088" y="78104"/>
                </a:lnTo>
                <a:lnTo>
                  <a:pt x="331088" y="99313"/>
                </a:lnTo>
                <a:lnTo>
                  <a:pt x="418846" y="99313"/>
                </a:lnTo>
                <a:lnTo>
                  <a:pt x="418846" y="78104"/>
                </a:lnTo>
                <a:close/>
              </a:path>
              <a:path w="1168400" h="237490">
                <a:moveTo>
                  <a:pt x="414527" y="0"/>
                </a:moveTo>
                <a:lnTo>
                  <a:pt x="406907" y="0"/>
                </a:lnTo>
                <a:lnTo>
                  <a:pt x="396818" y="888"/>
                </a:lnTo>
                <a:lnTo>
                  <a:pt x="361156" y="30956"/>
                </a:lnTo>
                <a:lnTo>
                  <a:pt x="357631" y="52832"/>
                </a:lnTo>
                <a:lnTo>
                  <a:pt x="357631" y="78104"/>
                </a:lnTo>
                <a:lnTo>
                  <a:pt x="382397" y="78104"/>
                </a:lnTo>
                <a:lnTo>
                  <a:pt x="382397" y="54101"/>
                </a:lnTo>
                <a:lnTo>
                  <a:pt x="384018" y="39673"/>
                </a:lnTo>
                <a:lnTo>
                  <a:pt x="388889" y="29352"/>
                </a:lnTo>
                <a:lnTo>
                  <a:pt x="397023" y="23151"/>
                </a:lnTo>
                <a:lnTo>
                  <a:pt x="408431" y="21082"/>
                </a:lnTo>
                <a:lnTo>
                  <a:pt x="425068" y="21082"/>
                </a:lnTo>
                <a:lnTo>
                  <a:pt x="425068" y="2794"/>
                </a:lnTo>
                <a:lnTo>
                  <a:pt x="420583" y="883"/>
                </a:lnTo>
                <a:lnTo>
                  <a:pt x="414527" y="0"/>
                </a:lnTo>
                <a:close/>
              </a:path>
              <a:path w="1168400" h="237490">
                <a:moveTo>
                  <a:pt x="425068" y="21082"/>
                </a:moveTo>
                <a:lnTo>
                  <a:pt x="414654" y="21082"/>
                </a:lnTo>
                <a:lnTo>
                  <a:pt x="420115" y="22478"/>
                </a:lnTo>
                <a:lnTo>
                  <a:pt x="425068" y="25273"/>
                </a:lnTo>
                <a:lnTo>
                  <a:pt x="425068" y="21082"/>
                </a:lnTo>
                <a:close/>
              </a:path>
              <a:path w="1168400" h="237490">
                <a:moveTo>
                  <a:pt x="484758" y="99313"/>
                </a:moveTo>
                <a:lnTo>
                  <a:pt x="459866" y="99313"/>
                </a:lnTo>
                <a:lnTo>
                  <a:pt x="459866" y="191262"/>
                </a:lnTo>
                <a:lnTo>
                  <a:pt x="462416" y="211191"/>
                </a:lnTo>
                <a:lnTo>
                  <a:pt x="470074" y="225440"/>
                </a:lnTo>
                <a:lnTo>
                  <a:pt x="482852" y="233999"/>
                </a:lnTo>
                <a:lnTo>
                  <a:pt x="500760" y="236854"/>
                </a:lnTo>
                <a:lnTo>
                  <a:pt x="510285" y="236854"/>
                </a:lnTo>
                <a:lnTo>
                  <a:pt x="518032" y="235203"/>
                </a:lnTo>
                <a:lnTo>
                  <a:pt x="524001" y="232028"/>
                </a:lnTo>
                <a:lnTo>
                  <a:pt x="524001" y="215900"/>
                </a:lnTo>
                <a:lnTo>
                  <a:pt x="499490" y="215900"/>
                </a:lnTo>
                <a:lnTo>
                  <a:pt x="493649" y="213613"/>
                </a:lnTo>
                <a:lnTo>
                  <a:pt x="486536" y="204724"/>
                </a:lnTo>
                <a:lnTo>
                  <a:pt x="484758" y="197358"/>
                </a:lnTo>
                <a:lnTo>
                  <a:pt x="484758" y="99313"/>
                </a:lnTo>
                <a:close/>
              </a:path>
              <a:path w="1168400" h="237490">
                <a:moveTo>
                  <a:pt x="524001" y="210692"/>
                </a:moveTo>
                <a:lnTo>
                  <a:pt x="519429" y="214122"/>
                </a:lnTo>
                <a:lnTo>
                  <a:pt x="513968" y="215900"/>
                </a:lnTo>
                <a:lnTo>
                  <a:pt x="524001" y="215900"/>
                </a:lnTo>
                <a:lnTo>
                  <a:pt x="524001" y="210692"/>
                </a:lnTo>
                <a:close/>
              </a:path>
              <a:path w="1168400" h="237490">
                <a:moveTo>
                  <a:pt x="524001" y="78104"/>
                </a:moveTo>
                <a:lnTo>
                  <a:pt x="433197" y="78104"/>
                </a:lnTo>
                <a:lnTo>
                  <a:pt x="433197" y="99313"/>
                </a:lnTo>
                <a:lnTo>
                  <a:pt x="524001" y="99313"/>
                </a:lnTo>
                <a:lnTo>
                  <a:pt x="524001" y="78104"/>
                </a:lnTo>
                <a:close/>
              </a:path>
              <a:path w="1168400" h="237490">
                <a:moveTo>
                  <a:pt x="484758" y="32003"/>
                </a:moveTo>
                <a:lnTo>
                  <a:pt x="459866" y="40132"/>
                </a:lnTo>
                <a:lnTo>
                  <a:pt x="459866" y="78104"/>
                </a:lnTo>
                <a:lnTo>
                  <a:pt x="484758" y="78104"/>
                </a:lnTo>
                <a:lnTo>
                  <a:pt x="484758" y="32003"/>
                </a:lnTo>
                <a:close/>
              </a:path>
              <a:path w="1168400" h="237490">
                <a:moveTo>
                  <a:pt x="561593" y="78104"/>
                </a:moveTo>
                <a:lnTo>
                  <a:pt x="535431" y="78104"/>
                </a:lnTo>
                <a:lnTo>
                  <a:pt x="582549" y="233552"/>
                </a:lnTo>
                <a:lnTo>
                  <a:pt x="607440" y="233552"/>
                </a:lnTo>
                <a:lnTo>
                  <a:pt x="615093" y="208914"/>
                </a:lnTo>
                <a:lnTo>
                  <a:pt x="595883" y="208914"/>
                </a:lnTo>
                <a:lnTo>
                  <a:pt x="595502" y="203073"/>
                </a:lnTo>
                <a:lnTo>
                  <a:pt x="594740" y="198500"/>
                </a:lnTo>
                <a:lnTo>
                  <a:pt x="593725" y="194945"/>
                </a:lnTo>
                <a:lnTo>
                  <a:pt x="561593" y="78104"/>
                </a:lnTo>
                <a:close/>
              </a:path>
              <a:path w="1168400" h="237490">
                <a:moveTo>
                  <a:pt x="666554" y="107823"/>
                </a:moveTo>
                <a:lnTo>
                  <a:pt x="645922" y="107823"/>
                </a:lnTo>
                <a:lnTo>
                  <a:pt x="646302" y="113157"/>
                </a:lnTo>
                <a:lnTo>
                  <a:pt x="647191" y="117983"/>
                </a:lnTo>
                <a:lnTo>
                  <a:pt x="648334" y="122174"/>
                </a:lnTo>
                <a:lnTo>
                  <a:pt x="680465" y="233552"/>
                </a:lnTo>
                <a:lnTo>
                  <a:pt x="706247" y="233552"/>
                </a:lnTo>
                <a:lnTo>
                  <a:pt x="713558" y="209169"/>
                </a:lnTo>
                <a:lnTo>
                  <a:pt x="692911" y="209169"/>
                </a:lnTo>
                <a:lnTo>
                  <a:pt x="692403" y="203581"/>
                </a:lnTo>
                <a:lnTo>
                  <a:pt x="691641" y="199009"/>
                </a:lnTo>
                <a:lnTo>
                  <a:pt x="690556" y="194945"/>
                </a:lnTo>
                <a:lnTo>
                  <a:pt x="666554" y="107823"/>
                </a:lnTo>
                <a:close/>
              </a:path>
              <a:path w="1168400" h="237490">
                <a:moveTo>
                  <a:pt x="752855" y="78104"/>
                </a:moveTo>
                <a:lnTo>
                  <a:pt x="728217" y="78104"/>
                </a:lnTo>
                <a:lnTo>
                  <a:pt x="696722" y="195199"/>
                </a:lnTo>
                <a:lnTo>
                  <a:pt x="695198" y="200660"/>
                </a:lnTo>
                <a:lnTo>
                  <a:pt x="694308" y="205232"/>
                </a:lnTo>
                <a:lnTo>
                  <a:pt x="694054" y="209169"/>
                </a:lnTo>
                <a:lnTo>
                  <a:pt x="713558" y="209169"/>
                </a:lnTo>
                <a:lnTo>
                  <a:pt x="752855" y="78104"/>
                </a:lnTo>
                <a:close/>
              </a:path>
              <a:path w="1168400" h="237490">
                <a:moveTo>
                  <a:pt x="658367" y="78104"/>
                </a:moveTo>
                <a:lnTo>
                  <a:pt x="635634" y="78104"/>
                </a:lnTo>
                <a:lnTo>
                  <a:pt x="598297" y="199644"/>
                </a:lnTo>
                <a:lnTo>
                  <a:pt x="597407" y="204470"/>
                </a:lnTo>
                <a:lnTo>
                  <a:pt x="597026" y="208914"/>
                </a:lnTo>
                <a:lnTo>
                  <a:pt x="615093" y="208914"/>
                </a:lnTo>
                <a:lnTo>
                  <a:pt x="642111" y="121920"/>
                </a:lnTo>
                <a:lnTo>
                  <a:pt x="644016" y="116204"/>
                </a:lnTo>
                <a:lnTo>
                  <a:pt x="645032" y="111378"/>
                </a:lnTo>
                <a:lnTo>
                  <a:pt x="645286" y="107823"/>
                </a:lnTo>
                <a:lnTo>
                  <a:pt x="666554" y="107823"/>
                </a:lnTo>
                <a:lnTo>
                  <a:pt x="658367" y="78104"/>
                </a:lnTo>
                <a:close/>
              </a:path>
              <a:path w="1168400" h="237490">
                <a:moveTo>
                  <a:pt x="882267" y="95376"/>
                </a:moveTo>
                <a:lnTo>
                  <a:pt x="835405" y="95376"/>
                </a:lnTo>
                <a:lnTo>
                  <a:pt x="849407" y="97853"/>
                </a:lnTo>
                <a:lnTo>
                  <a:pt x="859408" y="105282"/>
                </a:lnTo>
                <a:lnTo>
                  <a:pt x="865409" y="117665"/>
                </a:lnTo>
                <a:lnTo>
                  <a:pt x="867409" y="135000"/>
                </a:lnTo>
                <a:lnTo>
                  <a:pt x="820801" y="141477"/>
                </a:lnTo>
                <a:lnTo>
                  <a:pt x="798371" y="147359"/>
                </a:lnTo>
                <a:lnTo>
                  <a:pt x="782335" y="157765"/>
                </a:lnTo>
                <a:lnTo>
                  <a:pt x="772701" y="172720"/>
                </a:lnTo>
                <a:lnTo>
                  <a:pt x="769492" y="192150"/>
                </a:lnTo>
                <a:lnTo>
                  <a:pt x="770304" y="201840"/>
                </a:lnTo>
                <a:lnTo>
                  <a:pt x="798274" y="234045"/>
                </a:lnTo>
                <a:lnTo>
                  <a:pt x="819023" y="237109"/>
                </a:lnTo>
                <a:lnTo>
                  <a:pt x="833806" y="235368"/>
                </a:lnTo>
                <a:lnTo>
                  <a:pt x="846708" y="230139"/>
                </a:lnTo>
                <a:lnTo>
                  <a:pt x="857706" y="221410"/>
                </a:lnTo>
                <a:lnTo>
                  <a:pt x="861600" y="216153"/>
                </a:lnTo>
                <a:lnTo>
                  <a:pt x="815721" y="216153"/>
                </a:lnTo>
                <a:lnTo>
                  <a:pt x="808481" y="213740"/>
                </a:lnTo>
                <a:lnTo>
                  <a:pt x="803092" y="208867"/>
                </a:lnTo>
                <a:lnTo>
                  <a:pt x="797686" y="204215"/>
                </a:lnTo>
                <a:lnTo>
                  <a:pt x="795020" y="197992"/>
                </a:lnTo>
                <a:lnTo>
                  <a:pt x="814720" y="163385"/>
                </a:lnTo>
                <a:lnTo>
                  <a:pt x="867409" y="154812"/>
                </a:lnTo>
                <a:lnTo>
                  <a:pt x="892301" y="154812"/>
                </a:lnTo>
                <a:lnTo>
                  <a:pt x="892301" y="132334"/>
                </a:lnTo>
                <a:lnTo>
                  <a:pt x="888873" y="106997"/>
                </a:lnTo>
                <a:lnTo>
                  <a:pt x="882267" y="95376"/>
                </a:lnTo>
                <a:close/>
              </a:path>
              <a:path w="1168400" h="237490">
                <a:moveTo>
                  <a:pt x="892301" y="209169"/>
                </a:moveTo>
                <a:lnTo>
                  <a:pt x="867409" y="209169"/>
                </a:lnTo>
                <a:lnTo>
                  <a:pt x="867409" y="233552"/>
                </a:lnTo>
                <a:lnTo>
                  <a:pt x="892301" y="233552"/>
                </a:lnTo>
                <a:lnTo>
                  <a:pt x="892301" y="209169"/>
                </a:lnTo>
                <a:close/>
              </a:path>
              <a:path w="1168400" h="237490">
                <a:moveTo>
                  <a:pt x="892301" y="154812"/>
                </a:moveTo>
                <a:lnTo>
                  <a:pt x="867409" y="154812"/>
                </a:lnTo>
                <a:lnTo>
                  <a:pt x="867409" y="170307"/>
                </a:lnTo>
                <a:lnTo>
                  <a:pt x="866649" y="179857"/>
                </a:lnTo>
                <a:lnTo>
                  <a:pt x="841660" y="212915"/>
                </a:lnTo>
                <a:lnTo>
                  <a:pt x="824737" y="216153"/>
                </a:lnTo>
                <a:lnTo>
                  <a:pt x="861600" y="216153"/>
                </a:lnTo>
                <a:lnTo>
                  <a:pt x="866775" y="209169"/>
                </a:lnTo>
                <a:lnTo>
                  <a:pt x="892301" y="209169"/>
                </a:lnTo>
                <a:lnTo>
                  <a:pt x="892301" y="154812"/>
                </a:lnTo>
                <a:close/>
              </a:path>
              <a:path w="1168400" h="237490">
                <a:moveTo>
                  <a:pt x="837437" y="74422"/>
                </a:moveTo>
                <a:lnTo>
                  <a:pt x="822934" y="75328"/>
                </a:lnTo>
                <a:lnTo>
                  <a:pt x="809323" y="78057"/>
                </a:lnTo>
                <a:lnTo>
                  <a:pt x="796593" y="82619"/>
                </a:lnTo>
                <a:lnTo>
                  <a:pt x="784732" y="89026"/>
                </a:lnTo>
                <a:lnTo>
                  <a:pt x="784732" y="114426"/>
                </a:lnTo>
                <a:lnTo>
                  <a:pt x="796329" y="106092"/>
                </a:lnTo>
                <a:lnTo>
                  <a:pt x="808640" y="100139"/>
                </a:lnTo>
                <a:lnTo>
                  <a:pt x="821666" y="96567"/>
                </a:lnTo>
                <a:lnTo>
                  <a:pt x="835405" y="95376"/>
                </a:lnTo>
                <a:lnTo>
                  <a:pt x="882267" y="95376"/>
                </a:lnTo>
                <a:lnTo>
                  <a:pt x="878585" y="88900"/>
                </a:lnTo>
                <a:lnTo>
                  <a:pt x="861440" y="78041"/>
                </a:lnTo>
                <a:lnTo>
                  <a:pt x="837437" y="74422"/>
                </a:lnTo>
                <a:close/>
              </a:path>
              <a:path w="1168400" h="237490">
                <a:moveTo>
                  <a:pt x="964437" y="78104"/>
                </a:moveTo>
                <a:lnTo>
                  <a:pt x="939546" y="78104"/>
                </a:lnTo>
                <a:lnTo>
                  <a:pt x="939546" y="233552"/>
                </a:lnTo>
                <a:lnTo>
                  <a:pt x="964437" y="233552"/>
                </a:lnTo>
                <a:lnTo>
                  <a:pt x="964437" y="154304"/>
                </a:lnTo>
                <a:lnTo>
                  <a:pt x="965104" y="141966"/>
                </a:lnTo>
                <a:lnTo>
                  <a:pt x="967104" y="131032"/>
                </a:lnTo>
                <a:lnTo>
                  <a:pt x="970438" y="121479"/>
                </a:lnTo>
                <a:lnTo>
                  <a:pt x="975105" y="113284"/>
                </a:lnTo>
                <a:lnTo>
                  <a:pt x="977834" y="110109"/>
                </a:lnTo>
                <a:lnTo>
                  <a:pt x="964437" y="110109"/>
                </a:lnTo>
                <a:lnTo>
                  <a:pt x="964437" y="78104"/>
                </a:lnTo>
                <a:close/>
              </a:path>
              <a:path w="1168400" h="237490">
                <a:moveTo>
                  <a:pt x="1012189" y="75311"/>
                </a:moveTo>
                <a:lnTo>
                  <a:pt x="1005712" y="75311"/>
                </a:lnTo>
                <a:lnTo>
                  <a:pt x="999116" y="75882"/>
                </a:lnTo>
                <a:lnTo>
                  <a:pt x="968077" y="102367"/>
                </a:lnTo>
                <a:lnTo>
                  <a:pt x="965073" y="110109"/>
                </a:lnTo>
                <a:lnTo>
                  <a:pt x="977834" y="110109"/>
                </a:lnTo>
                <a:lnTo>
                  <a:pt x="980773" y="106689"/>
                </a:lnTo>
                <a:lnTo>
                  <a:pt x="987107" y="101965"/>
                </a:lnTo>
                <a:lnTo>
                  <a:pt x="994108" y="99121"/>
                </a:lnTo>
                <a:lnTo>
                  <a:pt x="1001776" y="98171"/>
                </a:lnTo>
                <a:lnTo>
                  <a:pt x="1020572" y="98171"/>
                </a:lnTo>
                <a:lnTo>
                  <a:pt x="1020572" y="77470"/>
                </a:lnTo>
                <a:lnTo>
                  <a:pt x="1017142" y="76073"/>
                </a:lnTo>
                <a:lnTo>
                  <a:pt x="1012189" y="75311"/>
                </a:lnTo>
                <a:close/>
              </a:path>
              <a:path w="1168400" h="237490">
                <a:moveTo>
                  <a:pt x="1020572" y="98171"/>
                </a:moveTo>
                <a:lnTo>
                  <a:pt x="1009903" y="98171"/>
                </a:lnTo>
                <a:lnTo>
                  <a:pt x="1016253" y="99949"/>
                </a:lnTo>
                <a:lnTo>
                  <a:pt x="1020572" y="103250"/>
                </a:lnTo>
                <a:lnTo>
                  <a:pt x="1020572" y="98171"/>
                </a:lnTo>
                <a:close/>
              </a:path>
              <a:path w="1168400" h="237490">
                <a:moveTo>
                  <a:pt x="1104137" y="74422"/>
                </a:moveTo>
                <a:lnTo>
                  <a:pt x="1063990" y="87280"/>
                </a:lnTo>
                <a:lnTo>
                  <a:pt x="1037653" y="123475"/>
                </a:lnTo>
                <a:lnTo>
                  <a:pt x="1032509" y="156337"/>
                </a:lnTo>
                <a:lnTo>
                  <a:pt x="1033696" y="174484"/>
                </a:lnTo>
                <a:lnTo>
                  <a:pt x="1051305" y="215900"/>
                </a:lnTo>
                <a:lnTo>
                  <a:pt x="1087524" y="235795"/>
                </a:lnTo>
                <a:lnTo>
                  <a:pt x="1103122" y="237109"/>
                </a:lnTo>
                <a:lnTo>
                  <a:pt x="1119149" y="236180"/>
                </a:lnTo>
                <a:lnTo>
                  <a:pt x="1133522" y="233394"/>
                </a:lnTo>
                <a:lnTo>
                  <a:pt x="1146252" y="228750"/>
                </a:lnTo>
                <a:lnTo>
                  <a:pt x="1157351" y="222250"/>
                </a:lnTo>
                <a:lnTo>
                  <a:pt x="1157351" y="216153"/>
                </a:lnTo>
                <a:lnTo>
                  <a:pt x="1109090" y="216153"/>
                </a:lnTo>
                <a:lnTo>
                  <a:pt x="1097996" y="215272"/>
                </a:lnTo>
                <a:lnTo>
                  <a:pt x="1062132" y="185007"/>
                </a:lnTo>
                <a:lnTo>
                  <a:pt x="1058290" y="162051"/>
                </a:lnTo>
                <a:lnTo>
                  <a:pt x="1168146" y="162051"/>
                </a:lnTo>
                <a:lnTo>
                  <a:pt x="1168146" y="148971"/>
                </a:lnTo>
                <a:lnTo>
                  <a:pt x="1167632" y="140842"/>
                </a:lnTo>
                <a:lnTo>
                  <a:pt x="1058672" y="140842"/>
                </a:lnTo>
                <a:lnTo>
                  <a:pt x="1060694" y="131202"/>
                </a:lnTo>
                <a:lnTo>
                  <a:pt x="1087437" y="98520"/>
                </a:lnTo>
                <a:lnTo>
                  <a:pt x="1103756" y="95376"/>
                </a:lnTo>
                <a:lnTo>
                  <a:pt x="1152239" y="95376"/>
                </a:lnTo>
                <a:lnTo>
                  <a:pt x="1151381" y="94107"/>
                </a:lnTo>
                <a:lnTo>
                  <a:pt x="1142160" y="85512"/>
                </a:lnTo>
                <a:lnTo>
                  <a:pt x="1131236" y="79359"/>
                </a:lnTo>
                <a:lnTo>
                  <a:pt x="1118574" y="75658"/>
                </a:lnTo>
                <a:lnTo>
                  <a:pt x="1104137" y="74422"/>
                </a:lnTo>
                <a:close/>
              </a:path>
              <a:path w="1168400" h="237490">
                <a:moveTo>
                  <a:pt x="1157351" y="198882"/>
                </a:moveTo>
                <a:lnTo>
                  <a:pt x="1146042" y="206456"/>
                </a:lnTo>
                <a:lnTo>
                  <a:pt x="1134221" y="211851"/>
                </a:lnTo>
                <a:lnTo>
                  <a:pt x="1121900" y="215080"/>
                </a:lnTo>
                <a:lnTo>
                  <a:pt x="1109090" y="216153"/>
                </a:lnTo>
                <a:lnTo>
                  <a:pt x="1157351" y="216153"/>
                </a:lnTo>
                <a:lnTo>
                  <a:pt x="1157351" y="198882"/>
                </a:lnTo>
                <a:close/>
              </a:path>
              <a:path w="1168400" h="237490">
                <a:moveTo>
                  <a:pt x="1152239" y="95376"/>
                </a:moveTo>
                <a:lnTo>
                  <a:pt x="1103756" y="95376"/>
                </a:lnTo>
                <a:lnTo>
                  <a:pt x="1112327" y="96117"/>
                </a:lnTo>
                <a:lnTo>
                  <a:pt x="1119933" y="98345"/>
                </a:lnTo>
                <a:lnTo>
                  <a:pt x="1141902" y="130675"/>
                </a:lnTo>
                <a:lnTo>
                  <a:pt x="1142618" y="140842"/>
                </a:lnTo>
                <a:lnTo>
                  <a:pt x="1167632" y="140842"/>
                </a:lnTo>
                <a:lnTo>
                  <a:pt x="1167098" y="132397"/>
                </a:lnTo>
                <a:lnTo>
                  <a:pt x="1163954" y="117728"/>
                </a:lnTo>
                <a:lnTo>
                  <a:pt x="1158716" y="104965"/>
                </a:lnTo>
                <a:lnTo>
                  <a:pt x="1152239" y="95376"/>
                </a:lnTo>
                <a:close/>
              </a:path>
            </a:pathLst>
          </a:custGeom>
          <a:solidFill>
            <a:srgbClr val="585858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7327436" y="1567382"/>
            <a:ext cx="996967" cy="21134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8763949" y="3016897"/>
            <a:ext cx="162518" cy="216804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7150813" y="5391806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90" h="429895">
                <a:moveTo>
                  <a:pt x="0" y="429768"/>
                </a:moveTo>
                <a:lnTo>
                  <a:pt x="1850135" y="429768"/>
                </a:lnTo>
                <a:lnTo>
                  <a:pt x="1850135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537122" y="5496854"/>
            <a:ext cx="592632" cy="225281"/>
          </a:xfrm>
          <a:custGeom>
            <a:avLst/>
            <a:gdLst/>
            <a:ahLst/>
            <a:cxnLst/>
            <a:rect l="l" t="t" r="r" b="b"/>
            <a:pathLst>
              <a:path w="805815" h="229870">
                <a:moveTo>
                  <a:pt x="0" y="142214"/>
                </a:moveTo>
                <a:lnTo>
                  <a:pt x="0" y="165646"/>
                </a:lnTo>
                <a:lnTo>
                  <a:pt x="2158" y="167144"/>
                </a:lnTo>
                <a:lnTo>
                  <a:pt x="39750" y="175348"/>
                </a:lnTo>
                <a:lnTo>
                  <a:pt x="50546" y="175348"/>
                </a:lnTo>
                <a:lnTo>
                  <a:pt x="90169" y="161429"/>
                </a:lnTo>
                <a:lnTo>
                  <a:pt x="93896" y="157479"/>
                </a:lnTo>
                <a:lnTo>
                  <a:pt x="42036" y="157479"/>
                </a:lnTo>
                <a:lnTo>
                  <a:pt x="38100" y="157124"/>
                </a:lnTo>
                <a:lnTo>
                  <a:pt x="9651" y="148602"/>
                </a:lnTo>
                <a:lnTo>
                  <a:pt x="5841" y="146710"/>
                </a:lnTo>
                <a:lnTo>
                  <a:pt x="2666" y="144589"/>
                </a:lnTo>
                <a:lnTo>
                  <a:pt x="0" y="142214"/>
                </a:lnTo>
                <a:close/>
              </a:path>
              <a:path w="805815" h="229870">
                <a:moveTo>
                  <a:pt x="59181" y="0"/>
                </a:moveTo>
                <a:lnTo>
                  <a:pt x="51815" y="0"/>
                </a:lnTo>
                <a:lnTo>
                  <a:pt x="44576" y="888"/>
                </a:lnTo>
                <a:lnTo>
                  <a:pt x="8762" y="19430"/>
                </a:lnTo>
                <a:lnTo>
                  <a:pt x="253" y="37591"/>
                </a:lnTo>
                <a:lnTo>
                  <a:pt x="253" y="51688"/>
                </a:lnTo>
                <a:lnTo>
                  <a:pt x="30860" y="87629"/>
                </a:lnTo>
                <a:lnTo>
                  <a:pt x="48005" y="96519"/>
                </a:lnTo>
                <a:lnTo>
                  <a:pt x="53212" y="99186"/>
                </a:lnTo>
                <a:lnTo>
                  <a:pt x="58038" y="101853"/>
                </a:lnTo>
                <a:lnTo>
                  <a:pt x="62864" y="104393"/>
                </a:lnTo>
                <a:lnTo>
                  <a:pt x="67055" y="107060"/>
                </a:lnTo>
                <a:lnTo>
                  <a:pt x="74167" y="112648"/>
                </a:lnTo>
                <a:lnTo>
                  <a:pt x="76961" y="115696"/>
                </a:lnTo>
                <a:lnTo>
                  <a:pt x="78993" y="119151"/>
                </a:lnTo>
                <a:lnTo>
                  <a:pt x="81025" y="122542"/>
                </a:lnTo>
                <a:lnTo>
                  <a:pt x="82041" y="126517"/>
                </a:lnTo>
                <a:lnTo>
                  <a:pt x="82041" y="139611"/>
                </a:lnTo>
                <a:lnTo>
                  <a:pt x="45592" y="157479"/>
                </a:lnTo>
                <a:lnTo>
                  <a:pt x="93896" y="157479"/>
                </a:lnTo>
                <a:lnTo>
                  <a:pt x="94614" y="156717"/>
                </a:lnTo>
                <a:lnTo>
                  <a:pt x="101218" y="145122"/>
                </a:lnTo>
                <a:lnTo>
                  <a:pt x="102869" y="138036"/>
                </a:lnTo>
                <a:lnTo>
                  <a:pt x="102869" y="123367"/>
                </a:lnTo>
                <a:lnTo>
                  <a:pt x="101600" y="117767"/>
                </a:lnTo>
                <a:lnTo>
                  <a:pt x="99063" y="112648"/>
                </a:lnTo>
                <a:lnTo>
                  <a:pt x="96774" y="107949"/>
                </a:lnTo>
                <a:lnTo>
                  <a:pt x="93599" y="103504"/>
                </a:lnTo>
                <a:lnTo>
                  <a:pt x="89407" y="99567"/>
                </a:lnTo>
                <a:lnTo>
                  <a:pt x="85343" y="95503"/>
                </a:lnTo>
                <a:lnTo>
                  <a:pt x="51942" y="76072"/>
                </a:lnTo>
                <a:lnTo>
                  <a:pt x="46735" y="73405"/>
                </a:lnTo>
                <a:lnTo>
                  <a:pt x="37591" y="68579"/>
                </a:lnTo>
                <a:lnTo>
                  <a:pt x="33781" y="66039"/>
                </a:lnTo>
                <a:lnTo>
                  <a:pt x="30606" y="63372"/>
                </a:lnTo>
                <a:lnTo>
                  <a:pt x="27431" y="60832"/>
                </a:lnTo>
                <a:lnTo>
                  <a:pt x="25146" y="57911"/>
                </a:lnTo>
                <a:lnTo>
                  <a:pt x="23494" y="54736"/>
                </a:lnTo>
                <a:lnTo>
                  <a:pt x="21843" y="51688"/>
                </a:lnTo>
                <a:lnTo>
                  <a:pt x="21081" y="47878"/>
                </a:lnTo>
                <a:lnTo>
                  <a:pt x="21081" y="38861"/>
                </a:lnTo>
                <a:lnTo>
                  <a:pt x="22098" y="34924"/>
                </a:lnTo>
                <a:lnTo>
                  <a:pt x="24256" y="31749"/>
                </a:lnTo>
                <a:lnTo>
                  <a:pt x="26415" y="28447"/>
                </a:lnTo>
                <a:lnTo>
                  <a:pt x="52831" y="18033"/>
                </a:lnTo>
                <a:lnTo>
                  <a:pt x="95757" y="18033"/>
                </a:lnTo>
                <a:lnTo>
                  <a:pt x="95757" y="6095"/>
                </a:lnTo>
                <a:lnTo>
                  <a:pt x="89132" y="3428"/>
                </a:lnTo>
                <a:lnTo>
                  <a:pt x="80851" y="1523"/>
                </a:lnTo>
                <a:lnTo>
                  <a:pt x="70879" y="380"/>
                </a:lnTo>
                <a:lnTo>
                  <a:pt x="59181" y="0"/>
                </a:lnTo>
                <a:close/>
              </a:path>
              <a:path w="805815" h="229870">
                <a:moveTo>
                  <a:pt x="95757" y="18033"/>
                </a:moveTo>
                <a:lnTo>
                  <a:pt x="57150" y="18033"/>
                </a:lnTo>
                <a:lnTo>
                  <a:pt x="68415" y="18678"/>
                </a:lnTo>
                <a:lnTo>
                  <a:pt x="78597" y="20621"/>
                </a:lnTo>
                <a:lnTo>
                  <a:pt x="87707" y="23874"/>
                </a:lnTo>
                <a:lnTo>
                  <a:pt x="95757" y="28447"/>
                </a:lnTo>
                <a:lnTo>
                  <a:pt x="95757" y="18033"/>
                </a:lnTo>
                <a:close/>
              </a:path>
              <a:path w="805815" h="229870">
                <a:moveTo>
                  <a:pt x="159003" y="67944"/>
                </a:moveTo>
                <a:lnTo>
                  <a:pt x="139573" y="67944"/>
                </a:lnTo>
                <a:lnTo>
                  <a:pt x="139573" y="139611"/>
                </a:lnTo>
                <a:lnTo>
                  <a:pt x="141571" y="155144"/>
                </a:lnTo>
                <a:lnTo>
                  <a:pt x="147558" y="166236"/>
                </a:lnTo>
                <a:lnTo>
                  <a:pt x="157521" y="172890"/>
                </a:lnTo>
                <a:lnTo>
                  <a:pt x="171450" y="175107"/>
                </a:lnTo>
                <a:lnTo>
                  <a:pt x="178942" y="175107"/>
                </a:lnTo>
                <a:lnTo>
                  <a:pt x="184911" y="173850"/>
                </a:lnTo>
                <a:lnTo>
                  <a:pt x="189483" y="171322"/>
                </a:lnTo>
                <a:lnTo>
                  <a:pt x="189483" y="158788"/>
                </a:lnTo>
                <a:lnTo>
                  <a:pt x="170433" y="158788"/>
                </a:lnTo>
                <a:lnTo>
                  <a:pt x="165861" y="157048"/>
                </a:lnTo>
                <a:lnTo>
                  <a:pt x="163194" y="153581"/>
                </a:lnTo>
                <a:lnTo>
                  <a:pt x="160400" y="150101"/>
                </a:lnTo>
                <a:lnTo>
                  <a:pt x="159003" y="144310"/>
                </a:lnTo>
                <a:lnTo>
                  <a:pt x="159003" y="67944"/>
                </a:lnTo>
                <a:close/>
              </a:path>
              <a:path w="805815" h="229870">
                <a:moveTo>
                  <a:pt x="189483" y="154762"/>
                </a:moveTo>
                <a:lnTo>
                  <a:pt x="186054" y="157441"/>
                </a:lnTo>
                <a:lnTo>
                  <a:pt x="181736" y="158788"/>
                </a:lnTo>
                <a:lnTo>
                  <a:pt x="189483" y="158788"/>
                </a:lnTo>
                <a:lnTo>
                  <a:pt x="189483" y="154762"/>
                </a:lnTo>
                <a:close/>
              </a:path>
              <a:path w="805815" h="229870">
                <a:moveTo>
                  <a:pt x="189483" y="51307"/>
                </a:moveTo>
                <a:lnTo>
                  <a:pt x="118744" y="51307"/>
                </a:lnTo>
                <a:lnTo>
                  <a:pt x="118744" y="67944"/>
                </a:lnTo>
                <a:lnTo>
                  <a:pt x="189483" y="67944"/>
                </a:lnTo>
                <a:lnTo>
                  <a:pt x="189483" y="51307"/>
                </a:lnTo>
                <a:close/>
              </a:path>
              <a:path w="805815" h="229870">
                <a:moveTo>
                  <a:pt x="159003" y="15493"/>
                </a:moveTo>
                <a:lnTo>
                  <a:pt x="139573" y="21716"/>
                </a:lnTo>
                <a:lnTo>
                  <a:pt x="139573" y="51307"/>
                </a:lnTo>
                <a:lnTo>
                  <a:pt x="159003" y="51307"/>
                </a:lnTo>
                <a:lnTo>
                  <a:pt x="159003" y="15493"/>
                </a:lnTo>
                <a:close/>
              </a:path>
              <a:path w="805815" h="229870">
                <a:moveTo>
                  <a:pt x="269112" y="48513"/>
                </a:moveTo>
                <a:lnTo>
                  <a:pt x="224008" y="65684"/>
                </a:lnTo>
                <a:lnTo>
                  <a:pt x="207390" y="113410"/>
                </a:lnTo>
                <a:lnTo>
                  <a:pt x="208391" y="126704"/>
                </a:lnTo>
                <a:lnTo>
                  <a:pt x="232082" y="165795"/>
                </a:lnTo>
                <a:lnTo>
                  <a:pt x="266318" y="175348"/>
                </a:lnTo>
                <a:lnTo>
                  <a:pt x="279364" y="174258"/>
                </a:lnTo>
                <a:lnTo>
                  <a:pt x="291052" y="170986"/>
                </a:lnTo>
                <a:lnTo>
                  <a:pt x="301359" y="165533"/>
                </a:lnTo>
                <a:lnTo>
                  <a:pt x="308957" y="159016"/>
                </a:lnTo>
                <a:lnTo>
                  <a:pt x="267715" y="159016"/>
                </a:lnTo>
                <a:lnTo>
                  <a:pt x="258951" y="158240"/>
                </a:lnTo>
                <a:lnTo>
                  <a:pt x="229965" y="131899"/>
                </a:lnTo>
                <a:lnTo>
                  <a:pt x="227254" y="113410"/>
                </a:lnTo>
                <a:lnTo>
                  <a:pt x="227277" y="111505"/>
                </a:lnTo>
                <a:lnTo>
                  <a:pt x="244052" y="72022"/>
                </a:lnTo>
                <a:lnTo>
                  <a:pt x="267715" y="64896"/>
                </a:lnTo>
                <a:lnTo>
                  <a:pt x="311111" y="64896"/>
                </a:lnTo>
                <a:lnTo>
                  <a:pt x="303045" y="57890"/>
                </a:lnTo>
                <a:lnTo>
                  <a:pt x="293211" y="52689"/>
                </a:lnTo>
                <a:lnTo>
                  <a:pt x="281900" y="49559"/>
                </a:lnTo>
                <a:lnTo>
                  <a:pt x="269112" y="48513"/>
                </a:lnTo>
                <a:close/>
              </a:path>
              <a:path w="805815" h="229870">
                <a:moveTo>
                  <a:pt x="311111" y="64896"/>
                </a:moveTo>
                <a:lnTo>
                  <a:pt x="267715" y="64896"/>
                </a:lnTo>
                <a:lnTo>
                  <a:pt x="276598" y="65658"/>
                </a:lnTo>
                <a:lnTo>
                  <a:pt x="284384" y="67944"/>
                </a:lnTo>
                <a:lnTo>
                  <a:pt x="306083" y="101449"/>
                </a:lnTo>
                <a:lnTo>
                  <a:pt x="306668" y="111505"/>
                </a:lnTo>
                <a:lnTo>
                  <a:pt x="306630" y="113410"/>
                </a:lnTo>
                <a:lnTo>
                  <a:pt x="291076" y="152164"/>
                </a:lnTo>
                <a:lnTo>
                  <a:pt x="267715" y="159016"/>
                </a:lnTo>
                <a:lnTo>
                  <a:pt x="308957" y="159016"/>
                </a:lnTo>
                <a:lnTo>
                  <a:pt x="326643" y="111505"/>
                </a:lnTo>
                <a:lnTo>
                  <a:pt x="325691" y="97476"/>
                </a:lnTo>
                <a:lnTo>
                  <a:pt x="322833" y="85089"/>
                </a:lnTo>
                <a:lnTo>
                  <a:pt x="318071" y="74322"/>
                </a:lnTo>
                <a:lnTo>
                  <a:pt x="311403" y="65150"/>
                </a:lnTo>
                <a:lnTo>
                  <a:pt x="311111" y="64896"/>
                </a:lnTo>
                <a:close/>
              </a:path>
              <a:path w="805815" h="229870">
                <a:moveTo>
                  <a:pt x="376808" y="51307"/>
                </a:moveTo>
                <a:lnTo>
                  <a:pt x="357377" y="51307"/>
                </a:lnTo>
                <a:lnTo>
                  <a:pt x="357377" y="172504"/>
                </a:lnTo>
                <a:lnTo>
                  <a:pt x="376808" y="172504"/>
                </a:lnTo>
                <a:lnTo>
                  <a:pt x="376808" y="110743"/>
                </a:lnTo>
                <a:lnTo>
                  <a:pt x="377330" y="101171"/>
                </a:lnTo>
                <a:lnTo>
                  <a:pt x="378888" y="92646"/>
                </a:lnTo>
                <a:lnTo>
                  <a:pt x="381470" y="85169"/>
                </a:lnTo>
                <a:lnTo>
                  <a:pt x="385063" y="78739"/>
                </a:lnTo>
                <a:lnTo>
                  <a:pt x="386804" y="76326"/>
                </a:lnTo>
                <a:lnTo>
                  <a:pt x="376808" y="76326"/>
                </a:lnTo>
                <a:lnTo>
                  <a:pt x="376808" y="51307"/>
                </a:lnTo>
                <a:close/>
              </a:path>
              <a:path w="805815" h="229870">
                <a:moveTo>
                  <a:pt x="414019" y="49275"/>
                </a:moveTo>
                <a:lnTo>
                  <a:pt x="401954" y="49275"/>
                </a:lnTo>
                <a:lnTo>
                  <a:pt x="395604" y="51561"/>
                </a:lnTo>
                <a:lnTo>
                  <a:pt x="384175" y="61213"/>
                </a:lnTo>
                <a:lnTo>
                  <a:pt x="379983" y="67817"/>
                </a:lnTo>
                <a:lnTo>
                  <a:pt x="377189" y="76326"/>
                </a:lnTo>
                <a:lnTo>
                  <a:pt x="386804" y="76326"/>
                </a:lnTo>
                <a:lnTo>
                  <a:pt x="390651" y="70992"/>
                </a:lnTo>
                <a:lnTo>
                  <a:pt x="397636" y="67055"/>
                </a:lnTo>
                <a:lnTo>
                  <a:pt x="420497" y="67055"/>
                </a:lnTo>
                <a:lnTo>
                  <a:pt x="420497" y="50926"/>
                </a:lnTo>
                <a:lnTo>
                  <a:pt x="417829" y="49783"/>
                </a:lnTo>
                <a:lnTo>
                  <a:pt x="414019" y="49275"/>
                </a:lnTo>
                <a:close/>
              </a:path>
              <a:path w="805815" h="229870">
                <a:moveTo>
                  <a:pt x="420497" y="67055"/>
                </a:moveTo>
                <a:lnTo>
                  <a:pt x="412241" y="67055"/>
                </a:lnTo>
                <a:lnTo>
                  <a:pt x="417194" y="68325"/>
                </a:lnTo>
                <a:lnTo>
                  <a:pt x="420497" y="70992"/>
                </a:lnTo>
                <a:lnTo>
                  <a:pt x="420497" y="67055"/>
                </a:lnTo>
                <a:close/>
              </a:path>
              <a:path w="805815" h="229870">
                <a:moveTo>
                  <a:pt x="520127" y="64896"/>
                </a:moveTo>
                <a:lnTo>
                  <a:pt x="483488" y="64896"/>
                </a:lnTo>
                <a:lnTo>
                  <a:pt x="494470" y="66825"/>
                </a:lnTo>
                <a:lnTo>
                  <a:pt x="502284" y="72612"/>
                </a:lnTo>
                <a:lnTo>
                  <a:pt x="506956" y="82256"/>
                </a:lnTo>
                <a:lnTo>
                  <a:pt x="508507" y="95757"/>
                </a:lnTo>
                <a:lnTo>
                  <a:pt x="472185" y="100837"/>
                </a:lnTo>
                <a:lnTo>
                  <a:pt x="454683" y="105378"/>
                </a:lnTo>
                <a:lnTo>
                  <a:pt x="442182" y="113474"/>
                </a:lnTo>
                <a:lnTo>
                  <a:pt x="434681" y="125123"/>
                </a:lnTo>
                <a:lnTo>
                  <a:pt x="432180" y="140322"/>
                </a:lnTo>
                <a:lnTo>
                  <a:pt x="432823" y="147861"/>
                </a:lnTo>
                <a:lnTo>
                  <a:pt x="462220" y="174749"/>
                </a:lnTo>
                <a:lnTo>
                  <a:pt x="470788" y="175348"/>
                </a:lnTo>
                <a:lnTo>
                  <a:pt x="482336" y="173987"/>
                </a:lnTo>
                <a:lnTo>
                  <a:pt x="492394" y="169903"/>
                </a:lnTo>
                <a:lnTo>
                  <a:pt x="500953" y="163100"/>
                </a:lnTo>
                <a:lnTo>
                  <a:pt x="503976" y="159016"/>
                </a:lnTo>
                <a:lnTo>
                  <a:pt x="468249" y="159016"/>
                </a:lnTo>
                <a:lnTo>
                  <a:pt x="462660" y="157149"/>
                </a:lnTo>
                <a:lnTo>
                  <a:pt x="458263" y="153332"/>
                </a:lnTo>
                <a:lnTo>
                  <a:pt x="454151" y="149656"/>
                </a:lnTo>
                <a:lnTo>
                  <a:pt x="452119" y="144818"/>
                </a:lnTo>
                <a:lnTo>
                  <a:pt x="452153" y="130701"/>
                </a:lnTo>
                <a:lnTo>
                  <a:pt x="508507" y="111251"/>
                </a:lnTo>
                <a:lnTo>
                  <a:pt x="527938" y="111251"/>
                </a:lnTo>
                <a:lnTo>
                  <a:pt x="527938" y="93725"/>
                </a:lnTo>
                <a:lnTo>
                  <a:pt x="525270" y="73963"/>
                </a:lnTo>
                <a:lnTo>
                  <a:pt x="520127" y="64896"/>
                </a:lnTo>
                <a:close/>
              </a:path>
              <a:path w="805815" h="229870">
                <a:moveTo>
                  <a:pt x="527938" y="153581"/>
                </a:moveTo>
                <a:lnTo>
                  <a:pt x="508507" y="153581"/>
                </a:lnTo>
                <a:lnTo>
                  <a:pt x="508507" y="172504"/>
                </a:lnTo>
                <a:lnTo>
                  <a:pt x="527938" y="172504"/>
                </a:lnTo>
                <a:lnTo>
                  <a:pt x="527938" y="153581"/>
                </a:lnTo>
                <a:close/>
              </a:path>
              <a:path w="805815" h="229870">
                <a:moveTo>
                  <a:pt x="527938" y="111251"/>
                </a:moveTo>
                <a:lnTo>
                  <a:pt x="508507" y="111251"/>
                </a:lnTo>
                <a:lnTo>
                  <a:pt x="508507" y="123291"/>
                </a:lnTo>
                <a:lnTo>
                  <a:pt x="507914" y="130701"/>
                </a:lnTo>
                <a:lnTo>
                  <a:pt x="475233" y="159016"/>
                </a:lnTo>
                <a:lnTo>
                  <a:pt x="503976" y="159016"/>
                </a:lnTo>
                <a:lnTo>
                  <a:pt x="508000" y="153581"/>
                </a:lnTo>
                <a:lnTo>
                  <a:pt x="527938" y="153581"/>
                </a:lnTo>
                <a:lnTo>
                  <a:pt x="527938" y="111251"/>
                </a:lnTo>
                <a:close/>
              </a:path>
              <a:path w="805815" h="229870">
                <a:moveTo>
                  <a:pt x="485139" y="48513"/>
                </a:moveTo>
                <a:lnTo>
                  <a:pt x="473852" y="49226"/>
                </a:lnTo>
                <a:lnTo>
                  <a:pt x="463232" y="51355"/>
                </a:lnTo>
                <a:lnTo>
                  <a:pt x="453278" y="54889"/>
                </a:lnTo>
                <a:lnTo>
                  <a:pt x="443991" y="59816"/>
                </a:lnTo>
                <a:lnTo>
                  <a:pt x="443991" y="79755"/>
                </a:lnTo>
                <a:lnTo>
                  <a:pt x="453110" y="73255"/>
                </a:lnTo>
                <a:lnTo>
                  <a:pt x="462740" y="68611"/>
                </a:lnTo>
                <a:lnTo>
                  <a:pt x="472870" y="65825"/>
                </a:lnTo>
                <a:lnTo>
                  <a:pt x="483488" y="64896"/>
                </a:lnTo>
                <a:lnTo>
                  <a:pt x="520127" y="64896"/>
                </a:lnTo>
                <a:lnTo>
                  <a:pt x="517255" y="59832"/>
                </a:lnTo>
                <a:lnTo>
                  <a:pt x="503882" y="51345"/>
                </a:lnTo>
                <a:lnTo>
                  <a:pt x="485139" y="48513"/>
                </a:lnTo>
                <a:close/>
              </a:path>
              <a:path w="805815" h="229870">
                <a:moveTo>
                  <a:pt x="564896" y="201612"/>
                </a:moveTo>
                <a:lnTo>
                  <a:pt x="564896" y="221018"/>
                </a:lnTo>
                <a:lnTo>
                  <a:pt x="573635" y="224744"/>
                </a:lnTo>
                <a:lnTo>
                  <a:pt x="583088" y="227407"/>
                </a:lnTo>
                <a:lnTo>
                  <a:pt x="593256" y="229006"/>
                </a:lnTo>
                <a:lnTo>
                  <a:pt x="604138" y="229539"/>
                </a:lnTo>
                <a:lnTo>
                  <a:pt x="632069" y="225368"/>
                </a:lnTo>
                <a:lnTo>
                  <a:pt x="651833" y="212978"/>
                </a:lnTo>
                <a:lnTo>
                  <a:pt x="603884" y="212978"/>
                </a:lnTo>
                <a:lnTo>
                  <a:pt x="594506" y="212267"/>
                </a:lnTo>
                <a:lnTo>
                  <a:pt x="584866" y="210134"/>
                </a:lnTo>
                <a:lnTo>
                  <a:pt x="574988" y="206581"/>
                </a:lnTo>
                <a:lnTo>
                  <a:pt x="564896" y="201612"/>
                </a:lnTo>
                <a:close/>
              </a:path>
              <a:path w="805815" h="229870">
                <a:moveTo>
                  <a:pt x="668019" y="152158"/>
                </a:moveTo>
                <a:lnTo>
                  <a:pt x="648588" y="152158"/>
                </a:lnTo>
                <a:lnTo>
                  <a:pt x="648474" y="166262"/>
                </a:lnTo>
                <a:lnTo>
                  <a:pt x="645800" y="186216"/>
                </a:lnTo>
                <a:lnTo>
                  <a:pt x="637428" y="201083"/>
                </a:lnTo>
                <a:lnTo>
                  <a:pt x="623460" y="210005"/>
                </a:lnTo>
                <a:lnTo>
                  <a:pt x="603884" y="212978"/>
                </a:lnTo>
                <a:lnTo>
                  <a:pt x="651833" y="212978"/>
                </a:lnTo>
                <a:lnTo>
                  <a:pt x="652033" y="212853"/>
                </a:lnTo>
                <a:lnTo>
                  <a:pt x="664021" y="191997"/>
                </a:lnTo>
                <a:lnTo>
                  <a:pt x="668019" y="162801"/>
                </a:lnTo>
                <a:lnTo>
                  <a:pt x="668019" y="152158"/>
                </a:lnTo>
                <a:close/>
              </a:path>
              <a:path w="805815" h="229870">
                <a:moveTo>
                  <a:pt x="611885" y="48513"/>
                </a:moveTo>
                <a:lnTo>
                  <a:pt x="571246" y="66674"/>
                </a:lnTo>
                <a:lnTo>
                  <a:pt x="556467" y="114553"/>
                </a:lnTo>
                <a:lnTo>
                  <a:pt x="556513" y="117728"/>
                </a:lnTo>
                <a:lnTo>
                  <a:pt x="570102" y="159194"/>
                </a:lnTo>
                <a:lnTo>
                  <a:pt x="606551" y="175348"/>
                </a:lnTo>
                <a:lnTo>
                  <a:pt x="619579" y="173898"/>
                </a:lnTo>
                <a:lnTo>
                  <a:pt x="630856" y="169549"/>
                </a:lnTo>
                <a:lnTo>
                  <a:pt x="640395" y="162302"/>
                </a:lnTo>
                <a:lnTo>
                  <a:pt x="642926" y="159016"/>
                </a:lnTo>
                <a:lnTo>
                  <a:pt x="611885" y="159016"/>
                </a:lnTo>
                <a:lnTo>
                  <a:pt x="604194" y="158259"/>
                </a:lnTo>
                <a:lnTo>
                  <a:pt x="576816" y="124149"/>
                </a:lnTo>
                <a:lnTo>
                  <a:pt x="576199" y="114553"/>
                </a:lnTo>
                <a:lnTo>
                  <a:pt x="576839" y="103407"/>
                </a:lnTo>
                <a:lnTo>
                  <a:pt x="598551" y="68135"/>
                </a:lnTo>
                <a:lnTo>
                  <a:pt x="614552" y="64896"/>
                </a:lnTo>
                <a:lnTo>
                  <a:pt x="645629" y="64896"/>
                </a:lnTo>
                <a:lnTo>
                  <a:pt x="641496" y="59604"/>
                </a:lnTo>
                <a:lnTo>
                  <a:pt x="633190" y="53451"/>
                </a:lnTo>
                <a:lnTo>
                  <a:pt x="623312" y="49750"/>
                </a:lnTo>
                <a:lnTo>
                  <a:pt x="611885" y="48513"/>
                </a:lnTo>
                <a:close/>
              </a:path>
              <a:path w="805815" h="229870">
                <a:moveTo>
                  <a:pt x="645629" y="64896"/>
                </a:moveTo>
                <a:lnTo>
                  <a:pt x="614552" y="64896"/>
                </a:lnTo>
                <a:lnTo>
                  <a:pt x="621506" y="65539"/>
                </a:lnTo>
                <a:lnTo>
                  <a:pt x="627887" y="67468"/>
                </a:lnTo>
                <a:lnTo>
                  <a:pt x="648588" y="99821"/>
                </a:lnTo>
                <a:lnTo>
                  <a:pt x="648588" y="117728"/>
                </a:lnTo>
                <a:lnTo>
                  <a:pt x="632906" y="152496"/>
                </a:lnTo>
                <a:lnTo>
                  <a:pt x="611885" y="159016"/>
                </a:lnTo>
                <a:lnTo>
                  <a:pt x="642926" y="159016"/>
                </a:lnTo>
                <a:lnTo>
                  <a:pt x="648207" y="152158"/>
                </a:lnTo>
                <a:lnTo>
                  <a:pt x="668019" y="152158"/>
                </a:lnTo>
                <a:lnTo>
                  <a:pt x="668019" y="68198"/>
                </a:lnTo>
                <a:lnTo>
                  <a:pt x="648207" y="68198"/>
                </a:lnTo>
                <a:lnTo>
                  <a:pt x="645629" y="64896"/>
                </a:lnTo>
                <a:close/>
              </a:path>
              <a:path w="805815" h="229870">
                <a:moveTo>
                  <a:pt x="668019" y="51307"/>
                </a:moveTo>
                <a:lnTo>
                  <a:pt x="648588" y="51307"/>
                </a:lnTo>
                <a:lnTo>
                  <a:pt x="648588" y="68198"/>
                </a:lnTo>
                <a:lnTo>
                  <a:pt x="668019" y="68198"/>
                </a:lnTo>
                <a:lnTo>
                  <a:pt x="668019" y="51307"/>
                </a:lnTo>
                <a:close/>
              </a:path>
              <a:path w="805815" h="229870">
                <a:moveTo>
                  <a:pt x="755396" y="48513"/>
                </a:moveTo>
                <a:lnTo>
                  <a:pt x="715644" y="66293"/>
                </a:lnTo>
                <a:lnTo>
                  <a:pt x="699642" y="112394"/>
                </a:lnTo>
                <a:lnTo>
                  <a:pt x="700549" y="126527"/>
                </a:lnTo>
                <a:lnTo>
                  <a:pt x="722272" y="166063"/>
                </a:lnTo>
                <a:lnTo>
                  <a:pt x="754633" y="175348"/>
                </a:lnTo>
                <a:lnTo>
                  <a:pt x="767135" y="174624"/>
                </a:lnTo>
                <a:lnTo>
                  <a:pt x="778351" y="172451"/>
                </a:lnTo>
                <a:lnTo>
                  <a:pt x="788281" y="168828"/>
                </a:lnTo>
                <a:lnTo>
                  <a:pt x="796925" y="163753"/>
                </a:lnTo>
                <a:lnTo>
                  <a:pt x="796925" y="159016"/>
                </a:lnTo>
                <a:lnTo>
                  <a:pt x="759205" y="159016"/>
                </a:lnTo>
                <a:lnTo>
                  <a:pt x="750615" y="158328"/>
                </a:lnTo>
                <a:lnTo>
                  <a:pt x="720594" y="126315"/>
                </a:lnTo>
                <a:lnTo>
                  <a:pt x="719708" y="116776"/>
                </a:lnTo>
                <a:lnTo>
                  <a:pt x="805306" y="116776"/>
                </a:lnTo>
                <a:lnTo>
                  <a:pt x="805306" y="106552"/>
                </a:lnTo>
                <a:lnTo>
                  <a:pt x="804914" y="100329"/>
                </a:lnTo>
                <a:lnTo>
                  <a:pt x="719962" y="100329"/>
                </a:lnTo>
                <a:lnTo>
                  <a:pt x="721558" y="92785"/>
                </a:lnTo>
                <a:lnTo>
                  <a:pt x="745998" y="64896"/>
                </a:lnTo>
                <a:lnTo>
                  <a:pt x="792915" y="64896"/>
                </a:lnTo>
                <a:lnTo>
                  <a:pt x="792226" y="63880"/>
                </a:lnTo>
                <a:lnTo>
                  <a:pt x="785060" y="57140"/>
                </a:lnTo>
                <a:lnTo>
                  <a:pt x="776525" y="52339"/>
                </a:lnTo>
                <a:lnTo>
                  <a:pt x="766633" y="49468"/>
                </a:lnTo>
                <a:lnTo>
                  <a:pt x="755396" y="48513"/>
                </a:lnTo>
                <a:close/>
              </a:path>
              <a:path w="805815" h="229870">
                <a:moveTo>
                  <a:pt x="796925" y="145529"/>
                </a:moveTo>
                <a:lnTo>
                  <a:pt x="788084" y="151430"/>
                </a:lnTo>
                <a:lnTo>
                  <a:pt x="778875" y="155644"/>
                </a:lnTo>
                <a:lnTo>
                  <a:pt x="769260" y="158173"/>
                </a:lnTo>
                <a:lnTo>
                  <a:pt x="759205" y="159016"/>
                </a:lnTo>
                <a:lnTo>
                  <a:pt x="796925" y="159016"/>
                </a:lnTo>
                <a:lnTo>
                  <a:pt x="796925" y="145529"/>
                </a:lnTo>
                <a:close/>
              </a:path>
              <a:path w="805815" h="229870">
                <a:moveTo>
                  <a:pt x="792915" y="64896"/>
                </a:moveTo>
                <a:lnTo>
                  <a:pt x="764539" y="64896"/>
                </a:lnTo>
                <a:lnTo>
                  <a:pt x="771905" y="67944"/>
                </a:lnTo>
                <a:lnTo>
                  <a:pt x="777239" y="74167"/>
                </a:lnTo>
                <a:lnTo>
                  <a:pt x="780760" y="79309"/>
                </a:lnTo>
                <a:lnTo>
                  <a:pt x="783304" y="85391"/>
                </a:lnTo>
                <a:lnTo>
                  <a:pt x="784848" y="92402"/>
                </a:lnTo>
                <a:lnTo>
                  <a:pt x="785367" y="100329"/>
                </a:lnTo>
                <a:lnTo>
                  <a:pt x="804914" y="100329"/>
                </a:lnTo>
                <a:lnTo>
                  <a:pt x="804495" y="93670"/>
                </a:lnTo>
                <a:lnTo>
                  <a:pt x="802052" y="82264"/>
                </a:lnTo>
                <a:lnTo>
                  <a:pt x="797966" y="72334"/>
                </a:lnTo>
                <a:lnTo>
                  <a:pt x="792915" y="64896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7150813" y="4888471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90" h="429895">
                <a:moveTo>
                  <a:pt x="0" y="429768"/>
                </a:moveTo>
                <a:lnTo>
                  <a:pt x="1850135" y="429768"/>
                </a:lnTo>
                <a:lnTo>
                  <a:pt x="1850135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7559538" y="4993893"/>
            <a:ext cx="546398" cy="171761"/>
          </a:xfrm>
          <a:custGeom>
            <a:avLst/>
            <a:gdLst/>
            <a:ahLst/>
            <a:cxnLst/>
            <a:rect l="l" t="t" r="r" b="b"/>
            <a:pathLst>
              <a:path w="742950" h="175260">
                <a:moveTo>
                  <a:pt x="0" y="142112"/>
                </a:moveTo>
                <a:lnTo>
                  <a:pt x="0" y="165607"/>
                </a:lnTo>
                <a:lnTo>
                  <a:pt x="2158" y="167131"/>
                </a:lnTo>
                <a:lnTo>
                  <a:pt x="5079" y="168401"/>
                </a:lnTo>
                <a:lnTo>
                  <a:pt x="12446" y="170941"/>
                </a:lnTo>
                <a:lnTo>
                  <a:pt x="16382" y="171957"/>
                </a:lnTo>
                <a:lnTo>
                  <a:pt x="20447" y="172719"/>
                </a:lnTo>
                <a:lnTo>
                  <a:pt x="24510" y="173608"/>
                </a:lnTo>
                <a:lnTo>
                  <a:pt x="28575" y="174244"/>
                </a:lnTo>
                <a:lnTo>
                  <a:pt x="32511" y="174625"/>
                </a:lnTo>
                <a:lnTo>
                  <a:pt x="36449" y="175132"/>
                </a:lnTo>
                <a:lnTo>
                  <a:pt x="39750" y="175259"/>
                </a:lnTo>
                <a:lnTo>
                  <a:pt x="50546" y="175259"/>
                </a:lnTo>
                <a:lnTo>
                  <a:pt x="58166" y="174497"/>
                </a:lnTo>
                <a:lnTo>
                  <a:pt x="72644" y="171195"/>
                </a:lnTo>
                <a:lnTo>
                  <a:pt x="79121" y="168656"/>
                </a:lnTo>
                <a:lnTo>
                  <a:pt x="84581" y="164972"/>
                </a:lnTo>
                <a:lnTo>
                  <a:pt x="90170" y="161416"/>
                </a:lnTo>
                <a:lnTo>
                  <a:pt x="93894" y="157480"/>
                </a:lnTo>
                <a:lnTo>
                  <a:pt x="41909" y="157480"/>
                </a:lnTo>
                <a:lnTo>
                  <a:pt x="38100" y="157099"/>
                </a:lnTo>
                <a:lnTo>
                  <a:pt x="33908" y="156337"/>
                </a:lnTo>
                <a:lnTo>
                  <a:pt x="29718" y="155701"/>
                </a:lnTo>
                <a:lnTo>
                  <a:pt x="25526" y="154686"/>
                </a:lnTo>
                <a:lnTo>
                  <a:pt x="21462" y="153288"/>
                </a:lnTo>
                <a:lnTo>
                  <a:pt x="17272" y="152019"/>
                </a:lnTo>
                <a:lnTo>
                  <a:pt x="13334" y="150494"/>
                </a:lnTo>
                <a:lnTo>
                  <a:pt x="9651" y="148589"/>
                </a:lnTo>
                <a:lnTo>
                  <a:pt x="5842" y="146684"/>
                </a:lnTo>
                <a:lnTo>
                  <a:pt x="2667" y="144525"/>
                </a:lnTo>
                <a:lnTo>
                  <a:pt x="0" y="142112"/>
                </a:lnTo>
                <a:close/>
              </a:path>
              <a:path w="742950" h="175260">
                <a:moveTo>
                  <a:pt x="59181" y="0"/>
                </a:moveTo>
                <a:lnTo>
                  <a:pt x="51816" y="0"/>
                </a:lnTo>
                <a:lnTo>
                  <a:pt x="44576" y="888"/>
                </a:lnTo>
                <a:lnTo>
                  <a:pt x="30479" y="4444"/>
                </a:lnTo>
                <a:lnTo>
                  <a:pt x="24129" y="7238"/>
                </a:lnTo>
                <a:lnTo>
                  <a:pt x="18669" y="10921"/>
                </a:lnTo>
                <a:lnTo>
                  <a:pt x="13080" y="14605"/>
                </a:lnTo>
                <a:lnTo>
                  <a:pt x="8635" y="19431"/>
                </a:lnTo>
                <a:lnTo>
                  <a:pt x="5333" y="25145"/>
                </a:lnTo>
                <a:lnTo>
                  <a:pt x="1904" y="30861"/>
                </a:lnTo>
                <a:lnTo>
                  <a:pt x="253" y="37591"/>
                </a:lnTo>
                <a:lnTo>
                  <a:pt x="253" y="51562"/>
                </a:lnTo>
                <a:lnTo>
                  <a:pt x="25780" y="84581"/>
                </a:lnTo>
                <a:lnTo>
                  <a:pt x="30860" y="87630"/>
                </a:lnTo>
                <a:lnTo>
                  <a:pt x="36449" y="90677"/>
                </a:lnTo>
                <a:lnTo>
                  <a:pt x="42291" y="93599"/>
                </a:lnTo>
                <a:lnTo>
                  <a:pt x="47878" y="96519"/>
                </a:lnTo>
                <a:lnTo>
                  <a:pt x="78994" y="119125"/>
                </a:lnTo>
                <a:lnTo>
                  <a:pt x="81914" y="126491"/>
                </a:lnTo>
                <a:lnTo>
                  <a:pt x="81914" y="139572"/>
                </a:lnTo>
                <a:lnTo>
                  <a:pt x="45466" y="157480"/>
                </a:lnTo>
                <a:lnTo>
                  <a:pt x="93894" y="157480"/>
                </a:lnTo>
                <a:lnTo>
                  <a:pt x="94614" y="156718"/>
                </a:lnTo>
                <a:lnTo>
                  <a:pt x="98124" y="150494"/>
                </a:lnTo>
                <a:lnTo>
                  <a:pt x="101092" y="145033"/>
                </a:lnTo>
                <a:lnTo>
                  <a:pt x="102743" y="138049"/>
                </a:lnTo>
                <a:lnTo>
                  <a:pt x="102743" y="123316"/>
                </a:lnTo>
                <a:lnTo>
                  <a:pt x="80518" y="91820"/>
                </a:lnTo>
                <a:lnTo>
                  <a:pt x="51943" y="76072"/>
                </a:lnTo>
                <a:lnTo>
                  <a:pt x="46735" y="73406"/>
                </a:lnTo>
                <a:lnTo>
                  <a:pt x="23495" y="54737"/>
                </a:lnTo>
                <a:lnTo>
                  <a:pt x="21844" y="51562"/>
                </a:lnTo>
                <a:lnTo>
                  <a:pt x="21081" y="47878"/>
                </a:lnTo>
                <a:lnTo>
                  <a:pt x="21081" y="38862"/>
                </a:lnTo>
                <a:lnTo>
                  <a:pt x="52831" y="17906"/>
                </a:lnTo>
                <a:lnTo>
                  <a:pt x="95630" y="17906"/>
                </a:lnTo>
                <a:lnTo>
                  <a:pt x="95630" y="5968"/>
                </a:lnTo>
                <a:lnTo>
                  <a:pt x="89060" y="3321"/>
                </a:lnTo>
                <a:lnTo>
                  <a:pt x="80787" y="1460"/>
                </a:lnTo>
                <a:lnTo>
                  <a:pt x="70824" y="361"/>
                </a:lnTo>
                <a:lnTo>
                  <a:pt x="59181" y="0"/>
                </a:lnTo>
                <a:close/>
              </a:path>
              <a:path w="742950" h="175260">
                <a:moveTo>
                  <a:pt x="95630" y="17906"/>
                </a:moveTo>
                <a:lnTo>
                  <a:pt x="57150" y="17906"/>
                </a:lnTo>
                <a:lnTo>
                  <a:pt x="68359" y="18569"/>
                </a:lnTo>
                <a:lnTo>
                  <a:pt x="78533" y="20542"/>
                </a:lnTo>
                <a:lnTo>
                  <a:pt x="87635" y="23800"/>
                </a:lnTo>
                <a:lnTo>
                  <a:pt x="95630" y="28320"/>
                </a:lnTo>
                <a:lnTo>
                  <a:pt x="95630" y="17906"/>
                </a:lnTo>
                <a:close/>
              </a:path>
              <a:path w="742950" h="175260">
                <a:moveTo>
                  <a:pt x="180848" y="48513"/>
                </a:moveTo>
                <a:lnTo>
                  <a:pt x="141097" y="66293"/>
                </a:lnTo>
                <a:lnTo>
                  <a:pt x="124968" y="112394"/>
                </a:lnTo>
                <a:lnTo>
                  <a:pt x="125894" y="126513"/>
                </a:lnTo>
                <a:lnTo>
                  <a:pt x="147724" y="165990"/>
                </a:lnTo>
                <a:lnTo>
                  <a:pt x="180085" y="175259"/>
                </a:lnTo>
                <a:lnTo>
                  <a:pt x="192567" y="174543"/>
                </a:lnTo>
                <a:lnTo>
                  <a:pt x="203739" y="172386"/>
                </a:lnTo>
                <a:lnTo>
                  <a:pt x="213625" y="168777"/>
                </a:lnTo>
                <a:lnTo>
                  <a:pt x="222250" y="163702"/>
                </a:lnTo>
                <a:lnTo>
                  <a:pt x="222250" y="159003"/>
                </a:lnTo>
                <a:lnTo>
                  <a:pt x="184657" y="159003"/>
                </a:lnTo>
                <a:lnTo>
                  <a:pt x="176014" y="158313"/>
                </a:lnTo>
                <a:lnTo>
                  <a:pt x="145992" y="126237"/>
                </a:lnTo>
                <a:lnTo>
                  <a:pt x="145160" y="116712"/>
                </a:lnTo>
                <a:lnTo>
                  <a:pt x="230631" y="116712"/>
                </a:lnTo>
                <a:lnTo>
                  <a:pt x="230631" y="106552"/>
                </a:lnTo>
                <a:lnTo>
                  <a:pt x="230241" y="100330"/>
                </a:lnTo>
                <a:lnTo>
                  <a:pt x="145414" y="100330"/>
                </a:lnTo>
                <a:lnTo>
                  <a:pt x="147010" y="92729"/>
                </a:lnTo>
                <a:lnTo>
                  <a:pt x="171323" y="64769"/>
                </a:lnTo>
                <a:lnTo>
                  <a:pt x="218277" y="64769"/>
                </a:lnTo>
                <a:lnTo>
                  <a:pt x="217677" y="63881"/>
                </a:lnTo>
                <a:lnTo>
                  <a:pt x="210512" y="57140"/>
                </a:lnTo>
                <a:lnTo>
                  <a:pt x="201977" y="52339"/>
                </a:lnTo>
                <a:lnTo>
                  <a:pt x="192085" y="49468"/>
                </a:lnTo>
                <a:lnTo>
                  <a:pt x="180848" y="48513"/>
                </a:lnTo>
                <a:close/>
              </a:path>
              <a:path w="742950" h="175260">
                <a:moveTo>
                  <a:pt x="222250" y="145541"/>
                </a:moveTo>
                <a:lnTo>
                  <a:pt x="213465" y="151395"/>
                </a:lnTo>
                <a:lnTo>
                  <a:pt x="204263" y="155606"/>
                </a:lnTo>
                <a:lnTo>
                  <a:pt x="194657" y="158150"/>
                </a:lnTo>
                <a:lnTo>
                  <a:pt x="184657" y="159003"/>
                </a:lnTo>
                <a:lnTo>
                  <a:pt x="222250" y="159003"/>
                </a:lnTo>
                <a:lnTo>
                  <a:pt x="222250" y="145541"/>
                </a:lnTo>
                <a:close/>
              </a:path>
              <a:path w="742950" h="175260">
                <a:moveTo>
                  <a:pt x="218277" y="64769"/>
                </a:moveTo>
                <a:lnTo>
                  <a:pt x="189992" y="64769"/>
                </a:lnTo>
                <a:lnTo>
                  <a:pt x="197357" y="67944"/>
                </a:lnTo>
                <a:lnTo>
                  <a:pt x="202692" y="74168"/>
                </a:lnTo>
                <a:lnTo>
                  <a:pt x="206194" y="79291"/>
                </a:lnTo>
                <a:lnTo>
                  <a:pt x="208708" y="85343"/>
                </a:lnTo>
                <a:lnTo>
                  <a:pt x="210246" y="92348"/>
                </a:lnTo>
                <a:lnTo>
                  <a:pt x="210820" y="100330"/>
                </a:lnTo>
                <a:lnTo>
                  <a:pt x="230241" y="100330"/>
                </a:lnTo>
                <a:lnTo>
                  <a:pt x="229822" y="93652"/>
                </a:lnTo>
                <a:lnTo>
                  <a:pt x="227393" y="82216"/>
                </a:lnTo>
                <a:lnTo>
                  <a:pt x="223345" y="72280"/>
                </a:lnTo>
                <a:lnTo>
                  <a:pt x="218277" y="64769"/>
                </a:lnTo>
                <a:close/>
              </a:path>
              <a:path w="742950" h="175260">
                <a:moveTo>
                  <a:pt x="279146" y="51307"/>
                </a:moveTo>
                <a:lnTo>
                  <a:pt x="259842" y="51307"/>
                </a:lnTo>
                <a:lnTo>
                  <a:pt x="259842" y="172465"/>
                </a:lnTo>
                <a:lnTo>
                  <a:pt x="279146" y="172465"/>
                </a:lnTo>
                <a:lnTo>
                  <a:pt x="279146" y="110743"/>
                </a:lnTo>
                <a:lnTo>
                  <a:pt x="279669" y="101117"/>
                </a:lnTo>
                <a:lnTo>
                  <a:pt x="281241" y="92598"/>
                </a:lnTo>
                <a:lnTo>
                  <a:pt x="283860" y="85151"/>
                </a:lnTo>
                <a:lnTo>
                  <a:pt x="287527" y="78739"/>
                </a:lnTo>
                <a:lnTo>
                  <a:pt x="289268" y="76326"/>
                </a:lnTo>
                <a:lnTo>
                  <a:pt x="279146" y="76326"/>
                </a:lnTo>
                <a:lnTo>
                  <a:pt x="279146" y="51307"/>
                </a:lnTo>
                <a:close/>
              </a:path>
              <a:path w="742950" h="175260">
                <a:moveTo>
                  <a:pt x="316483" y="49149"/>
                </a:moveTo>
                <a:lnTo>
                  <a:pt x="304419" y="49149"/>
                </a:lnTo>
                <a:lnTo>
                  <a:pt x="298069" y="51562"/>
                </a:lnTo>
                <a:lnTo>
                  <a:pt x="292353" y="56387"/>
                </a:lnTo>
                <a:lnTo>
                  <a:pt x="286638" y="61087"/>
                </a:lnTo>
                <a:lnTo>
                  <a:pt x="282448" y="67690"/>
                </a:lnTo>
                <a:lnTo>
                  <a:pt x="279653" y="76326"/>
                </a:lnTo>
                <a:lnTo>
                  <a:pt x="289268" y="76326"/>
                </a:lnTo>
                <a:lnTo>
                  <a:pt x="293116" y="70993"/>
                </a:lnTo>
                <a:lnTo>
                  <a:pt x="299974" y="67056"/>
                </a:lnTo>
                <a:lnTo>
                  <a:pt x="322960" y="67056"/>
                </a:lnTo>
                <a:lnTo>
                  <a:pt x="322960" y="50800"/>
                </a:lnTo>
                <a:lnTo>
                  <a:pt x="320294" y="49783"/>
                </a:lnTo>
                <a:lnTo>
                  <a:pt x="316483" y="49149"/>
                </a:lnTo>
                <a:close/>
              </a:path>
              <a:path w="742950" h="175260">
                <a:moveTo>
                  <a:pt x="322960" y="67056"/>
                </a:moveTo>
                <a:lnTo>
                  <a:pt x="314705" y="67056"/>
                </a:lnTo>
                <a:lnTo>
                  <a:pt x="319531" y="68325"/>
                </a:lnTo>
                <a:lnTo>
                  <a:pt x="322960" y="70993"/>
                </a:lnTo>
                <a:lnTo>
                  <a:pt x="322960" y="67056"/>
                </a:lnTo>
                <a:close/>
              </a:path>
              <a:path w="742950" h="175260">
                <a:moveTo>
                  <a:pt x="346963" y="51307"/>
                </a:moveTo>
                <a:lnTo>
                  <a:pt x="325627" y="51307"/>
                </a:lnTo>
                <a:lnTo>
                  <a:pt x="371601" y="172465"/>
                </a:lnTo>
                <a:lnTo>
                  <a:pt x="390651" y="172465"/>
                </a:lnTo>
                <a:lnTo>
                  <a:pt x="397127" y="156209"/>
                </a:lnTo>
                <a:lnTo>
                  <a:pt x="382016" y="156209"/>
                </a:lnTo>
                <a:lnTo>
                  <a:pt x="381380" y="151383"/>
                </a:lnTo>
                <a:lnTo>
                  <a:pt x="379983" y="145795"/>
                </a:lnTo>
                <a:lnTo>
                  <a:pt x="377698" y="139319"/>
                </a:lnTo>
                <a:lnTo>
                  <a:pt x="346963" y="51307"/>
                </a:lnTo>
                <a:close/>
              </a:path>
              <a:path w="742950" h="175260">
                <a:moveTo>
                  <a:pt x="438911" y="51307"/>
                </a:moveTo>
                <a:lnTo>
                  <a:pt x="418337" y="51307"/>
                </a:lnTo>
                <a:lnTo>
                  <a:pt x="386206" y="139826"/>
                </a:lnTo>
                <a:lnTo>
                  <a:pt x="384428" y="144652"/>
                </a:lnTo>
                <a:lnTo>
                  <a:pt x="383158" y="150113"/>
                </a:lnTo>
                <a:lnTo>
                  <a:pt x="382397" y="156209"/>
                </a:lnTo>
                <a:lnTo>
                  <a:pt x="397127" y="156209"/>
                </a:lnTo>
                <a:lnTo>
                  <a:pt x="438911" y="51307"/>
                </a:lnTo>
                <a:close/>
              </a:path>
              <a:path w="742950" h="175260">
                <a:moveTo>
                  <a:pt x="506983" y="48513"/>
                </a:moveTo>
                <a:lnTo>
                  <a:pt x="467232" y="66293"/>
                </a:lnTo>
                <a:lnTo>
                  <a:pt x="451103" y="112394"/>
                </a:lnTo>
                <a:lnTo>
                  <a:pt x="452030" y="126513"/>
                </a:lnTo>
                <a:lnTo>
                  <a:pt x="473860" y="165990"/>
                </a:lnTo>
                <a:lnTo>
                  <a:pt x="506222" y="175259"/>
                </a:lnTo>
                <a:lnTo>
                  <a:pt x="518703" y="174543"/>
                </a:lnTo>
                <a:lnTo>
                  <a:pt x="529875" y="172386"/>
                </a:lnTo>
                <a:lnTo>
                  <a:pt x="539761" y="168777"/>
                </a:lnTo>
                <a:lnTo>
                  <a:pt x="548385" y="163702"/>
                </a:lnTo>
                <a:lnTo>
                  <a:pt x="548385" y="159003"/>
                </a:lnTo>
                <a:lnTo>
                  <a:pt x="510794" y="159003"/>
                </a:lnTo>
                <a:lnTo>
                  <a:pt x="502150" y="158313"/>
                </a:lnTo>
                <a:lnTo>
                  <a:pt x="472128" y="126237"/>
                </a:lnTo>
                <a:lnTo>
                  <a:pt x="471297" y="116712"/>
                </a:lnTo>
                <a:lnTo>
                  <a:pt x="556768" y="116712"/>
                </a:lnTo>
                <a:lnTo>
                  <a:pt x="556768" y="106552"/>
                </a:lnTo>
                <a:lnTo>
                  <a:pt x="556377" y="100330"/>
                </a:lnTo>
                <a:lnTo>
                  <a:pt x="471550" y="100330"/>
                </a:lnTo>
                <a:lnTo>
                  <a:pt x="473146" y="92729"/>
                </a:lnTo>
                <a:lnTo>
                  <a:pt x="497458" y="64769"/>
                </a:lnTo>
                <a:lnTo>
                  <a:pt x="544413" y="64769"/>
                </a:lnTo>
                <a:lnTo>
                  <a:pt x="543813" y="63881"/>
                </a:lnTo>
                <a:lnTo>
                  <a:pt x="536648" y="57140"/>
                </a:lnTo>
                <a:lnTo>
                  <a:pt x="528113" y="52339"/>
                </a:lnTo>
                <a:lnTo>
                  <a:pt x="518221" y="49468"/>
                </a:lnTo>
                <a:lnTo>
                  <a:pt x="506983" y="48513"/>
                </a:lnTo>
                <a:close/>
              </a:path>
              <a:path w="742950" h="175260">
                <a:moveTo>
                  <a:pt x="548385" y="145541"/>
                </a:moveTo>
                <a:lnTo>
                  <a:pt x="539601" y="151395"/>
                </a:lnTo>
                <a:lnTo>
                  <a:pt x="530399" y="155606"/>
                </a:lnTo>
                <a:lnTo>
                  <a:pt x="520793" y="158150"/>
                </a:lnTo>
                <a:lnTo>
                  <a:pt x="510794" y="159003"/>
                </a:lnTo>
                <a:lnTo>
                  <a:pt x="548385" y="159003"/>
                </a:lnTo>
                <a:lnTo>
                  <a:pt x="548385" y="145541"/>
                </a:lnTo>
                <a:close/>
              </a:path>
              <a:path w="742950" h="175260">
                <a:moveTo>
                  <a:pt x="544413" y="64769"/>
                </a:moveTo>
                <a:lnTo>
                  <a:pt x="516127" y="64769"/>
                </a:lnTo>
                <a:lnTo>
                  <a:pt x="523494" y="67944"/>
                </a:lnTo>
                <a:lnTo>
                  <a:pt x="528827" y="74168"/>
                </a:lnTo>
                <a:lnTo>
                  <a:pt x="532330" y="79291"/>
                </a:lnTo>
                <a:lnTo>
                  <a:pt x="534844" y="85343"/>
                </a:lnTo>
                <a:lnTo>
                  <a:pt x="536382" y="92348"/>
                </a:lnTo>
                <a:lnTo>
                  <a:pt x="536955" y="100330"/>
                </a:lnTo>
                <a:lnTo>
                  <a:pt x="556377" y="100330"/>
                </a:lnTo>
                <a:lnTo>
                  <a:pt x="555958" y="93652"/>
                </a:lnTo>
                <a:lnTo>
                  <a:pt x="553529" y="82216"/>
                </a:lnTo>
                <a:lnTo>
                  <a:pt x="549481" y="72280"/>
                </a:lnTo>
                <a:lnTo>
                  <a:pt x="544413" y="64769"/>
                </a:lnTo>
                <a:close/>
              </a:path>
              <a:path w="742950" h="175260">
                <a:moveTo>
                  <a:pt x="605281" y="51307"/>
                </a:moveTo>
                <a:lnTo>
                  <a:pt x="585977" y="51307"/>
                </a:lnTo>
                <a:lnTo>
                  <a:pt x="585977" y="172465"/>
                </a:lnTo>
                <a:lnTo>
                  <a:pt x="605281" y="172465"/>
                </a:lnTo>
                <a:lnTo>
                  <a:pt x="605281" y="110743"/>
                </a:lnTo>
                <a:lnTo>
                  <a:pt x="605805" y="101117"/>
                </a:lnTo>
                <a:lnTo>
                  <a:pt x="607377" y="92598"/>
                </a:lnTo>
                <a:lnTo>
                  <a:pt x="609996" y="85151"/>
                </a:lnTo>
                <a:lnTo>
                  <a:pt x="613663" y="78739"/>
                </a:lnTo>
                <a:lnTo>
                  <a:pt x="615404" y="76326"/>
                </a:lnTo>
                <a:lnTo>
                  <a:pt x="605281" y="76326"/>
                </a:lnTo>
                <a:lnTo>
                  <a:pt x="605281" y="51307"/>
                </a:lnTo>
                <a:close/>
              </a:path>
              <a:path w="742950" h="175260">
                <a:moveTo>
                  <a:pt x="642620" y="49149"/>
                </a:moveTo>
                <a:lnTo>
                  <a:pt x="630554" y="49149"/>
                </a:lnTo>
                <a:lnTo>
                  <a:pt x="624204" y="51562"/>
                </a:lnTo>
                <a:lnTo>
                  <a:pt x="618489" y="56387"/>
                </a:lnTo>
                <a:lnTo>
                  <a:pt x="612775" y="61087"/>
                </a:lnTo>
                <a:lnTo>
                  <a:pt x="608583" y="67690"/>
                </a:lnTo>
                <a:lnTo>
                  <a:pt x="605789" y="76326"/>
                </a:lnTo>
                <a:lnTo>
                  <a:pt x="615404" y="76326"/>
                </a:lnTo>
                <a:lnTo>
                  <a:pt x="619251" y="70993"/>
                </a:lnTo>
                <a:lnTo>
                  <a:pt x="626109" y="67056"/>
                </a:lnTo>
                <a:lnTo>
                  <a:pt x="649097" y="67056"/>
                </a:lnTo>
                <a:lnTo>
                  <a:pt x="649097" y="50800"/>
                </a:lnTo>
                <a:lnTo>
                  <a:pt x="646429" y="49783"/>
                </a:lnTo>
                <a:lnTo>
                  <a:pt x="642620" y="49149"/>
                </a:lnTo>
                <a:close/>
              </a:path>
              <a:path w="742950" h="175260">
                <a:moveTo>
                  <a:pt x="649097" y="67056"/>
                </a:moveTo>
                <a:lnTo>
                  <a:pt x="640842" y="67056"/>
                </a:lnTo>
                <a:lnTo>
                  <a:pt x="645668" y="68325"/>
                </a:lnTo>
                <a:lnTo>
                  <a:pt x="649097" y="70993"/>
                </a:lnTo>
                <a:lnTo>
                  <a:pt x="649097" y="67056"/>
                </a:lnTo>
                <a:close/>
              </a:path>
              <a:path w="742950" h="175260">
                <a:moveTo>
                  <a:pt x="662431" y="147319"/>
                </a:moveTo>
                <a:lnTo>
                  <a:pt x="662431" y="168020"/>
                </a:lnTo>
                <a:lnTo>
                  <a:pt x="669599" y="171188"/>
                </a:lnTo>
                <a:lnTo>
                  <a:pt x="677386" y="173450"/>
                </a:lnTo>
                <a:lnTo>
                  <a:pt x="685792" y="174807"/>
                </a:lnTo>
                <a:lnTo>
                  <a:pt x="694817" y="175259"/>
                </a:lnTo>
                <a:lnTo>
                  <a:pt x="701167" y="175259"/>
                </a:lnTo>
                <a:lnTo>
                  <a:pt x="736092" y="160019"/>
                </a:lnTo>
                <a:lnTo>
                  <a:pt x="736719" y="159003"/>
                </a:lnTo>
                <a:lnTo>
                  <a:pt x="697356" y="159003"/>
                </a:lnTo>
                <a:lnTo>
                  <a:pt x="688024" y="158267"/>
                </a:lnTo>
                <a:lnTo>
                  <a:pt x="679084" y="156067"/>
                </a:lnTo>
                <a:lnTo>
                  <a:pt x="670550" y="152413"/>
                </a:lnTo>
                <a:lnTo>
                  <a:pt x="662431" y="147319"/>
                </a:lnTo>
                <a:close/>
              </a:path>
              <a:path w="742950" h="175260">
                <a:moveTo>
                  <a:pt x="709041" y="48513"/>
                </a:moveTo>
                <a:lnTo>
                  <a:pt x="703072" y="48513"/>
                </a:lnTo>
                <a:lnTo>
                  <a:pt x="697356" y="49149"/>
                </a:lnTo>
                <a:lnTo>
                  <a:pt x="686307" y="52196"/>
                </a:lnTo>
                <a:lnTo>
                  <a:pt x="681354" y="54482"/>
                </a:lnTo>
                <a:lnTo>
                  <a:pt x="677036" y="57403"/>
                </a:lnTo>
                <a:lnTo>
                  <a:pt x="672592" y="60325"/>
                </a:lnTo>
                <a:lnTo>
                  <a:pt x="669162" y="64007"/>
                </a:lnTo>
                <a:lnTo>
                  <a:pt x="666623" y="68452"/>
                </a:lnTo>
                <a:lnTo>
                  <a:pt x="663955" y="72770"/>
                </a:lnTo>
                <a:lnTo>
                  <a:pt x="662685" y="77850"/>
                </a:lnTo>
                <a:lnTo>
                  <a:pt x="662685" y="88137"/>
                </a:lnTo>
                <a:lnTo>
                  <a:pt x="663321" y="92201"/>
                </a:lnTo>
                <a:lnTo>
                  <a:pt x="664718" y="95631"/>
                </a:lnTo>
                <a:lnTo>
                  <a:pt x="666114" y="99187"/>
                </a:lnTo>
                <a:lnTo>
                  <a:pt x="668147" y="102234"/>
                </a:lnTo>
                <a:lnTo>
                  <a:pt x="670941" y="104901"/>
                </a:lnTo>
                <a:lnTo>
                  <a:pt x="673607" y="107695"/>
                </a:lnTo>
                <a:lnTo>
                  <a:pt x="702691" y="121665"/>
                </a:lnTo>
                <a:lnTo>
                  <a:pt x="705993" y="123062"/>
                </a:lnTo>
                <a:lnTo>
                  <a:pt x="709422" y="124459"/>
                </a:lnTo>
                <a:lnTo>
                  <a:pt x="712343" y="125983"/>
                </a:lnTo>
                <a:lnTo>
                  <a:pt x="714755" y="127762"/>
                </a:lnTo>
                <a:lnTo>
                  <a:pt x="717296" y="129412"/>
                </a:lnTo>
                <a:lnTo>
                  <a:pt x="719201" y="131444"/>
                </a:lnTo>
                <a:lnTo>
                  <a:pt x="720725" y="133731"/>
                </a:lnTo>
                <a:lnTo>
                  <a:pt x="722122" y="136016"/>
                </a:lnTo>
                <a:lnTo>
                  <a:pt x="722883" y="138683"/>
                </a:lnTo>
                <a:lnTo>
                  <a:pt x="722883" y="141986"/>
                </a:lnTo>
                <a:lnTo>
                  <a:pt x="721288" y="149413"/>
                </a:lnTo>
                <a:lnTo>
                  <a:pt x="716502" y="154733"/>
                </a:lnTo>
                <a:lnTo>
                  <a:pt x="708525" y="157934"/>
                </a:lnTo>
                <a:lnTo>
                  <a:pt x="697356" y="159003"/>
                </a:lnTo>
                <a:lnTo>
                  <a:pt x="736719" y="159003"/>
                </a:lnTo>
                <a:lnTo>
                  <a:pt x="738758" y="155701"/>
                </a:lnTo>
                <a:lnTo>
                  <a:pt x="741426" y="151256"/>
                </a:lnTo>
                <a:lnTo>
                  <a:pt x="742823" y="146050"/>
                </a:lnTo>
                <a:lnTo>
                  <a:pt x="742823" y="135127"/>
                </a:lnTo>
                <a:lnTo>
                  <a:pt x="741933" y="130937"/>
                </a:lnTo>
                <a:lnTo>
                  <a:pt x="740282" y="127381"/>
                </a:lnTo>
                <a:lnTo>
                  <a:pt x="738758" y="123825"/>
                </a:lnTo>
                <a:lnTo>
                  <a:pt x="736473" y="120650"/>
                </a:lnTo>
                <a:lnTo>
                  <a:pt x="733425" y="117982"/>
                </a:lnTo>
                <a:lnTo>
                  <a:pt x="730376" y="115188"/>
                </a:lnTo>
                <a:lnTo>
                  <a:pt x="726821" y="112775"/>
                </a:lnTo>
                <a:lnTo>
                  <a:pt x="722502" y="110616"/>
                </a:lnTo>
                <a:lnTo>
                  <a:pt x="718311" y="108457"/>
                </a:lnTo>
                <a:lnTo>
                  <a:pt x="713485" y="106299"/>
                </a:lnTo>
                <a:lnTo>
                  <a:pt x="704087" y="102743"/>
                </a:lnTo>
                <a:lnTo>
                  <a:pt x="700531" y="101218"/>
                </a:lnTo>
                <a:lnTo>
                  <a:pt x="682498" y="84962"/>
                </a:lnTo>
                <a:lnTo>
                  <a:pt x="682498" y="79247"/>
                </a:lnTo>
                <a:lnTo>
                  <a:pt x="683132" y="76962"/>
                </a:lnTo>
                <a:lnTo>
                  <a:pt x="684276" y="74930"/>
                </a:lnTo>
                <a:lnTo>
                  <a:pt x="685419" y="72770"/>
                </a:lnTo>
                <a:lnTo>
                  <a:pt x="696595" y="66039"/>
                </a:lnTo>
                <a:lnTo>
                  <a:pt x="699516" y="65150"/>
                </a:lnTo>
                <a:lnTo>
                  <a:pt x="702818" y="64769"/>
                </a:lnTo>
                <a:lnTo>
                  <a:pt x="737234" y="64769"/>
                </a:lnTo>
                <a:lnTo>
                  <a:pt x="737234" y="53847"/>
                </a:lnTo>
                <a:lnTo>
                  <a:pt x="730829" y="51514"/>
                </a:lnTo>
                <a:lnTo>
                  <a:pt x="723995" y="49847"/>
                </a:lnTo>
                <a:lnTo>
                  <a:pt x="716732" y="48847"/>
                </a:lnTo>
                <a:lnTo>
                  <a:pt x="709041" y="48513"/>
                </a:lnTo>
                <a:close/>
              </a:path>
              <a:path w="742950" h="175260">
                <a:moveTo>
                  <a:pt x="737234" y="64769"/>
                </a:moveTo>
                <a:lnTo>
                  <a:pt x="706374" y="64769"/>
                </a:lnTo>
                <a:lnTo>
                  <a:pt x="714875" y="65317"/>
                </a:lnTo>
                <a:lnTo>
                  <a:pt x="722852" y="66960"/>
                </a:lnTo>
                <a:lnTo>
                  <a:pt x="730305" y="69699"/>
                </a:lnTo>
                <a:lnTo>
                  <a:pt x="737234" y="73532"/>
                </a:lnTo>
                <a:lnTo>
                  <a:pt x="737234" y="64769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7150813" y="5893648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90" h="429895">
                <a:moveTo>
                  <a:pt x="0" y="429767"/>
                </a:moveTo>
                <a:lnTo>
                  <a:pt x="1850135" y="429767"/>
                </a:lnTo>
                <a:lnTo>
                  <a:pt x="1850135" y="0"/>
                </a:lnTo>
                <a:lnTo>
                  <a:pt x="0" y="0"/>
                </a:lnTo>
                <a:lnTo>
                  <a:pt x="0" y="429767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7387119" y="5993132"/>
            <a:ext cx="889182" cy="232126"/>
          </a:xfrm>
          <a:custGeom>
            <a:avLst/>
            <a:gdLst/>
            <a:ahLst/>
            <a:cxnLst/>
            <a:rect l="l" t="t" r="r" b="b"/>
            <a:pathLst>
              <a:path w="1209040" h="236854">
                <a:moveTo>
                  <a:pt x="25780" y="9702"/>
                </a:moveTo>
                <a:lnTo>
                  <a:pt x="0" y="9702"/>
                </a:lnTo>
                <a:lnTo>
                  <a:pt x="0" y="179374"/>
                </a:lnTo>
                <a:lnTo>
                  <a:pt x="19939" y="179374"/>
                </a:lnTo>
                <a:lnTo>
                  <a:pt x="19902" y="44132"/>
                </a:lnTo>
                <a:lnTo>
                  <a:pt x="19558" y="37122"/>
                </a:lnTo>
                <a:lnTo>
                  <a:pt x="18923" y="33489"/>
                </a:lnTo>
                <a:lnTo>
                  <a:pt x="40964" y="33489"/>
                </a:lnTo>
                <a:lnTo>
                  <a:pt x="25780" y="9702"/>
                </a:lnTo>
                <a:close/>
              </a:path>
              <a:path w="1209040" h="236854">
                <a:moveTo>
                  <a:pt x="40964" y="33489"/>
                </a:moveTo>
                <a:lnTo>
                  <a:pt x="19685" y="33489"/>
                </a:lnTo>
                <a:lnTo>
                  <a:pt x="21081" y="37198"/>
                </a:lnTo>
                <a:lnTo>
                  <a:pt x="22860" y="40741"/>
                </a:lnTo>
                <a:lnTo>
                  <a:pt x="25146" y="44132"/>
                </a:lnTo>
                <a:lnTo>
                  <a:pt x="112395" y="179374"/>
                </a:lnTo>
                <a:lnTo>
                  <a:pt x="136778" y="179374"/>
                </a:lnTo>
                <a:lnTo>
                  <a:pt x="136778" y="154178"/>
                </a:lnTo>
                <a:lnTo>
                  <a:pt x="117601" y="154178"/>
                </a:lnTo>
                <a:lnTo>
                  <a:pt x="116586" y="152120"/>
                </a:lnTo>
                <a:lnTo>
                  <a:pt x="114300" y="148336"/>
                </a:lnTo>
                <a:lnTo>
                  <a:pt x="110744" y="142811"/>
                </a:lnTo>
                <a:lnTo>
                  <a:pt x="40964" y="33489"/>
                </a:lnTo>
                <a:close/>
              </a:path>
              <a:path w="1209040" h="236854">
                <a:moveTo>
                  <a:pt x="136778" y="9702"/>
                </a:moveTo>
                <a:lnTo>
                  <a:pt x="116967" y="9702"/>
                </a:lnTo>
                <a:lnTo>
                  <a:pt x="117051" y="142811"/>
                </a:lnTo>
                <a:lnTo>
                  <a:pt x="117348" y="149288"/>
                </a:lnTo>
                <a:lnTo>
                  <a:pt x="118110" y="154178"/>
                </a:lnTo>
                <a:lnTo>
                  <a:pt x="136778" y="154178"/>
                </a:lnTo>
                <a:lnTo>
                  <a:pt x="136778" y="9702"/>
                </a:lnTo>
                <a:close/>
              </a:path>
              <a:path w="1209040" h="236854">
                <a:moveTo>
                  <a:pt x="226314" y="55372"/>
                </a:moveTo>
                <a:lnTo>
                  <a:pt x="186563" y="73190"/>
                </a:lnTo>
                <a:lnTo>
                  <a:pt x="170434" y="119265"/>
                </a:lnTo>
                <a:lnTo>
                  <a:pt x="171360" y="133398"/>
                </a:lnTo>
                <a:lnTo>
                  <a:pt x="193190" y="172929"/>
                </a:lnTo>
                <a:lnTo>
                  <a:pt x="225551" y="182219"/>
                </a:lnTo>
                <a:lnTo>
                  <a:pt x="238033" y="181493"/>
                </a:lnTo>
                <a:lnTo>
                  <a:pt x="249205" y="179317"/>
                </a:lnTo>
                <a:lnTo>
                  <a:pt x="259091" y="175693"/>
                </a:lnTo>
                <a:lnTo>
                  <a:pt x="267716" y="170624"/>
                </a:lnTo>
                <a:lnTo>
                  <a:pt x="267716" y="165887"/>
                </a:lnTo>
                <a:lnTo>
                  <a:pt x="230124" y="165887"/>
                </a:lnTo>
                <a:lnTo>
                  <a:pt x="221480" y="165199"/>
                </a:lnTo>
                <a:lnTo>
                  <a:pt x="191458" y="133186"/>
                </a:lnTo>
                <a:lnTo>
                  <a:pt x="190626" y="123647"/>
                </a:lnTo>
                <a:lnTo>
                  <a:pt x="276098" y="123647"/>
                </a:lnTo>
                <a:lnTo>
                  <a:pt x="276098" y="113474"/>
                </a:lnTo>
                <a:lnTo>
                  <a:pt x="275704" y="107200"/>
                </a:lnTo>
                <a:lnTo>
                  <a:pt x="190880" y="107200"/>
                </a:lnTo>
                <a:lnTo>
                  <a:pt x="192476" y="99652"/>
                </a:lnTo>
                <a:lnTo>
                  <a:pt x="216789" y="71704"/>
                </a:lnTo>
                <a:lnTo>
                  <a:pt x="263775" y="71704"/>
                </a:lnTo>
                <a:lnTo>
                  <a:pt x="263144" y="70764"/>
                </a:lnTo>
                <a:lnTo>
                  <a:pt x="255978" y="64030"/>
                </a:lnTo>
                <a:lnTo>
                  <a:pt x="247443" y="59220"/>
                </a:lnTo>
                <a:lnTo>
                  <a:pt x="237551" y="56334"/>
                </a:lnTo>
                <a:lnTo>
                  <a:pt x="226314" y="55372"/>
                </a:lnTo>
                <a:close/>
              </a:path>
              <a:path w="1209040" h="236854">
                <a:moveTo>
                  <a:pt x="267716" y="152400"/>
                </a:moveTo>
                <a:lnTo>
                  <a:pt x="258931" y="158300"/>
                </a:lnTo>
                <a:lnTo>
                  <a:pt x="249729" y="162515"/>
                </a:lnTo>
                <a:lnTo>
                  <a:pt x="240123" y="165044"/>
                </a:lnTo>
                <a:lnTo>
                  <a:pt x="230124" y="165887"/>
                </a:lnTo>
                <a:lnTo>
                  <a:pt x="267716" y="165887"/>
                </a:lnTo>
                <a:lnTo>
                  <a:pt x="267716" y="152400"/>
                </a:lnTo>
                <a:close/>
              </a:path>
              <a:path w="1209040" h="236854">
                <a:moveTo>
                  <a:pt x="263775" y="71704"/>
                </a:moveTo>
                <a:lnTo>
                  <a:pt x="235458" y="71704"/>
                </a:lnTo>
                <a:lnTo>
                  <a:pt x="242824" y="74815"/>
                </a:lnTo>
                <a:lnTo>
                  <a:pt x="248158" y="81051"/>
                </a:lnTo>
                <a:lnTo>
                  <a:pt x="251660" y="86192"/>
                </a:lnTo>
                <a:lnTo>
                  <a:pt x="254174" y="92263"/>
                </a:lnTo>
                <a:lnTo>
                  <a:pt x="255712" y="99266"/>
                </a:lnTo>
                <a:lnTo>
                  <a:pt x="256286" y="107200"/>
                </a:lnTo>
                <a:lnTo>
                  <a:pt x="275704" y="107200"/>
                </a:lnTo>
                <a:lnTo>
                  <a:pt x="275288" y="100553"/>
                </a:lnTo>
                <a:lnTo>
                  <a:pt x="272859" y="89128"/>
                </a:lnTo>
                <a:lnTo>
                  <a:pt x="268811" y="79198"/>
                </a:lnTo>
                <a:lnTo>
                  <a:pt x="263775" y="71704"/>
                </a:lnTo>
                <a:close/>
              </a:path>
              <a:path w="1209040" h="236854">
                <a:moveTo>
                  <a:pt x="330962" y="74777"/>
                </a:moveTo>
                <a:lnTo>
                  <a:pt x="311530" y="74777"/>
                </a:lnTo>
                <a:lnTo>
                  <a:pt x="311530" y="146481"/>
                </a:lnTo>
                <a:lnTo>
                  <a:pt x="313529" y="162009"/>
                </a:lnTo>
                <a:lnTo>
                  <a:pt x="319516" y="173102"/>
                </a:lnTo>
                <a:lnTo>
                  <a:pt x="329479" y="179759"/>
                </a:lnTo>
                <a:lnTo>
                  <a:pt x="343408" y="181978"/>
                </a:lnTo>
                <a:lnTo>
                  <a:pt x="350900" y="181978"/>
                </a:lnTo>
                <a:lnTo>
                  <a:pt x="356870" y="180721"/>
                </a:lnTo>
                <a:lnTo>
                  <a:pt x="361442" y="178193"/>
                </a:lnTo>
                <a:lnTo>
                  <a:pt x="361442" y="165646"/>
                </a:lnTo>
                <a:lnTo>
                  <a:pt x="342392" y="165646"/>
                </a:lnTo>
                <a:lnTo>
                  <a:pt x="337820" y="163918"/>
                </a:lnTo>
                <a:lnTo>
                  <a:pt x="335025" y="160439"/>
                </a:lnTo>
                <a:lnTo>
                  <a:pt x="332359" y="156972"/>
                </a:lnTo>
                <a:lnTo>
                  <a:pt x="330962" y="151180"/>
                </a:lnTo>
                <a:lnTo>
                  <a:pt x="330962" y="74777"/>
                </a:lnTo>
                <a:close/>
              </a:path>
              <a:path w="1209040" h="236854">
                <a:moveTo>
                  <a:pt x="361442" y="161632"/>
                </a:moveTo>
                <a:lnTo>
                  <a:pt x="357886" y="164312"/>
                </a:lnTo>
                <a:lnTo>
                  <a:pt x="353695" y="165646"/>
                </a:lnTo>
                <a:lnTo>
                  <a:pt x="361442" y="165646"/>
                </a:lnTo>
                <a:lnTo>
                  <a:pt x="361442" y="161632"/>
                </a:lnTo>
                <a:close/>
              </a:path>
              <a:path w="1209040" h="236854">
                <a:moveTo>
                  <a:pt x="361442" y="58216"/>
                </a:moveTo>
                <a:lnTo>
                  <a:pt x="290702" y="58216"/>
                </a:lnTo>
                <a:lnTo>
                  <a:pt x="290702" y="74777"/>
                </a:lnTo>
                <a:lnTo>
                  <a:pt x="361442" y="74777"/>
                </a:lnTo>
                <a:lnTo>
                  <a:pt x="361442" y="58216"/>
                </a:lnTo>
                <a:close/>
              </a:path>
              <a:path w="1209040" h="236854">
                <a:moveTo>
                  <a:pt x="330962" y="22364"/>
                </a:moveTo>
                <a:lnTo>
                  <a:pt x="311530" y="28638"/>
                </a:lnTo>
                <a:lnTo>
                  <a:pt x="311530" y="58216"/>
                </a:lnTo>
                <a:lnTo>
                  <a:pt x="330962" y="58216"/>
                </a:lnTo>
                <a:lnTo>
                  <a:pt x="330962" y="22364"/>
                </a:lnTo>
                <a:close/>
              </a:path>
              <a:path w="1209040" h="236854">
                <a:moveTo>
                  <a:pt x="391160" y="58216"/>
                </a:moveTo>
                <a:lnTo>
                  <a:pt x="370713" y="58216"/>
                </a:lnTo>
                <a:lnTo>
                  <a:pt x="407416" y="179374"/>
                </a:lnTo>
                <a:lnTo>
                  <a:pt x="426847" y="179374"/>
                </a:lnTo>
                <a:lnTo>
                  <a:pt x="432807" y="160210"/>
                </a:lnTo>
                <a:lnTo>
                  <a:pt x="417829" y="160210"/>
                </a:lnTo>
                <a:lnTo>
                  <a:pt x="417575" y="155714"/>
                </a:lnTo>
                <a:lnTo>
                  <a:pt x="416941" y="152082"/>
                </a:lnTo>
                <a:lnTo>
                  <a:pt x="391160" y="58216"/>
                </a:lnTo>
                <a:close/>
              </a:path>
              <a:path w="1209040" h="236854">
                <a:moveTo>
                  <a:pt x="472982" y="81407"/>
                </a:moveTo>
                <a:lnTo>
                  <a:pt x="456946" y="81407"/>
                </a:lnTo>
                <a:lnTo>
                  <a:pt x="457200" y="85585"/>
                </a:lnTo>
                <a:lnTo>
                  <a:pt x="457835" y="89331"/>
                </a:lnTo>
                <a:lnTo>
                  <a:pt x="458850" y="92646"/>
                </a:lnTo>
                <a:lnTo>
                  <a:pt x="483743" y="179374"/>
                </a:lnTo>
                <a:lnTo>
                  <a:pt x="503809" y="179374"/>
                </a:lnTo>
                <a:lnTo>
                  <a:pt x="509505" y="160439"/>
                </a:lnTo>
                <a:lnTo>
                  <a:pt x="493522" y="160439"/>
                </a:lnTo>
                <a:lnTo>
                  <a:pt x="492958" y="155714"/>
                </a:lnTo>
                <a:lnTo>
                  <a:pt x="492505" y="152476"/>
                </a:lnTo>
                <a:lnTo>
                  <a:pt x="491744" y="149555"/>
                </a:lnTo>
                <a:lnTo>
                  <a:pt x="472982" y="81407"/>
                </a:lnTo>
                <a:close/>
              </a:path>
              <a:path w="1209040" h="236854">
                <a:moveTo>
                  <a:pt x="540258" y="58216"/>
                </a:moveTo>
                <a:lnTo>
                  <a:pt x="521080" y="58216"/>
                </a:lnTo>
                <a:lnTo>
                  <a:pt x="496443" y="149555"/>
                </a:lnTo>
                <a:lnTo>
                  <a:pt x="495173" y="153733"/>
                </a:lnTo>
                <a:lnTo>
                  <a:pt x="494538" y="157365"/>
                </a:lnTo>
                <a:lnTo>
                  <a:pt x="494411" y="160439"/>
                </a:lnTo>
                <a:lnTo>
                  <a:pt x="509505" y="160439"/>
                </a:lnTo>
                <a:lnTo>
                  <a:pt x="540258" y="58216"/>
                </a:lnTo>
                <a:close/>
              </a:path>
              <a:path w="1209040" h="236854">
                <a:moveTo>
                  <a:pt x="466598" y="58216"/>
                </a:moveTo>
                <a:lnTo>
                  <a:pt x="448818" y="58216"/>
                </a:lnTo>
                <a:lnTo>
                  <a:pt x="420877" y="149085"/>
                </a:lnTo>
                <a:lnTo>
                  <a:pt x="419735" y="153035"/>
                </a:lnTo>
                <a:lnTo>
                  <a:pt x="419100" y="156730"/>
                </a:lnTo>
                <a:lnTo>
                  <a:pt x="418846" y="160210"/>
                </a:lnTo>
                <a:lnTo>
                  <a:pt x="432807" y="160210"/>
                </a:lnTo>
                <a:lnTo>
                  <a:pt x="453898" y="92405"/>
                </a:lnTo>
                <a:lnTo>
                  <a:pt x="455422" y="87909"/>
                </a:lnTo>
                <a:lnTo>
                  <a:pt x="456184" y="84251"/>
                </a:lnTo>
                <a:lnTo>
                  <a:pt x="456438" y="81407"/>
                </a:lnTo>
                <a:lnTo>
                  <a:pt x="472982" y="81407"/>
                </a:lnTo>
                <a:lnTo>
                  <a:pt x="466598" y="58216"/>
                </a:lnTo>
                <a:close/>
              </a:path>
              <a:path w="1209040" h="236854">
                <a:moveTo>
                  <a:pt x="616330" y="55372"/>
                </a:moveTo>
                <a:lnTo>
                  <a:pt x="571246" y="72529"/>
                </a:lnTo>
                <a:lnTo>
                  <a:pt x="554481" y="120218"/>
                </a:lnTo>
                <a:lnTo>
                  <a:pt x="555501" y="133546"/>
                </a:lnTo>
                <a:lnTo>
                  <a:pt x="579280" y="172666"/>
                </a:lnTo>
                <a:lnTo>
                  <a:pt x="613410" y="182219"/>
                </a:lnTo>
                <a:lnTo>
                  <a:pt x="626528" y="181128"/>
                </a:lnTo>
                <a:lnTo>
                  <a:pt x="638254" y="177855"/>
                </a:lnTo>
                <a:lnTo>
                  <a:pt x="648575" y="172398"/>
                </a:lnTo>
                <a:lnTo>
                  <a:pt x="656161" y="165887"/>
                </a:lnTo>
                <a:lnTo>
                  <a:pt x="614934" y="165887"/>
                </a:lnTo>
                <a:lnTo>
                  <a:pt x="606151" y="165111"/>
                </a:lnTo>
                <a:lnTo>
                  <a:pt x="577183" y="138763"/>
                </a:lnTo>
                <a:lnTo>
                  <a:pt x="574469" y="120218"/>
                </a:lnTo>
                <a:lnTo>
                  <a:pt x="574497" y="118325"/>
                </a:lnTo>
                <a:lnTo>
                  <a:pt x="591252" y="78862"/>
                </a:lnTo>
                <a:lnTo>
                  <a:pt x="614934" y="71704"/>
                </a:lnTo>
                <a:lnTo>
                  <a:pt x="658214" y="71704"/>
                </a:lnTo>
                <a:lnTo>
                  <a:pt x="650263" y="64758"/>
                </a:lnTo>
                <a:lnTo>
                  <a:pt x="640429" y="59543"/>
                </a:lnTo>
                <a:lnTo>
                  <a:pt x="629118" y="56414"/>
                </a:lnTo>
                <a:lnTo>
                  <a:pt x="616330" y="55372"/>
                </a:lnTo>
                <a:close/>
              </a:path>
              <a:path w="1209040" h="236854">
                <a:moveTo>
                  <a:pt x="658214" y="71704"/>
                </a:moveTo>
                <a:lnTo>
                  <a:pt x="614934" y="71704"/>
                </a:lnTo>
                <a:lnTo>
                  <a:pt x="623742" y="72473"/>
                </a:lnTo>
                <a:lnTo>
                  <a:pt x="631491" y="74780"/>
                </a:lnTo>
                <a:lnTo>
                  <a:pt x="653282" y="108326"/>
                </a:lnTo>
                <a:lnTo>
                  <a:pt x="653880" y="118325"/>
                </a:lnTo>
                <a:lnTo>
                  <a:pt x="653851" y="120218"/>
                </a:lnTo>
                <a:lnTo>
                  <a:pt x="638169" y="159029"/>
                </a:lnTo>
                <a:lnTo>
                  <a:pt x="614934" y="165887"/>
                </a:lnTo>
                <a:lnTo>
                  <a:pt x="656161" y="165887"/>
                </a:lnTo>
                <a:lnTo>
                  <a:pt x="673862" y="118325"/>
                </a:lnTo>
                <a:lnTo>
                  <a:pt x="672909" y="104340"/>
                </a:lnTo>
                <a:lnTo>
                  <a:pt x="670051" y="91968"/>
                </a:lnTo>
                <a:lnTo>
                  <a:pt x="665289" y="81208"/>
                </a:lnTo>
                <a:lnTo>
                  <a:pt x="658622" y="72059"/>
                </a:lnTo>
                <a:lnTo>
                  <a:pt x="658214" y="71704"/>
                </a:lnTo>
                <a:close/>
              </a:path>
              <a:path w="1209040" h="236854">
                <a:moveTo>
                  <a:pt x="723900" y="58216"/>
                </a:moveTo>
                <a:lnTo>
                  <a:pt x="704596" y="58216"/>
                </a:lnTo>
                <a:lnTo>
                  <a:pt x="704596" y="179374"/>
                </a:lnTo>
                <a:lnTo>
                  <a:pt x="723900" y="179374"/>
                </a:lnTo>
                <a:lnTo>
                  <a:pt x="723900" y="117614"/>
                </a:lnTo>
                <a:lnTo>
                  <a:pt x="724423" y="108030"/>
                </a:lnTo>
                <a:lnTo>
                  <a:pt x="725995" y="99509"/>
                </a:lnTo>
                <a:lnTo>
                  <a:pt x="728614" y="92052"/>
                </a:lnTo>
                <a:lnTo>
                  <a:pt x="732281" y="85661"/>
                </a:lnTo>
                <a:lnTo>
                  <a:pt x="734056" y="83185"/>
                </a:lnTo>
                <a:lnTo>
                  <a:pt x="723900" y="83185"/>
                </a:lnTo>
                <a:lnTo>
                  <a:pt x="723900" y="58216"/>
                </a:lnTo>
                <a:close/>
              </a:path>
              <a:path w="1209040" h="236854">
                <a:moveTo>
                  <a:pt x="761238" y="56083"/>
                </a:moveTo>
                <a:lnTo>
                  <a:pt x="749173" y="56083"/>
                </a:lnTo>
                <a:lnTo>
                  <a:pt x="742823" y="58470"/>
                </a:lnTo>
                <a:lnTo>
                  <a:pt x="731393" y="68021"/>
                </a:lnTo>
                <a:lnTo>
                  <a:pt x="727201" y="74663"/>
                </a:lnTo>
                <a:lnTo>
                  <a:pt x="724408" y="83185"/>
                </a:lnTo>
                <a:lnTo>
                  <a:pt x="734056" y="83185"/>
                </a:lnTo>
                <a:lnTo>
                  <a:pt x="737870" y="77863"/>
                </a:lnTo>
                <a:lnTo>
                  <a:pt x="744727" y="73952"/>
                </a:lnTo>
                <a:lnTo>
                  <a:pt x="767715" y="73952"/>
                </a:lnTo>
                <a:lnTo>
                  <a:pt x="767715" y="57746"/>
                </a:lnTo>
                <a:lnTo>
                  <a:pt x="765048" y="56642"/>
                </a:lnTo>
                <a:lnTo>
                  <a:pt x="761238" y="56083"/>
                </a:lnTo>
                <a:close/>
              </a:path>
              <a:path w="1209040" h="236854">
                <a:moveTo>
                  <a:pt x="767715" y="73952"/>
                </a:moveTo>
                <a:lnTo>
                  <a:pt x="759460" y="73952"/>
                </a:lnTo>
                <a:lnTo>
                  <a:pt x="764286" y="75260"/>
                </a:lnTo>
                <a:lnTo>
                  <a:pt x="767715" y="77863"/>
                </a:lnTo>
                <a:lnTo>
                  <a:pt x="767715" y="73952"/>
                </a:lnTo>
                <a:close/>
              </a:path>
              <a:path w="1209040" h="236854">
                <a:moveTo>
                  <a:pt x="807720" y="0"/>
                </a:moveTo>
                <a:lnTo>
                  <a:pt x="788416" y="0"/>
                </a:lnTo>
                <a:lnTo>
                  <a:pt x="788416" y="179374"/>
                </a:lnTo>
                <a:lnTo>
                  <a:pt x="807720" y="179374"/>
                </a:lnTo>
                <a:lnTo>
                  <a:pt x="807720" y="121158"/>
                </a:lnTo>
                <a:lnTo>
                  <a:pt x="832763" y="121158"/>
                </a:lnTo>
                <a:lnTo>
                  <a:pt x="828421" y="116662"/>
                </a:lnTo>
                <a:lnTo>
                  <a:pt x="831263" y="113703"/>
                </a:lnTo>
                <a:lnTo>
                  <a:pt x="807720" y="113703"/>
                </a:lnTo>
                <a:lnTo>
                  <a:pt x="807720" y="0"/>
                </a:lnTo>
                <a:close/>
              </a:path>
              <a:path w="1209040" h="236854">
                <a:moveTo>
                  <a:pt x="832763" y="121158"/>
                </a:moveTo>
                <a:lnTo>
                  <a:pt x="808227" y="121158"/>
                </a:lnTo>
                <a:lnTo>
                  <a:pt x="861695" y="179374"/>
                </a:lnTo>
                <a:lnTo>
                  <a:pt x="889000" y="179374"/>
                </a:lnTo>
                <a:lnTo>
                  <a:pt x="832763" y="121158"/>
                </a:lnTo>
                <a:close/>
              </a:path>
              <a:path w="1209040" h="236854">
                <a:moveTo>
                  <a:pt x="884554" y="58216"/>
                </a:moveTo>
                <a:lnTo>
                  <a:pt x="859154" y="58216"/>
                </a:lnTo>
                <a:lnTo>
                  <a:pt x="808227" y="113703"/>
                </a:lnTo>
                <a:lnTo>
                  <a:pt x="831263" y="113703"/>
                </a:lnTo>
                <a:lnTo>
                  <a:pt x="884554" y="58216"/>
                </a:lnTo>
                <a:close/>
              </a:path>
              <a:path w="1209040" h="236854">
                <a:moveTo>
                  <a:pt x="922274" y="2247"/>
                </a:moveTo>
                <a:lnTo>
                  <a:pt x="915289" y="2247"/>
                </a:lnTo>
                <a:lnTo>
                  <a:pt x="912241" y="3454"/>
                </a:lnTo>
                <a:lnTo>
                  <a:pt x="907415" y="8267"/>
                </a:lnTo>
                <a:lnTo>
                  <a:pt x="906145" y="11277"/>
                </a:lnTo>
                <a:lnTo>
                  <a:pt x="906145" y="18542"/>
                </a:lnTo>
                <a:lnTo>
                  <a:pt x="907415" y="21539"/>
                </a:lnTo>
                <a:lnTo>
                  <a:pt x="912241" y="26276"/>
                </a:lnTo>
                <a:lnTo>
                  <a:pt x="915289" y="27457"/>
                </a:lnTo>
                <a:lnTo>
                  <a:pt x="922274" y="27457"/>
                </a:lnTo>
                <a:lnTo>
                  <a:pt x="925322" y="26225"/>
                </a:lnTo>
                <a:lnTo>
                  <a:pt x="927735" y="23787"/>
                </a:lnTo>
                <a:lnTo>
                  <a:pt x="930275" y="21336"/>
                </a:lnTo>
                <a:lnTo>
                  <a:pt x="931474" y="18542"/>
                </a:lnTo>
                <a:lnTo>
                  <a:pt x="931545" y="11277"/>
                </a:lnTo>
                <a:lnTo>
                  <a:pt x="930275" y="8267"/>
                </a:lnTo>
                <a:lnTo>
                  <a:pt x="927735" y="5854"/>
                </a:lnTo>
                <a:lnTo>
                  <a:pt x="925322" y="3454"/>
                </a:lnTo>
                <a:lnTo>
                  <a:pt x="922274" y="2247"/>
                </a:lnTo>
                <a:close/>
              </a:path>
              <a:path w="1209040" h="236854">
                <a:moveTo>
                  <a:pt x="928116" y="58216"/>
                </a:moveTo>
                <a:lnTo>
                  <a:pt x="908812" y="58216"/>
                </a:lnTo>
                <a:lnTo>
                  <a:pt x="908812" y="179374"/>
                </a:lnTo>
                <a:lnTo>
                  <a:pt x="928116" y="179374"/>
                </a:lnTo>
                <a:lnTo>
                  <a:pt x="928116" y="58216"/>
                </a:lnTo>
                <a:close/>
              </a:path>
              <a:path w="1209040" h="236854">
                <a:moveTo>
                  <a:pt x="987551" y="58216"/>
                </a:moveTo>
                <a:lnTo>
                  <a:pt x="968248" y="58216"/>
                </a:lnTo>
                <a:lnTo>
                  <a:pt x="968248" y="179374"/>
                </a:lnTo>
                <a:lnTo>
                  <a:pt x="987551" y="179374"/>
                </a:lnTo>
                <a:lnTo>
                  <a:pt x="987551" y="110274"/>
                </a:lnTo>
                <a:lnTo>
                  <a:pt x="988147" y="102289"/>
                </a:lnTo>
                <a:lnTo>
                  <a:pt x="989933" y="95024"/>
                </a:lnTo>
                <a:lnTo>
                  <a:pt x="992909" y="88478"/>
                </a:lnTo>
                <a:lnTo>
                  <a:pt x="997076" y="82651"/>
                </a:lnTo>
                <a:lnTo>
                  <a:pt x="1001665" y="78333"/>
                </a:lnTo>
                <a:lnTo>
                  <a:pt x="987551" y="78333"/>
                </a:lnTo>
                <a:lnTo>
                  <a:pt x="987551" y="58216"/>
                </a:lnTo>
                <a:close/>
              </a:path>
              <a:path w="1209040" h="236854">
                <a:moveTo>
                  <a:pt x="1060539" y="71704"/>
                </a:moveTo>
                <a:lnTo>
                  <a:pt x="1021206" y="71704"/>
                </a:lnTo>
                <a:lnTo>
                  <a:pt x="1033541" y="74114"/>
                </a:lnTo>
                <a:lnTo>
                  <a:pt x="1042352" y="81345"/>
                </a:lnTo>
                <a:lnTo>
                  <a:pt x="1047638" y="93397"/>
                </a:lnTo>
                <a:lnTo>
                  <a:pt x="1049401" y="110274"/>
                </a:lnTo>
                <a:lnTo>
                  <a:pt x="1049401" y="179374"/>
                </a:lnTo>
                <a:lnTo>
                  <a:pt x="1068831" y="179374"/>
                </a:lnTo>
                <a:lnTo>
                  <a:pt x="1068831" y="105308"/>
                </a:lnTo>
                <a:lnTo>
                  <a:pt x="1068167" y="93895"/>
                </a:lnTo>
                <a:lnTo>
                  <a:pt x="1066180" y="83907"/>
                </a:lnTo>
                <a:lnTo>
                  <a:pt x="1062884" y="75345"/>
                </a:lnTo>
                <a:lnTo>
                  <a:pt x="1060539" y="71704"/>
                </a:lnTo>
                <a:close/>
              </a:path>
              <a:path w="1209040" h="236854">
                <a:moveTo>
                  <a:pt x="1027811" y="55372"/>
                </a:moveTo>
                <a:lnTo>
                  <a:pt x="1015599" y="56807"/>
                </a:lnTo>
                <a:lnTo>
                  <a:pt x="1004887" y="61113"/>
                </a:lnTo>
                <a:lnTo>
                  <a:pt x="995699" y="68289"/>
                </a:lnTo>
                <a:lnTo>
                  <a:pt x="988060" y="78333"/>
                </a:lnTo>
                <a:lnTo>
                  <a:pt x="1001665" y="78333"/>
                </a:lnTo>
                <a:lnTo>
                  <a:pt x="1002168" y="77860"/>
                </a:lnTo>
                <a:lnTo>
                  <a:pt x="1007903" y="74439"/>
                </a:lnTo>
                <a:lnTo>
                  <a:pt x="1014257" y="72387"/>
                </a:lnTo>
                <a:lnTo>
                  <a:pt x="1021206" y="71704"/>
                </a:lnTo>
                <a:lnTo>
                  <a:pt x="1060539" y="71704"/>
                </a:lnTo>
                <a:lnTo>
                  <a:pt x="1058291" y="68211"/>
                </a:lnTo>
                <a:lnTo>
                  <a:pt x="1052403" y="62594"/>
                </a:lnTo>
                <a:lnTo>
                  <a:pt x="1045384" y="58581"/>
                </a:lnTo>
                <a:lnTo>
                  <a:pt x="1037199" y="56174"/>
                </a:lnTo>
                <a:lnTo>
                  <a:pt x="1027811" y="55372"/>
                </a:lnTo>
                <a:close/>
              </a:path>
              <a:path w="1209040" h="236854">
                <a:moveTo>
                  <a:pt x="1105662" y="208483"/>
                </a:moveTo>
                <a:lnTo>
                  <a:pt x="1105662" y="227888"/>
                </a:lnTo>
                <a:lnTo>
                  <a:pt x="1114401" y="231615"/>
                </a:lnTo>
                <a:lnTo>
                  <a:pt x="1123854" y="234278"/>
                </a:lnTo>
                <a:lnTo>
                  <a:pt x="1134022" y="235877"/>
                </a:lnTo>
                <a:lnTo>
                  <a:pt x="1144904" y="236410"/>
                </a:lnTo>
                <a:lnTo>
                  <a:pt x="1172835" y="232238"/>
                </a:lnTo>
                <a:lnTo>
                  <a:pt x="1192620" y="219837"/>
                </a:lnTo>
                <a:lnTo>
                  <a:pt x="1144651" y="219837"/>
                </a:lnTo>
                <a:lnTo>
                  <a:pt x="1135219" y="219127"/>
                </a:lnTo>
                <a:lnTo>
                  <a:pt x="1125585" y="216998"/>
                </a:lnTo>
                <a:lnTo>
                  <a:pt x="1115736" y="213450"/>
                </a:lnTo>
                <a:lnTo>
                  <a:pt x="1105662" y="208483"/>
                </a:lnTo>
                <a:close/>
              </a:path>
              <a:path w="1209040" h="236854">
                <a:moveTo>
                  <a:pt x="1208786" y="159029"/>
                </a:moveTo>
                <a:lnTo>
                  <a:pt x="1189354" y="159029"/>
                </a:lnTo>
                <a:lnTo>
                  <a:pt x="1189240" y="173132"/>
                </a:lnTo>
                <a:lnTo>
                  <a:pt x="1186566" y="193085"/>
                </a:lnTo>
                <a:lnTo>
                  <a:pt x="1178194" y="207948"/>
                </a:lnTo>
                <a:lnTo>
                  <a:pt x="1164226" y="216865"/>
                </a:lnTo>
                <a:lnTo>
                  <a:pt x="1144651" y="219837"/>
                </a:lnTo>
                <a:lnTo>
                  <a:pt x="1192620" y="219837"/>
                </a:lnTo>
                <a:lnTo>
                  <a:pt x="1192799" y="219724"/>
                </a:lnTo>
                <a:lnTo>
                  <a:pt x="1204787" y="198868"/>
                </a:lnTo>
                <a:lnTo>
                  <a:pt x="1208786" y="169672"/>
                </a:lnTo>
                <a:lnTo>
                  <a:pt x="1208786" y="159029"/>
                </a:lnTo>
                <a:close/>
              </a:path>
              <a:path w="1209040" h="236854">
                <a:moveTo>
                  <a:pt x="1152525" y="55372"/>
                </a:moveTo>
                <a:lnTo>
                  <a:pt x="1111885" y="73596"/>
                </a:lnTo>
                <a:lnTo>
                  <a:pt x="1097026" y="122694"/>
                </a:lnTo>
                <a:lnTo>
                  <a:pt x="1097903" y="135613"/>
                </a:lnTo>
                <a:lnTo>
                  <a:pt x="1118294" y="173132"/>
                </a:lnTo>
                <a:lnTo>
                  <a:pt x="1147191" y="182219"/>
                </a:lnTo>
                <a:lnTo>
                  <a:pt x="1160236" y="180769"/>
                </a:lnTo>
                <a:lnTo>
                  <a:pt x="1171543" y="176420"/>
                </a:lnTo>
                <a:lnTo>
                  <a:pt x="1181088" y="169173"/>
                </a:lnTo>
                <a:lnTo>
                  <a:pt x="1183601" y="165887"/>
                </a:lnTo>
                <a:lnTo>
                  <a:pt x="1152525" y="165887"/>
                </a:lnTo>
                <a:lnTo>
                  <a:pt x="1144906" y="165129"/>
                </a:lnTo>
                <a:lnTo>
                  <a:pt x="1117582" y="131007"/>
                </a:lnTo>
                <a:lnTo>
                  <a:pt x="1116965" y="121399"/>
                </a:lnTo>
                <a:lnTo>
                  <a:pt x="1117605" y="110281"/>
                </a:lnTo>
                <a:lnTo>
                  <a:pt x="1139269" y="74972"/>
                </a:lnTo>
                <a:lnTo>
                  <a:pt x="1155319" y="71704"/>
                </a:lnTo>
                <a:lnTo>
                  <a:pt x="1186265" y="71704"/>
                </a:lnTo>
                <a:lnTo>
                  <a:pt x="1182153" y="66425"/>
                </a:lnTo>
                <a:lnTo>
                  <a:pt x="1173876" y="60285"/>
                </a:lnTo>
                <a:lnTo>
                  <a:pt x="1164004" y="56600"/>
                </a:lnTo>
                <a:lnTo>
                  <a:pt x="1152525" y="55372"/>
                </a:lnTo>
                <a:close/>
              </a:path>
              <a:path w="1209040" h="236854">
                <a:moveTo>
                  <a:pt x="1186265" y="71704"/>
                </a:moveTo>
                <a:lnTo>
                  <a:pt x="1155319" y="71704"/>
                </a:lnTo>
                <a:lnTo>
                  <a:pt x="1162270" y="72347"/>
                </a:lnTo>
                <a:lnTo>
                  <a:pt x="1168638" y="74277"/>
                </a:lnTo>
                <a:lnTo>
                  <a:pt x="1189354" y="106730"/>
                </a:lnTo>
                <a:lnTo>
                  <a:pt x="1189354" y="124587"/>
                </a:lnTo>
                <a:lnTo>
                  <a:pt x="1173670" y="159366"/>
                </a:lnTo>
                <a:lnTo>
                  <a:pt x="1152525" y="165887"/>
                </a:lnTo>
                <a:lnTo>
                  <a:pt x="1183601" y="165887"/>
                </a:lnTo>
                <a:lnTo>
                  <a:pt x="1188847" y="159029"/>
                </a:lnTo>
                <a:lnTo>
                  <a:pt x="1208786" y="159029"/>
                </a:lnTo>
                <a:lnTo>
                  <a:pt x="1208786" y="75018"/>
                </a:lnTo>
                <a:lnTo>
                  <a:pt x="1188847" y="75018"/>
                </a:lnTo>
                <a:lnTo>
                  <a:pt x="1186265" y="71704"/>
                </a:lnTo>
                <a:close/>
              </a:path>
              <a:path w="1209040" h="236854">
                <a:moveTo>
                  <a:pt x="1208786" y="58216"/>
                </a:moveTo>
                <a:lnTo>
                  <a:pt x="1189354" y="58216"/>
                </a:lnTo>
                <a:lnTo>
                  <a:pt x="1189354" y="75018"/>
                </a:lnTo>
                <a:lnTo>
                  <a:pt x="1208786" y="75018"/>
                </a:lnTo>
                <a:lnTo>
                  <a:pt x="1208786" y="58216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7150813" y="3881802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90" h="429895">
                <a:moveTo>
                  <a:pt x="0" y="429768"/>
                </a:moveTo>
                <a:lnTo>
                  <a:pt x="1850135" y="429768"/>
                </a:lnTo>
                <a:lnTo>
                  <a:pt x="1850135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7690581" y="3987845"/>
            <a:ext cx="282072" cy="196654"/>
          </a:xfrm>
          <a:custGeom>
            <a:avLst/>
            <a:gdLst/>
            <a:ahLst/>
            <a:cxnLst/>
            <a:rect l="l" t="t" r="r" b="b"/>
            <a:pathLst>
              <a:path w="383540" h="200660">
                <a:moveTo>
                  <a:pt x="82296" y="0"/>
                </a:moveTo>
                <a:lnTo>
                  <a:pt x="34147" y="13715"/>
                </a:lnTo>
                <a:lnTo>
                  <a:pt x="5524" y="52879"/>
                </a:lnTo>
                <a:lnTo>
                  <a:pt x="0" y="89661"/>
                </a:lnTo>
                <a:lnTo>
                  <a:pt x="1357" y="107809"/>
                </a:lnTo>
                <a:lnTo>
                  <a:pt x="21717" y="151510"/>
                </a:lnTo>
                <a:lnTo>
                  <a:pt x="62329" y="173888"/>
                </a:lnTo>
                <a:lnTo>
                  <a:pt x="79501" y="175386"/>
                </a:lnTo>
                <a:lnTo>
                  <a:pt x="96978" y="173864"/>
                </a:lnTo>
                <a:lnTo>
                  <a:pt x="112633" y="169306"/>
                </a:lnTo>
                <a:lnTo>
                  <a:pt x="126454" y="161724"/>
                </a:lnTo>
                <a:lnTo>
                  <a:pt x="131252" y="157479"/>
                </a:lnTo>
                <a:lnTo>
                  <a:pt x="79501" y="157479"/>
                </a:lnTo>
                <a:lnTo>
                  <a:pt x="66998" y="156287"/>
                </a:lnTo>
                <a:lnTo>
                  <a:pt x="29936" y="128014"/>
                </a:lnTo>
                <a:lnTo>
                  <a:pt x="20827" y="87883"/>
                </a:lnTo>
                <a:lnTo>
                  <a:pt x="21855" y="72947"/>
                </a:lnTo>
                <a:lnTo>
                  <a:pt x="37465" y="37210"/>
                </a:lnTo>
                <a:lnTo>
                  <a:pt x="80899" y="17906"/>
                </a:lnTo>
                <a:lnTo>
                  <a:pt x="132513" y="17906"/>
                </a:lnTo>
                <a:lnTo>
                  <a:pt x="127319" y="13287"/>
                </a:lnTo>
                <a:lnTo>
                  <a:pt x="113998" y="5905"/>
                </a:lnTo>
                <a:lnTo>
                  <a:pt x="98986" y="1476"/>
                </a:lnTo>
                <a:lnTo>
                  <a:pt x="82296" y="0"/>
                </a:lnTo>
                <a:close/>
              </a:path>
              <a:path w="383540" h="200660">
                <a:moveTo>
                  <a:pt x="132513" y="17906"/>
                </a:moveTo>
                <a:lnTo>
                  <a:pt x="80899" y="17906"/>
                </a:lnTo>
                <a:lnTo>
                  <a:pt x="93876" y="19069"/>
                </a:lnTo>
                <a:lnTo>
                  <a:pt x="105378" y="22542"/>
                </a:lnTo>
                <a:lnTo>
                  <a:pt x="135667" y="58435"/>
                </a:lnTo>
                <a:lnTo>
                  <a:pt x="139482" y="89661"/>
                </a:lnTo>
                <a:lnTo>
                  <a:pt x="138570" y="103741"/>
                </a:lnTo>
                <a:lnTo>
                  <a:pt x="123444" y="139191"/>
                </a:lnTo>
                <a:lnTo>
                  <a:pt x="79501" y="157479"/>
                </a:lnTo>
                <a:lnTo>
                  <a:pt x="131252" y="157479"/>
                </a:lnTo>
                <a:lnTo>
                  <a:pt x="154892" y="122681"/>
                </a:lnTo>
                <a:lnTo>
                  <a:pt x="160400" y="85470"/>
                </a:lnTo>
                <a:lnTo>
                  <a:pt x="159065" y="67306"/>
                </a:lnTo>
                <a:lnTo>
                  <a:pt x="155051" y="50926"/>
                </a:lnTo>
                <a:lnTo>
                  <a:pt x="148319" y="36321"/>
                </a:lnTo>
                <a:lnTo>
                  <a:pt x="138938" y="23621"/>
                </a:lnTo>
                <a:lnTo>
                  <a:pt x="132513" y="17906"/>
                </a:lnTo>
                <a:close/>
              </a:path>
              <a:path w="383540" h="200660">
                <a:moveTo>
                  <a:pt x="267843" y="2793"/>
                </a:moveTo>
                <a:lnTo>
                  <a:pt x="249554" y="2793"/>
                </a:lnTo>
                <a:lnTo>
                  <a:pt x="168401" y="200659"/>
                </a:lnTo>
                <a:lnTo>
                  <a:pt x="186436" y="200659"/>
                </a:lnTo>
                <a:lnTo>
                  <a:pt x="267843" y="2793"/>
                </a:lnTo>
                <a:close/>
              </a:path>
              <a:path w="383540" h="200660">
                <a:moveTo>
                  <a:pt x="280543" y="142239"/>
                </a:moveTo>
                <a:lnTo>
                  <a:pt x="280543" y="165607"/>
                </a:lnTo>
                <a:lnTo>
                  <a:pt x="282701" y="167131"/>
                </a:lnTo>
                <a:lnTo>
                  <a:pt x="285623" y="168528"/>
                </a:lnTo>
                <a:lnTo>
                  <a:pt x="289305" y="169671"/>
                </a:lnTo>
                <a:lnTo>
                  <a:pt x="292989" y="170941"/>
                </a:lnTo>
                <a:lnTo>
                  <a:pt x="313054" y="174624"/>
                </a:lnTo>
                <a:lnTo>
                  <a:pt x="316992" y="175132"/>
                </a:lnTo>
                <a:lnTo>
                  <a:pt x="320294" y="175386"/>
                </a:lnTo>
                <a:lnTo>
                  <a:pt x="331089" y="175386"/>
                </a:lnTo>
                <a:lnTo>
                  <a:pt x="338708" y="174497"/>
                </a:lnTo>
                <a:lnTo>
                  <a:pt x="345948" y="172846"/>
                </a:lnTo>
                <a:lnTo>
                  <a:pt x="353187" y="171322"/>
                </a:lnTo>
                <a:lnTo>
                  <a:pt x="359664" y="168655"/>
                </a:lnTo>
                <a:lnTo>
                  <a:pt x="365125" y="164972"/>
                </a:lnTo>
                <a:lnTo>
                  <a:pt x="370713" y="161416"/>
                </a:lnTo>
                <a:lnTo>
                  <a:pt x="374437" y="157479"/>
                </a:lnTo>
                <a:lnTo>
                  <a:pt x="322452" y="157479"/>
                </a:lnTo>
                <a:lnTo>
                  <a:pt x="318643" y="157098"/>
                </a:lnTo>
                <a:lnTo>
                  <a:pt x="314451" y="156336"/>
                </a:lnTo>
                <a:lnTo>
                  <a:pt x="310261" y="155701"/>
                </a:lnTo>
                <a:lnTo>
                  <a:pt x="306070" y="154685"/>
                </a:lnTo>
                <a:lnTo>
                  <a:pt x="302005" y="153415"/>
                </a:lnTo>
                <a:lnTo>
                  <a:pt x="297815" y="152018"/>
                </a:lnTo>
                <a:lnTo>
                  <a:pt x="293877" y="150494"/>
                </a:lnTo>
                <a:lnTo>
                  <a:pt x="290195" y="148589"/>
                </a:lnTo>
                <a:lnTo>
                  <a:pt x="286385" y="146684"/>
                </a:lnTo>
                <a:lnTo>
                  <a:pt x="283210" y="144525"/>
                </a:lnTo>
                <a:lnTo>
                  <a:pt x="280543" y="142239"/>
                </a:lnTo>
                <a:close/>
              </a:path>
              <a:path w="383540" h="200660">
                <a:moveTo>
                  <a:pt x="339725" y="0"/>
                </a:moveTo>
                <a:lnTo>
                  <a:pt x="332358" y="0"/>
                </a:lnTo>
                <a:lnTo>
                  <a:pt x="325120" y="888"/>
                </a:lnTo>
                <a:lnTo>
                  <a:pt x="289178" y="19430"/>
                </a:lnTo>
                <a:lnTo>
                  <a:pt x="285876" y="25145"/>
                </a:lnTo>
                <a:lnTo>
                  <a:pt x="282448" y="30860"/>
                </a:lnTo>
                <a:lnTo>
                  <a:pt x="280797" y="37591"/>
                </a:lnTo>
                <a:lnTo>
                  <a:pt x="280797" y="51561"/>
                </a:lnTo>
                <a:lnTo>
                  <a:pt x="281813" y="57149"/>
                </a:lnTo>
                <a:lnTo>
                  <a:pt x="286130" y="66547"/>
                </a:lnTo>
                <a:lnTo>
                  <a:pt x="289178" y="70738"/>
                </a:lnTo>
                <a:lnTo>
                  <a:pt x="292989" y="74421"/>
                </a:lnTo>
                <a:lnTo>
                  <a:pt x="296672" y="78104"/>
                </a:lnTo>
                <a:lnTo>
                  <a:pt x="301117" y="81533"/>
                </a:lnTo>
                <a:lnTo>
                  <a:pt x="306324" y="84581"/>
                </a:lnTo>
                <a:lnTo>
                  <a:pt x="311403" y="87629"/>
                </a:lnTo>
                <a:lnTo>
                  <a:pt x="316992" y="90677"/>
                </a:lnTo>
                <a:lnTo>
                  <a:pt x="322833" y="93725"/>
                </a:lnTo>
                <a:lnTo>
                  <a:pt x="333755" y="99186"/>
                </a:lnTo>
                <a:lnTo>
                  <a:pt x="338581" y="101853"/>
                </a:lnTo>
                <a:lnTo>
                  <a:pt x="362457" y="126491"/>
                </a:lnTo>
                <a:lnTo>
                  <a:pt x="362457" y="139572"/>
                </a:lnTo>
                <a:lnTo>
                  <a:pt x="326008" y="157479"/>
                </a:lnTo>
                <a:lnTo>
                  <a:pt x="374437" y="157479"/>
                </a:lnTo>
                <a:lnTo>
                  <a:pt x="375157" y="156717"/>
                </a:lnTo>
                <a:lnTo>
                  <a:pt x="378667" y="150494"/>
                </a:lnTo>
                <a:lnTo>
                  <a:pt x="381635" y="145033"/>
                </a:lnTo>
                <a:lnTo>
                  <a:pt x="383286" y="138048"/>
                </a:lnTo>
                <a:lnTo>
                  <a:pt x="383286" y="123316"/>
                </a:lnTo>
                <a:lnTo>
                  <a:pt x="382143" y="117728"/>
                </a:lnTo>
                <a:lnTo>
                  <a:pt x="379606" y="112648"/>
                </a:lnTo>
                <a:lnTo>
                  <a:pt x="377317" y="107949"/>
                </a:lnTo>
                <a:lnTo>
                  <a:pt x="344424" y="82041"/>
                </a:lnTo>
                <a:lnTo>
                  <a:pt x="332486" y="76072"/>
                </a:lnTo>
                <a:lnTo>
                  <a:pt x="327278" y="73405"/>
                </a:lnTo>
                <a:lnTo>
                  <a:pt x="318135" y="68579"/>
                </a:lnTo>
                <a:lnTo>
                  <a:pt x="314325" y="66039"/>
                </a:lnTo>
                <a:lnTo>
                  <a:pt x="311150" y="63372"/>
                </a:lnTo>
                <a:lnTo>
                  <a:pt x="307975" y="60832"/>
                </a:lnTo>
                <a:lnTo>
                  <a:pt x="305562" y="57911"/>
                </a:lnTo>
                <a:lnTo>
                  <a:pt x="304038" y="54736"/>
                </a:lnTo>
                <a:lnTo>
                  <a:pt x="302387" y="51561"/>
                </a:lnTo>
                <a:lnTo>
                  <a:pt x="301625" y="47878"/>
                </a:lnTo>
                <a:lnTo>
                  <a:pt x="301625" y="38861"/>
                </a:lnTo>
                <a:lnTo>
                  <a:pt x="302641" y="34924"/>
                </a:lnTo>
                <a:lnTo>
                  <a:pt x="304800" y="31749"/>
                </a:lnTo>
                <a:lnTo>
                  <a:pt x="306958" y="28447"/>
                </a:lnTo>
                <a:lnTo>
                  <a:pt x="333375" y="17906"/>
                </a:lnTo>
                <a:lnTo>
                  <a:pt x="376174" y="17906"/>
                </a:lnTo>
                <a:lnTo>
                  <a:pt x="376174" y="5968"/>
                </a:lnTo>
                <a:lnTo>
                  <a:pt x="369603" y="3375"/>
                </a:lnTo>
                <a:lnTo>
                  <a:pt x="361330" y="1508"/>
                </a:lnTo>
                <a:lnTo>
                  <a:pt x="351367" y="379"/>
                </a:lnTo>
                <a:lnTo>
                  <a:pt x="339725" y="0"/>
                </a:lnTo>
                <a:close/>
              </a:path>
              <a:path w="383540" h="200660">
                <a:moveTo>
                  <a:pt x="376174" y="17906"/>
                </a:moveTo>
                <a:lnTo>
                  <a:pt x="337693" y="17906"/>
                </a:lnTo>
                <a:lnTo>
                  <a:pt x="348902" y="18569"/>
                </a:lnTo>
                <a:lnTo>
                  <a:pt x="359076" y="20542"/>
                </a:lnTo>
                <a:lnTo>
                  <a:pt x="368178" y="23800"/>
                </a:lnTo>
                <a:lnTo>
                  <a:pt x="376174" y="28320"/>
                </a:lnTo>
                <a:lnTo>
                  <a:pt x="376174" y="17906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7150813" y="3378467"/>
            <a:ext cx="1360858" cy="423180"/>
          </a:xfrm>
          <a:custGeom>
            <a:avLst/>
            <a:gdLst/>
            <a:ahLst/>
            <a:cxnLst/>
            <a:rect l="l" t="t" r="r" b="b"/>
            <a:pathLst>
              <a:path w="1850390" h="431800">
                <a:moveTo>
                  <a:pt x="0" y="431292"/>
                </a:moveTo>
                <a:lnTo>
                  <a:pt x="1850135" y="431292"/>
                </a:lnTo>
                <a:lnTo>
                  <a:pt x="1850135" y="0"/>
                </a:lnTo>
                <a:lnTo>
                  <a:pt x="0" y="0"/>
                </a:lnTo>
                <a:lnTo>
                  <a:pt x="0" y="431292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7384877" y="3478039"/>
            <a:ext cx="902725" cy="178607"/>
          </a:xfrm>
          <a:custGeom>
            <a:avLst/>
            <a:gdLst/>
            <a:ahLst/>
            <a:cxnLst/>
            <a:rect l="l" t="t" r="r" b="b"/>
            <a:pathLst>
              <a:path w="1227454" h="182245">
                <a:moveTo>
                  <a:pt x="26289" y="9779"/>
                </a:moveTo>
                <a:lnTo>
                  <a:pt x="0" y="9779"/>
                </a:lnTo>
                <a:lnTo>
                  <a:pt x="0" y="179450"/>
                </a:lnTo>
                <a:lnTo>
                  <a:pt x="19176" y="179450"/>
                </a:lnTo>
                <a:lnTo>
                  <a:pt x="19050" y="50625"/>
                </a:lnTo>
                <a:lnTo>
                  <a:pt x="18961" y="45720"/>
                </a:lnTo>
                <a:lnTo>
                  <a:pt x="18694" y="38496"/>
                </a:lnTo>
                <a:lnTo>
                  <a:pt x="18288" y="32638"/>
                </a:lnTo>
                <a:lnTo>
                  <a:pt x="36356" y="32638"/>
                </a:lnTo>
                <a:lnTo>
                  <a:pt x="26289" y="9779"/>
                </a:lnTo>
                <a:close/>
              </a:path>
              <a:path w="1227454" h="182245">
                <a:moveTo>
                  <a:pt x="36356" y="32638"/>
                </a:moveTo>
                <a:lnTo>
                  <a:pt x="18669" y="32638"/>
                </a:lnTo>
                <a:lnTo>
                  <a:pt x="20447" y="40386"/>
                </a:lnTo>
                <a:lnTo>
                  <a:pt x="22098" y="46227"/>
                </a:lnTo>
                <a:lnTo>
                  <a:pt x="23749" y="50037"/>
                </a:lnTo>
                <a:lnTo>
                  <a:pt x="81661" y="179450"/>
                </a:lnTo>
                <a:lnTo>
                  <a:pt x="91313" y="179450"/>
                </a:lnTo>
                <a:lnTo>
                  <a:pt x="105102" y="148462"/>
                </a:lnTo>
                <a:lnTo>
                  <a:pt x="86106" y="148462"/>
                </a:lnTo>
                <a:lnTo>
                  <a:pt x="84963" y="143891"/>
                </a:lnTo>
                <a:lnTo>
                  <a:pt x="82423" y="137160"/>
                </a:lnTo>
                <a:lnTo>
                  <a:pt x="78359" y="128016"/>
                </a:lnTo>
                <a:lnTo>
                  <a:pt x="36356" y="32638"/>
                </a:lnTo>
                <a:close/>
              </a:path>
              <a:path w="1227454" h="182245">
                <a:moveTo>
                  <a:pt x="172974" y="32638"/>
                </a:moveTo>
                <a:lnTo>
                  <a:pt x="154940" y="32638"/>
                </a:lnTo>
                <a:lnTo>
                  <a:pt x="154199" y="41995"/>
                </a:lnTo>
                <a:lnTo>
                  <a:pt x="153685" y="50625"/>
                </a:lnTo>
                <a:lnTo>
                  <a:pt x="153386" y="58517"/>
                </a:lnTo>
                <a:lnTo>
                  <a:pt x="153289" y="179450"/>
                </a:lnTo>
                <a:lnTo>
                  <a:pt x="172974" y="179450"/>
                </a:lnTo>
                <a:lnTo>
                  <a:pt x="172974" y="32638"/>
                </a:lnTo>
                <a:close/>
              </a:path>
              <a:path w="1227454" h="182245">
                <a:moveTo>
                  <a:pt x="172974" y="9779"/>
                </a:moveTo>
                <a:lnTo>
                  <a:pt x="148209" y="9779"/>
                </a:lnTo>
                <a:lnTo>
                  <a:pt x="94996" y="127635"/>
                </a:lnTo>
                <a:lnTo>
                  <a:pt x="92964" y="132207"/>
                </a:lnTo>
                <a:lnTo>
                  <a:pt x="90297" y="139064"/>
                </a:lnTo>
                <a:lnTo>
                  <a:pt x="86868" y="148462"/>
                </a:lnTo>
                <a:lnTo>
                  <a:pt x="105102" y="148462"/>
                </a:lnTo>
                <a:lnTo>
                  <a:pt x="149351" y="49022"/>
                </a:lnTo>
                <a:lnTo>
                  <a:pt x="150875" y="45720"/>
                </a:lnTo>
                <a:lnTo>
                  <a:pt x="152526" y="40259"/>
                </a:lnTo>
                <a:lnTo>
                  <a:pt x="154432" y="32638"/>
                </a:lnTo>
                <a:lnTo>
                  <a:pt x="172974" y="32638"/>
                </a:lnTo>
                <a:lnTo>
                  <a:pt x="172974" y="9779"/>
                </a:lnTo>
                <a:close/>
              </a:path>
              <a:path w="1227454" h="182245">
                <a:moveTo>
                  <a:pt x="228853" y="2286"/>
                </a:moveTo>
                <a:lnTo>
                  <a:pt x="221869" y="2286"/>
                </a:lnTo>
                <a:lnTo>
                  <a:pt x="218821" y="3556"/>
                </a:lnTo>
                <a:lnTo>
                  <a:pt x="216408" y="5969"/>
                </a:lnTo>
                <a:lnTo>
                  <a:pt x="213995" y="8255"/>
                </a:lnTo>
                <a:lnTo>
                  <a:pt x="212725" y="11302"/>
                </a:lnTo>
                <a:lnTo>
                  <a:pt x="212725" y="18542"/>
                </a:lnTo>
                <a:lnTo>
                  <a:pt x="213995" y="21589"/>
                </a:lnTo>
                <a:lnTo>
                  <a:pt x="216408" y="24002"/>
                </a:lnTo>
                <a:lnTo>
                  <a:pt x="218821" y="26288"/>
                </a:lnTo>
                <a:lnTo>
                  <a:pt x="221869" y="27559"/>
                </a:lnTo>
                <a:lnTo>
                  <a:pt x="228853" y="27559"/>
                </a:lnTo>
                <a:lnTo>
                  <a:pt x="231901" y="26288"/>
                </a:lnTo>
                <a:lnTo>
                  <a:pt x="236854" y="21336"/>
                </a:lnTo>
                <a:lnTo>
                  <a:pt x="238069" y="18542"/>
                </a:lnTo>
                <a:lnTo>
                  <a:pt x="238125" y="11302"/>
                </a:lnTo>
                <a:lnTo>
                  <a:pt x="236854" y="8255"/>
                </a:lnTo>
                <a:lnTo>
                  <a:pt x="234315" y="5969"/>
                </a:lnTo>
                <a:lnTo>
                  <a:pt x="231901" y="3556"/>
                </a:lnTo>
                <a:lnTo>
                  <a:pt x="228853" y="2286"/>
                </a:lnTo>
                <a:close/>
              </a:path>
              <a:path w="1227454" h="182245">
                <a:moveTo>
                  <a:pt x="234696" y="58293"/>
                </a:moveTo>
                <a:lnTo>
                  <a:pt x="215392" y="58293"/>
                </a:lnTo>
                <a:lnTo>
                  <a:pt x="215392" y="179450"/>
                </a:lnTo>
                <a:lnTo>
                  <a:pt x="234696" y="179450"/>
                </a:lnTo>
                <a:lnTo>
                  <a:pt x="234696" y="58293"/>
                </a:lnTo>
                <a:close/>
              </a:path>
              <a:path w="1227454" h="182245">
                <a:moveTo>
                  <a:pt x="321945" y="55372"/>
                </a:moveTo>
                <a:lnTo>
                  <a:pt x="281686" y="73533"/>
                </a:lnTo>
                <a:lnTo>
                  <a:pt x="266446" y="121666"/>
                </a:lnTo>
                <a:lnTo>
                  <a:pt x="267303" y="134949"/>
                </a:lnTo>
                <a:lnTo>
                  <a:pt x="287589" y="173083"/>
                </a:lnTo>
                <a:lnTo>
                  <a:pt x="316611" y="182245"/>
                </a:lnTo>
                <a:lnTo>
                  <a:pt x="329799" y="180790"/>
                </a:lnTo>
                <a:lnTo>
                  <a:pt x="341153" y="176418"/>
                </a:lnTo>
                <a:lnTo>
                  <a:pt x="350650" y="169118"/>
                </a:lnTo>
                <a:lnTo>
                  <a:pt x="352978" y="165988"/>
                </a:lnTo>
                <a:lnTo>
                  <a:pt x="322325" y="165988"/>
                </a:lnTo>
                <a:lnTo>
                  <a:pt x="314541" y="165227"/>
                </a:lnTo>
                <a:lnTo>
                  <a:pt x="287002" y="130686"/>
                </a:lnTo>
                <a:lnTo>
                  <a:pt x="286385" y="120776"/>
                </a:lnTo>
                <a:lnTo>
                  <a:pt x="287025" y="109890"/>
                </a:lnTo>
                <a:lnTo>
                  <a:pt x="308657" y="74993"/>
                </a:lnTo>
                <a:lnTo>
                  <a:pt x="324485" y="71755"/>
                </a:lnTo>
                <a:lnTo>
                  <a:pt x="355770" y="71755"/>
                </a:lnTo>
                <a:lnTo>
                  <a:pt x="351770" y="66462"/>
                </a:lnTo>
                <a:lnTo>
                  <a:pt x="343535" y="60309"/>
                </a:lnTo>
                <a:lnTo>
                  <a:pt x="333585" y="56608"/>
                </a:lnTo>
                <a:lnTo>
                  <a:pt x="321945" y="55372"/>
                </a:lnTo>
                <a:close/>
              </a:path>
              <a:path w="1227454" h="182245">
                <a:moveTo>
                  <a:pt x="378206" y="158876"/>
                </a:moveTo>
                <a:lnTo>
                  <a:pt x="358775" y="158876"/>
                </a:lnTo>
                <a:lnTo>
                  <a:pt x="358775" y="179450"/>
                </a:lnTo>
                <a:lnTo>
                  <a:pt x="378206" y="179450"/>
                </a:lnTo>
                <a:lnTo>
                  <a:pt x="378206" y="158876"/>
                </a:lnTo>
                <a:close/>
              </a:path>
              <a:path w="1227454" h="182245">
                <a:moveTo>
                  <a:pt x="355770" y="71755"/>
                </a:moveTo>
                <a:lnTo>
                  <a:pt x="324485" y="71755"/>
                </a:lnTo>
                <a:lnTo>
                  <a:pt x="331602" y="72395"/>
                </a:lnTo>
                <a:lnTo>
                  <a:pt x="338089" y="74310"/>
                </a:lnTo>
                <a:lnTo>
                  <a:pt x="358775" y="106807"/>
                </a:lnTo>
                <a:lnTo>
                  <a:pt x="358775" y="124587"/>
                </a:lnTo>
                <a:lnTo>
                  <a:pt x="336994" y="163036"/>
                </a:lnTo>
                <a:lnTo>
                  <a:pt x="322325" y="165988"/>
                </a:lnTo>
                <a:lnTo>
                  <a:pt x="352978" y="165988"/>
                </a:lnTo>
                <a:lnTo>
                  <a:pt x="358267" y="158876"/>
                </a:lnTo>
                <a:lnTo>
                  <a:pt x="378206" y="158876"/>
                </a:lnTo>
                <a:lnTo>
                  <a:pt x="378206" y="75057"/>
                </a:lnTo>
                <a:lnTo>
                  <a:pt x="358267" y="75057"/>
                </a:lnTo>
                <a:lnTo>
                  <a:pt x="355770" y="71755"/>
                </a:lnTo>
                <a:close/>
              </a:path>
              <a:path w="1227454" h="182245">
                <a:moveTo>
                  <a:pt x="378206" y="0"/>
                </a:moveTo>
                <a:lnTo>
                  <a:pt x="358775" y="0"/>
                </a:lnTo>
                <a:lnTo>
                  <a:pt x="358775" y="75057"/>
                </a:lnTo>
                <a:lnTo>
                  <a:pt x="378206" y="75057"/>
                </a:lnTo>
                <a:lnTo>
                  <a:pt x="378206" y="0"/>
                </a:lnTo>
                <a:close/>
              </a:path>
              <a:path w="1227454" h="182245">
                <a:moveTo>
                  <a:pt x="465200" y="55372"/>
                </a:moveTo>
                <a:lnTo>
                  <a:pt x="424942" y="73533"/>
                </a:lnTo>
                <a:lnTo>
                  <a:pt x="409701" y="121666"/>
                </a:lnTo>
                <a:lnTo>
                  <a:pt x="410559" y="134949"/>
                </a:lnTo>
                <a:lnTo>
                  <a:pt x="430845" y="173083"/>
                </a:lnTo>
                <a:lnTo>
                  <a:pt x="459867" y="182245"/>
                </a:lnTo>
                <a:lnTo>
                  <a:pt x="473055" y="180790"/>
                </a:lnTo>
                <a:lnTo>
                  <a:pt x="484409" y="176418"/>
                </a:lnTo>
                <a:lnTo>
                  <a:pt x="493906" y="169118"/>
                </a:lnTo>
                <a:lnTo>
                  <a:pt x="496234" y="165988"/>
                </a:lnTo>
                <a:lnTo>
                  <a:pt x="465582" y="165988"/>
                </a:lnTo>
                <a:lnTo>
                  <a:pt x="457797" y="165227"/>
                </a:lnTo>
                <a:lnTo>
                  <a:pt x="430258" y="130686"/>
                </a:lnTo>
                <a:lnTo>
                  <a:pt x="429641" y="120776"/>
                </a:lnTo>
                <a:lnTo>
                  <a:pt x="430281" y="109890"/>
                </a:lnTo>
                <a:lnTo>
                  <a:pt x="451913" y="74993"/>
                </a:lnTo>
                <a:lnTo>
                  <a:pt x="467741" y="71755"/>
                </a:lnTo>
                <a:lnTo>
                  <a:pt x="499026" y="71755"/>
                </a:lnTo>
                <a:lnTo>
                  <a:pt x="495026" y="66462"/>
                </a:lnTo>
                <a:lnTo>
                  <a:pt x="486791" y="60309"/>
                </a:lnTo>
                <a:lnTo>
                  <a:pt x="476841" y="56608"/>
                </a:lnTo>
                <a:lnTo>
                  <a:pt x="465200" y="55372"/>
                </a:lnTo>
                <a:close/>
              </a:path>
              <a:path w="1227454" h="182245">
                <a:moveTo>
                  <a:pt x="521462" y="158876"/>
                </a:moveTo>
                <a:lnTo>
                  <a:pt x="502031" y="158876"/>
                </a:lnTo>
                <a:lnTo>
                  <a:pt x="502031" y="179450"/>
                </a:lnTo>
                <a:lnTo>
                  <a:pt x="521462" y="179450"/>
                </a:lnTo>
                <a:lnTo>
                  <a:pt x="521462" y="158876"/>
                </a:lnTo>
                <a:close/>
              </a:path>
              <a:path w="1227454" h="182245">
                <a:moveTo>
                  <a:pt x="499026" y="71755"/>
                </a:moveTo>
                <a:lnTo>
                  <a:pt x="467741" y="71755"/>
                </a:lnTo>
                <a:lnTo>
                  <a:pt x="474858" y="72395"/>
                </a:lnTo>
                <a:lnTo>
                  <a:pt x="481345" y="74310"/>
                </a:lnTo>
                <a:lnTo>
                  <a:pt x="502031" y="106807"/>
                </a:lnTo>
                <a:lnTo>
                  <a:pt x="502031" y="124587"/>
                </a:lnTo>
                <a:lnTo>
                  <a:pt x="480250" y="163036"/>
                </a:lnTo>
                <a:lnTo>
                  <a:pt x="465582" y="165988"/>
                </a:lnTo>
                <a:lnTo>
                  <a:pt x="496234" y="165988"/>
                </a:lnTo>
                <a:lnTo>
                  <a:pt x="501523" y="158876"/>
                </a:lnTo>
                <a:lnTo>
                  <a:pt x="521462" y="158876"/>
                </a:lnTo>
                <a:lnTo>
                  <a:pt x="521462" y="75057"/>
                </a:lnTo>
                <a:lnTo>
                  <a:pt x="501523" y="75057"/>
                </a:lnTo>
                <a:lnTo>
                  <a:pt x="499026" y="71755"/>
                </a:lnTo>
                <a:close/>
              </a:path>
              <a:path w="1227454" h="182245">
                <a:moveTo>
                  <a:pt x="521462" y="0"/>
                </a:moveTo>
                <a:lnTo>
                  <a:pt x="502031" y="0"/>
                </a:lnTo>
                <a:lnTo>
                  <a:pt x="502031" y="75057"/>
                </a:lnTo>
                <a:lnTo>
                  <a:pt x="521462" y="75057"/>
                </a:lnTo>
                <a:lnTo>
                  <a:pt x="521462" y="0"/>
                </a:lnTo>
                <a:close/>
              </a:path>
              <a:path w="1227454" h="182245">
                <a:moveTo>
                  <a:pt x="580644" y="0"/>
                </a:moveTo>
                <a:lnTo>
                  <a:pt x="561340" y="0"/>
                </a:lnTo>
                <a:lnTo>
                  <a:pt x="561340" y="179450"/>
                </a:lnTo>
                <a:lnTo>
                  <a:pt x="580644" y="179450"/>
                </a:lnTo>
                <a:lnTo>
                  <a:pt x="580644" y="0"/>
                </a:lnTo>
                <a:close/>
              </a:path>
              <a:path w="1227454" h="182245">
                <a:moveTo>
                  <a:pt x="668274" y="55372"/>
                </a:moveTo>
                <a:lnTo>
                  <a:pt x="628523" y="73279"/>
                </a:lnTo>
                <a:lnTo>
                  <a:pt x="612394" y="119380"/>
                </a:lnTo>
                <a:lnTo>
                  <a:pt x="613320" y="133498"/>
                </a:lnTo>
                <a:lnTo>
                  <a:pt x="635150" y="172975"/>
                </a:lnTo>
                <a:lnTo>
                  <a:pt x="667512" y="182245"/>
                </a:lnTo>
                <a:lnTo>
                  <a:pt x="679993" y="181528"/>
                </a:lnTo>
                <a:lnTo>
                  <a:pt x="691165" y="179371"/>
                </a:lnTo>
                <a:lnTo>
                  <a:pt x="701051" y="175762"/>
                </a:lnTo>
                <a:lnTo>
                  <a:pt x="709676" y="170687"/>
                </a:lnTo>
                <a:lnTo>
                  <a:pt x="709676" y="165988"/>
                </a:lnTo>
                <a:lnTo>
                  <a:pt x="672084" y="165988"/>
                </a:lnTo>
                <a:lnTo>
                  <a:pt x="663440" y="165298"/>
                </a:lnTo>
                <a:lnTo>
                  <a:pt x="633418" y="133223"/>
                </a:lnTo>
                <a:lnTo>
                  <a:pt x="632587" y="123698"/>
                </a:lnTo>
                <a:lnTo>
                  <a:pt x="718058" y="123698"/>
                </a:lnTo>
                <a:lnTo>
                  <a:pt x="718058" y="113537"/>
                </a:lnTo>
                <a:lnTo>
                  <a:pt x="717661" y="107187"/>
                </a:lnTo>
                <a:lnTo>
                  <a:pt x="632841" y="107187"/>
                </a:lnTo>
                <a:lnTo>
                  <a:pt x="634436" y="99661"/>
                </a:lnTo>
                <a:lnTo>
                  <a:pt x="658749" y="71755"/>
                </a:lnTo>
                <a:lnTo>
                  <a:pt x="705705" y="71755"/>
                </a:lnTo>
                <a:lnTo>
                  <a:pt x="705103" y="70866"/>
                </a:lnTo>
                <a:lnTo>
                  <a:pt x="697938" y="64105"/>
                </a:lnTo>
                <a:lnTo>
                  <a:pt x="689403" y="59261"/>
                </a:lnTo>
                <a:lnTo>
                  <a:pt x="679511" y="56346"/>
                </a:lnTo>
                <a:lnTo>
                  <a:pt x="668274" y="55372"/>
                </a:lnTo>
                <a:close/>
              </a:path>
              <a:path w="1227454" h="182245">
                <a:moveTo>
                  <a:pt x="709676" y="152400"/>
                </a:moveTo>
                <a:lnTo>
                  <a:pt x="700891" y="158327"/>
                </a:lnTo>
                <a:lnTo>
                  <a:pt x="691689" y="162575"/>
                </a:lnTo>
                <a:lnTo>
                  <a:pt x="682083" y="165133"/>
                </a:lnTo>
                <a:lnTo>
                  <a:pt x="672084" y="165988"/>
                </a:lnTo>
                <a:lnTo>
                  <a:pt x="709676" y="165988"/>
                </a:lnTo>
                <a:lnTo>
                  <a:pt x="709676" y="152400"/>
                </a:lnTo>
                <a:close/>
              </a:path>
              <a:path w="1227454" h="182245">
                <a:moveTo>
                  <a:pt x="705705" y="71755"/>
                </a:moveTo>
                <a:lnTo>
                  <a:pt x="677418" y="71755"/>
                </a:lnTo>
                <a:lnTo>
                  <a:pt x="684784" y="74930"/>
                </a:lnTo>
                <a:lnTo>
                  <a:pt x="690118" y="81152"/>
                </a:lnTo>
                <a:lnTo>
                  <a:pt x="693620" y="86274"/>
                </a:lnTo>
                <a:lnTo>
                  <a:pt x="696134" y="92313"/>
                </a:lnTo>
                <a:lnTo>
                  <a:pt x="697672" y="99280"/>
                </a:lnTo>
                <a:lnTo>
                  <a:pt x="698246" y="107187"/>
                </a:lnTo>
                <a:lnTo>
                  <a:pt x="717661" y="107187"/>
                </a:lnTo>
                <a:lnTo>
                  <a:pt x="717248" y="100583"/>
                </a:lnTo>
                <a:lnTo>
                  <a:pt x="714819" y="89153"/>
                </a:lnTo>
                <a:lnTo>
                  <a:pt x="710771" y="79248"/>
                </a:lnTo>
                <a:lnTo>
                  <a:pt x="705705" y="71755"/>
                </a:lnTo>
                <a:close/>
              </a:path>
              <a:path w="1227454" h="182245">
                <a:moveTo>
                  <a:pt x="750824" y="58293"/>
                </a:moveTo>
                <a:lnTo>
                  <a:pt x="730376" y="58293"/>
                </a:lnTo>
                <a:lnTo>
                  <a:pt x="767079" y="179450"/>
                </a:lnTo>
                <a:lnTo>
                  <a:pt x="786511" y="179450"/>
                </a:lnTo>
                <a:lnTo>
                  <a:pt x="792474" y="160274"/>
                </a:lnTo>
                <a:lnTo>
                  <a:pt x="777494" y="160274"/>
                </a:lnTo>
                <a:lnTo>
                  <a:pt x="777240" y="155701"/>
                </a:lnTo>
                <a:lnTo>
                  <a:pt x="776604" y="152146"/>
                </a:lnTo>
                <a:lnTo>
                  <a:pt x="750824" y="58293"/>
                </a:lnTo>
                <a:close/>
              </a:path>
              <a:path w="1227454" h="182245">
                <a:moveTo>
                  <a:pt x="832627" y="81407"/>
                </a:moveTo>
                <a:lnTo>
                  <a:pt x="816610" y="81407"/>
                </a:lnTo>
                <a:lnTo>
                  <a:pt x="816864" y="85598"/>
                </a:lnTo>
                <a:lnTo>
                  <a:pt x="817499" y="89408"/>
                </a:lnTo>
                <a:lnTo>
                  <a:pt x="818515" y="92710"/>
                </a:lnTo>
                <a:lnTo>
                  <a:pt x="843407" y="179450"/>
                </a:lnTo>
                <a:lnTo>
                  <a:pt x="863473" y="179450"/>
                </a:lnTo>
                <a:lnTo>
                  <a:pt x="869145" y="160527"/>
                </a:lnTo>
                <a:lnTo>
                  <a:pt x="853059" y="160527"/>
                </a:lnTo>
                <a:lnTo>
                  <a:pt x="852677" y="156210"/>
                </a:lnTo>
                <a:lnTo>
                  <a:pt x="852170" y="152526"/>
                </a:lnTo>
                <a:lnTo>
                  <a:pt x="851408" y="149606"/>
                </a:lnTo>
                <a:lnTo>
                  <a:pt x="832627" y="81407"/>
                </a:lnTo>
                <a:close/>
              </a:path>
              <a:path w="1227454" h="182245">
                <a:moveTo>
                  <a:pt x="899795" y="58293"/>
                </a:moveTo>
                <a:lnTo>
                  <a:pt x="880745" y="58293"/>
                </a:lnTo>
                <a:lnTo>
                  <a:pt x="856107" y="149606"/>
                </a:lnTo>
                <a:lnTo>
                  <a:pt x="854837" y="153797"/>
                </a:lnTo>
                <a:lnTo>
                  <a:pt x="854201" y="157352"/>
                </a:lnTo>
                <a:lnTo>
                  <a:pt x="854075" y="160527"/>
                </a:lnTo>
                <a:lnTo>
                  <a:pt x="869145" y="160527"/>
                </a:lnTo>
                <a:lnTo>
                  <a:pt x="899795" y="58293"/>
                </a:lnTo>
                <a:close/>
              </a:path>
              <a:path w="1227454" h="182245">
                <a:moveTo>
                  <a:pt x="826262" y="58293"/>
                </a:moveTo>
                <a:lnTo>
                  <a:pt x="808482" y="58293"/>
                </a:lnTo>
                <a:lnTo>
                  <a:pt x="780542" y="149098"/>
                </a:lnTo>
                <a:lnTo>
                  <a:pt x="779399" y="153035"/>
                </a:lnTo>
                <a:lnTo>
                  <a:pt x="778637" y="156845"/>
                </a:lnTo>
                <a:lnTo>
                  <a:pt x="778510" y="160274"/>
                </a:lnTo>
                <a:lnTo>
                  <a:pt x="792474" y="160274"/>
                </a:lnTo>
                <a:lnTo>
                  <a:pt x="813562" y="92456"/>
                </a:lnTo>
                <a:lnTo>
                  <a:pt x="815086" y="88011"/>
                </a:lnTo>
                <a:lnTo>
                  <a:pt x="815848" y="84327"/>
                </a:lnTo>
                <a:lnTo>
                  <a:pt x="816101" y="81407"/>
                </a:lnTo>
                <a:lnTo>
                  <a:pt x="832627" y="81407"/>
                </a:lnTo>
                <a:lnTo>
                  <a:pt x="826262" y="58293"/>
                </a:lnTo>
                <a:close/>
              </a:path>
              <a:path w="1227454" h="182245">
                <a:moveTo>
                  <a:pt x="1001420" y="71755"/>
                </a:moveTo>
                <a:lnTo>
                  <a:pt x="964819" y="71755"/>
                </a:lnTo>
                <a:lnTo>
                  <a:pt x="975746" y="73683"/>
                </a:lnTo>
                <a:lnTo>
                  <a:pt x="983567" y="79470"/>
                </a:lnTo>
                <a:lnTo>
                  <a:pt x="988268" y="89114"/>
                </a:lnTo>
                <a:lnTo>
                  <a:pt x="989838" y="102616"/>
                </a:lnTo>
                <a:lnTo>
                  <a:pt x="953516" y="107696"/>
                </a:lnTo>
                <a:lnTo>
                  <a:pt x="936013" y="112242"/>
                </a:lnTo>
                <a:lnTo>
                  <a:pt x="923512" y="120348"/>
                </a:lnTo>
                <a:lnTo>
                  <a:pt x="916011" y="132002"/>
                </a:lnTo>
                <a:lnTo>
                  <a:pt x="913511" y="147193"/>
                </a:lnTo>
                <a:lnTo>
                  <a:pt x="914151" y="154771"/>
                </a:lnTo>
                <a:lnTo>
                  <a:pt x="943548" y="181649"/>
                </a:lnTo>
                <a:lnTo>
                  <a:pt x="952119" y="182245"/>
                </a:lnTo>
                <a:lnTo>
                  <a:pt x="963666" y="180887"/>
                </a:lnTo>
                <a:lnTo>
                  <a:pt x="973724" y="176815"/>
                </a:lnTo>
                <a:lnTo>
                  <a:pt x="982283" y="170029"/>
                </a:lnTo>
                <a:lnTo>
                  <a:pt x="985279" y="165988"/>
                </a:lnTo>
                <a:lnTo>
                  <a:pt x="949578" y="165988"/>
                </a:lnTo>
                <a:lnTo>
                  <a:pt x="943864" y="164084"/>
                </a:lnTo>
                <a:lnTo>
                  <a:pt x="939652" y="160256"/>
                </a:lnTo>
                <a:lnTo>
                  <a:pt x="935482" y="156591"/>
                </a:lnTo>
                <a:lnTo>
                  <a:pt x="933323" y="151764"/>
                </a:lnTo>
                <a:lnTo>
                  <a:pt x="933338" y="137630"/>
                </a:lnTo>
                <a:lnTo>
                  <a:pt x="935609" y="132080"/>
                </a:lnTo>
                <a:lnTo>
                  <a:pt x="940181" y="128905"/>
                </a:lnTo>
                <a:lnTo>
                  <a:pt x="944752" y="125602"/>
                </a:lnTo>
                <a:lnTo>
                  <a:pt x="951611" y="123444"/>
                </a:lnTo>
                <a:lnTo>
                  <a:pt x="989838" y="118110"/>
                </a:lnTo>
                <a:lnTo>
                  <a:pt x="1009269" y="118110"/>
                </a:lnTo>
                <a:lnTo>
                  <a:pt x="1009269" y="100584"/>
                </a:lnTo>
                <a:lnTo>
                  <a:pt x="1006582" y="80821"/>
                </a:lnTo>
                <a:lnTo>
                  <a:pt x="1001420" y="71755"/>
                </a:lnTo>
                <a:close/>
              </a:path>
              <a:path w="1227454" h="182245">
                <a:moveTo>
                  <a:pt x="1009269" y="160527"/>
                </a:moveTo>
                <a:lnTo>
                  <a:pt x="989838" y="160527"/>
                </a:lnTo>
                <a:lnTo>
                  <a:pt x="989838" y="179450"/>
                </a:lnTo>
                <a:lnTo>
                  <a:pt x="1009269" y="179450"/>
                </a:lnTo>
                <a:lnTo>
                  <a:pt x="1009269" y="160527"/>
                </a:lnTo>
                <a:close/>
              </a:path>
              <a:path w="1227454" h="182245">
                <a:moveTo>
                  <a:pt x="1009269" y="118110"/>
                </a:moveTo>
                <a:lnTo>
                  <a:pt x="989838" y="118110"/>
                </a:lnTo>
                <a:lnTo>
                  <a:pt x="989838" y="130175"/>
                </a:lnTo>
                <a:lnTo>
                  <a:pt x="989234" y="137668"/>
                </a:lnTo>
                <a:lnTo>
                  <a:pt x="956564" y="165988"/>
                </a:lnTo>
                <a:lnTo>
                  <a:pt x="985279" y="165988"/>
                </a:lnTo>
                <a:lnTo>
                  <a:pt x="989329" y="160527"/>
                </a:lnTo>
                <a:lnTo>
                  <a:pt x="1009269" y="160527"/>
                </a:lnTo>
                <a:lnTo>
                  <a:pt x="1009269" y="118110"/>
                </a:lnTo>
                <a:close/>
              </a:path>
              <a:path w="1227454" h="182245">
                <a:moveTo>
                  <a:pt x="966470" y="55372"/>
                </a:moveTo>
                <a:lnTo>
                  <a:pt x="955182" y="56086"/>
                </a:lnTo>
                <a:lnTo>
                  <a:pt x="944562" y="58229"/>
                </a:lnTo>
                <a:lnTo>
                  <a:pt x="934608" y="61801"/>
                </a:lnTo>
                <a:lnTo>
                  <a:pt x="925322" y="66801"/>
                </a:lnTo>
                <a:lnTo>
                  <a:pt x="925322" y="86613"/>
                </a:lnTo>
                <a:lnTo>
                  <a:pt x="934422" y="80113"/>
                </a:lnTo>
                <a:lnTo>
                  <a:pt x="944022" y="75469"/>
                </a:lnTo>
                <a:lnTo>
                  <a:pt x="954147" y="72683"/>
                </a:lnTo>
                <a:lnTo>
                  <a:pt x="964819" y="71755"/>
                </a:lnTo>
                <a:lnTo>
                  <a:pt x="1001420" y="71755"/>
                </a:lnTo>
                <a:lnTo>
                  <a:pt x="998537" y="66690"/>
                </a:lnTo>
                <a:lnTo>
                  <a:pt x="985158" y="58203"/>
                </a:lnTo>
                <a:lnTo>
                  <a:pt x="966470" y="55372"/>
                </a:lnTo>
                <a:close/>
              </a:path>
              <a:path w="1227454" h="182245">
                <a:moveTo>
                  <a:pt x="1065276" y="58293"/>
                </a:moveTo>
                <a:lnTo>
                  <a:pt x="1045972" y="58293"/>
                </a:lnTo>
                <a:lnTo>
                  <a:pt x="1045972" y="179450"/>
                </a:lnTo>
                <a:lnTo>
                  <a:pt x="1065276" y="179450"/>
                </a:lnTo>
                <a:lnTo>
                  <a:pt x="1065276" y="117601"/>
                </a:lnTo>
                <a:lnTo>
                  <a:pt x="1065799" y="108031"/>
                </a:lnTo>
                <a:lnTo>
                  <a:pt x="1067371" y="99520"/>
                </a:lnTo>
                <a:lnTo>
                  <a:pt x="1069990" y="92080"/>
                </a:lnTo>
                <a:lnTo>
                  <a:pt x="1073658" y="85725"/>
                </a:lnTo>
                <a:lnTo>
                  <a:pt x="1075460" y="83185"/>
                </a:lnTo>
                <a:lnTo>
                  <a:pt x="1065276" y="83185"/>
                </a:lnTo>
                <a:lnTo>
                  <a:pt x="1065276" y="58293"/>
                </a:lnTo>
                <a:close/>
              </a:path>
              <a:path w="1227454" h="182245">
                <a:moveTo>
                  <a:pt x="1102614" y="56134"/>
                </a:moveTo>
                <a:lnTo>
                  <a:pt x="1090549" y="56134"/>
                </a:lnTo>
                <a:lnTo>
                  <a:pt x="1084199" y="58547"/>
                </a:lnTo>
                <a:lnTo>
                  <a:pt x="1078484" y="63246"/>
                </a:lnTo>
                <a:lnTo>
                  <a:pt x="1072769" y="68072"/>
                </a:lnTo>
                <a:lnTo>
                  <a:pt x="1068577" y="74675"/>
                </a:lnTo>
                <a:lnTo>
                  <a:pt x="1065784" y="83185"/>
                </a:lnTo>
                <a:lnTo>
                  <a:pt x="1075460" y="83185"/>
                </a:lnTo>
                <a:lnTo>
                  <a:pt x="1079246" y="77850"/>
                </a:lnTo>
                <a:lnTo>
                  <a:pt x="1086103" y="74041"/>
                </a:lnTo>
                <a:lnTo>
                  <a:pt x="1109091" y="74041"/>
                </a:lnTo>
                <a:lnTo>
                  <a:pt x="1109091" y="57785"/>
                </a:lnTo>
                <a:lnTo>
                  <a:pt x="1106424" y="56642"/>
                </a:lnTo>
                <a:lnTo>
                  <a:pt x="1102614" y="56134"/>
                </a:lnTo>
                <a:close/>
              </a:path>
              <a:path w="1227454" h="182245">
                <a:moveTo>
                  <a:pt x="1109091" y="74041"/>
                </a:moveTo>
                <a:lnTo>
                  <a:pt x="1100836" y="74041"/>
                </a:lnTo>
                <a:lnTo>
                  <a:pt x="1105662" y="75311"/>
                </a:lnTo>
                <a:lnTo>
                  <a:pt x="1109091" y="77850"/>
                </a:lnTo>
                <a:lnTo>
                  <a:pt x="1109091" y="74041"/>
                </a:lnTo>
                <a:close/>
              </a:path>
              <a:path w="1227454" h="182245">
                <a:moveTo>
                  <a:pt x="1177290" y="55372"/>
                </a:moveTo>
                <a:lnTo>
                  <a:pt x="1137539" y="73279"/>
                </a:lnTo>
                <a:lnTo>
                  <a:pt x="1121410" y="119380"/>
                </a:lnTo>
                <a:lnTo>
                  <a:pt x="1122336" y="133498"/>
                </a:lnTo>
                <a:lnTo>
                  <a:pt x="1144166" y="172975"/>
                </a:lnTo>
                <a:lnTo>
                  <a:pt x="1176527" y="182245"/>
                </a:lnTo>
                <a:lnTo>
                  <a:pt x="1189009" y="181528"/>
                </a:lnTo>
                <a:lnTo>
                  <a:pt x="1200181" y="179371"/>
                </a:lnTo>
                <a:lnTo>
                  <a:pt x="1210067" y="175762"/>
                </a:lnTo>
                <a:lnTo>
                  <a:pt x="1218692" y="170687"/>
                </a:lnTo>
                <a:lnTo>
                  <a:pt x="1218692" y="165988"/>
                </a:lnTo>
                <a:lnTo>
                  <a:pt x="1181100" y="165988"/>
                </a:lnTo>
                <a:lnTo>
                  <a:pt x="1172456" y="165298"/>
                </a:lnTo>
                <a:lnTo>
                  <a:pt x="1142434" y="133223"/>
                </a:lnTo>
                <a:lnTo>
                  <a:pt x="1141602" y="123698"/>
                </a:lnTo>
                <a:lnTo>
                  <a:pt x="1227074" y="123698"/>
                </a:lnTo>
                <a:lnTo>
                  <a:pt x="1227074" y="113537"/>
                </a:lnTo>
                <a:lnTo>
                  <a:pt x="1226677" y="107187"/>
                </a:lnTo>
                <a:lnTo>
                  <a:pt x="1141857" y="107187"/>
                </a:lnTo>
                <a:lnTo>
                  <a:pt x="1143452" y="99661"/>
                </a:lnTo>
                <a:lnTo>
                  <a:pt x="1167765" y="71755"/>
                </a:lnTo>
                <a:lnTo>
                  <a:pt x="1214721" y="71755"/>
                </a:lnTo>
                <a:lnTo>
                  <a:pt x="1214120" y="70866"/>
                </a:lnTo>
                <a:lnTo>
                  <a:pt x="1206954" y="64105"/>
                </a:lnTo>
                <a:lnTo>
                  <a:pt x="1198419" y="59261"/>
                </a:lnTo>
                <a:lnTo>
                  <a:pt x="1188527" y="56346"/>
                </a:lnTo>
                <a:lnTo>
                  <a:pt x="1177290" y="55372"/>
                </a:lnTo>
                <a:close/>
              </a:path>
              <a:path w="1227454" h="182245">
                <a:moveTo>
                  <a:pt x="1218692" y="152400"/>
                </a:moveTo>
                <a:lnTo>
                  <a:pt x="1209907" y="158327"/>
                </a:lnTo>
                <a:lnTo>
                  <a:pt x="1200705" y="162575"/>
                </a:lnTo>
                <a:lnTo>
                  <a:pt x="1191099" y="165133"/>
                </a:lnTo>
                <a:lnTo>
                  <a:pt x="1181100" y="165988"/>
                </a:lnTo>
                <a:lnTo>
                  <a:pt x="1218692" y="165988"/>
                </a:lnTo>
                <a:lnTo>
                  <a:pt x="1218692" y="152400"/>
                </a:lnTo>
                <a:close/>
              </a:path>
              <a:path w="1227454" h="182245">
                <a:moveTo>
                  <a:pt x="1214721" y="71755"/>
                </a:moveTo>
                <a:lnTo>
                  <a:pt x="1186434" y="71755"/>
                </a:lnTo>
                <a:lnTo>
                  <a:pt x="1193800" y="74930"/>
                </a:lnTo>
                <a:lnTo>
                  <a:pt x="1199134" y="81152"/>
                </a:lnTo>
                <a:lnTo>
                  <a:pt x="1202636" y="86274"/>
                </a:lnTo>
                <a:lnTo>
                  <a:pt x="1205150" y="92313"/>
                </a:lnTo>
                <a:lnTo>
                  <a:pt x="1206688" y="99280"/>
                </a:lnTo>
                <a:lnTo>
                  <a:pt x="1207262" y="107187"/>
                </a:lnTo>
                <a:lnTo>
                  <a:pt x="1226677" y="107187"/>
                </a:lnTo>
                <a:lnTo>
                  <a:pt x="1226264" y="100583"/>
                </a:lnTo>
                <a:lnTo>
                  <a:pt x="1223835" y="89153"/>
                </a:lnTo>
                <a:lnTo>
                  <a:pt x="1219787" y="79248"/>
                </a:lnTo>
                <a:lnTo>
                  <a:pt x="1214721" y="71755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7150813" y="4385136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90" h="429895">
                <a:moveTo>
                  <a:pt x="0" y="429768"/>
                </a:moveTo>
                <a:lnTo>
                  <a:pt x="1850135" y="429768"/>
                </a:lnTo>
                <a:lnTo>
                  <a:pt x="1850135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7315200" y="4484086"/>
            <a:ext cx="1021812" cy="178607"/>
          </a:xfrm>
          <a:custGeom>
            <a:avLst/>
            <a:gdLst/>
            <a:ahLst/>
            <a:cxnLst/>
            <a:rect l="l" t="t" r="r" b="b"/>
            <a:pathLst>
              <a:path w="1389379" h="182245">
                <a:moveTo>
                  <a:pt x="22098" y="9778"/>
                </a:moveTo>
                <a:lnTo>
                  <a:pt x="0" y="9778"/>
                </a:lnTo>
                <a:lnTo>
                  <a:pt x="61594" y="179450"/>
                </a:lnTo>
                <a:lnTo>
                  <a:pt x="83438" y="179450"/>
                </a:lnTo>
                <a:lnTo>
                  <a:pt x="90920" y="159257"/>
                </a:lnTo>
                <a:lnTo>
                  <a:pt x="72516" y="159257"/>
                </a:lnTo>
                <a:lnTo>
                  <a:pt x="71754" y="153542"/>
                </a:lnTo>
                <a:lnTo>
                  <a:pt x="70611" y="148589"/>
                </a:lnTo>
                <a:lnTo>
                  <a:pt x="68999" y="144017"/>
                </a:lnTo>
                <a:lnTo>
                  <a:pt x="22098" y="9778"/>
                </a:lnTo>
                <a:close/>
              </a:path>
              <a:path w="1389379" h="182245">
                <a:moveTo>
                  <a:pt x="146303" y="9778"/>
                </a:moveTo>
                <a:lnTo>
                  <a:pt x="124840" y="9778"/>
                </a:lnTo>
                <a:lnTo>
                  <a:pt x="76867" y="144271"/>
                </a:lnTo>
                <a:lnTo>
                  <a:pt x="74929" y="149478"/>
                </a:lnTo>
                <a:lnTo>
                  <a:pt x="73659" y="154558"/>
                </a:lnTo>
                <a:lnTo>
                  <a:pt x="73025" y="159257"/>
                </a:lnTo>
                <a:lnTo>
                  <a:pt x="90920" y="159257"/>
                </a:lnTo>
                <a:lnTo>
                  <a:pt x="146303" y="9778"/>
                </a:lnTo>
                <a:close/>
              </a:path>
              <a:path w="1389379" h="182245">
                <a:moveTo>
                  <a:pt x="181863" y="2285"/>
                </a:moveTo>
                <a:lnTo>
                  <a:pt x="174878" y="2285"/>
                </a:lnTo>
                <a:lnTo>
                  <a:pt x="171957" y="3428"/>
                </a:lnTo>
                <a:lnTo>
                  <a:pt x="169417" y="5841"/>
                </a:lnTo>
                <a:lnTo>
                  <a:pt x="167004" y="8254"/>
                </a:lnTo>
                <a:lnTo>
                  <a:pt x="165734" y="11302"/>
                </a:lnTo>
                <a:lnTo>
                  <a:pt x="165734" y="18541"/>
                </a:lnTo>
                <a:lnTo>
                  <a:pt x="167004" y="21589"/>
                </a:lnTo>
                <a:lnTo>
                  <a:pt x="171957" y="26288"/>
                </a:lnTo>
                <a:lnTo>
                  <a:pt x="174878" y="27431"/>
                </a:lnTo>
                <a:lnTo>
                  <a:pt x="181863" y="27431"/>
                </a:lnTo>
                <a:lnTo>
                  <a:pt x="184911" y="26288"/>
                </a:lnTo>
                <a:lnTo>
                  <a:pt x="187325" y="23748"/>
                </a:lnTo>
                <a:lnTo>
                  <a:pt x="189864" y="21335"/>
                </a:lnTo>
                <a:lnTo>
                  <a:pt x="191079" y="18541"/>
                </a:lnTo>
                <a:lnTo>
                  <a:pt x="191134" y="11302"/>
                </a:lnTo>
                <a:lnTo>
                  <a:pt x="189864" y="8254"/>
                </a:lnTo>
                <a:lnTo>
                  <a:pt x="187325" y="5841"/>
                </a:lnTo>
                <a:lnTo>
                  <a:pt x="184911" y="3428"/>
                </a:lnTo>
                <a:lnTo>
                  <a:pt x="181863" y="2285"/>
                </a:lnTo>
                <a:close/>
              </a:path>
              <a:path w="1389379" h="182245">
                <a:moveTo>
                  <a:pt x="187832" y="58292"/>
                </a:moveTo>
                <a:lnTo>
                  <a:pt x="168401" y="58292"/>
                </a:lnTo>
                <a:lnTo>
                  <a:pt x="168401" y="179450"/>
                </a:lnTo>
                <a:lnTo>
                  <a:pt x="187832" y="179450"/>
                </a:lnTo>
                <a:lnTo>
                  <a:pt x="187832" y="58292"/>
                </a:lnTo>
                <a:close/>
              </a:path>
              <a:path w="1389379" h="182245">
                <a:moveTo>
                  <a:pt x="247268" y="58292"/>
                </a:moveTo>
                <a:lnTo>
                  <a:pt x="227837" y="58292"/>
                </a:lnTo>
                <a:lnTo>
                  <a:pt x="227837" y="179450"/>
                </a:lnTo>
                <a:lnTo>
                  <a:pt x="247268" y="179450"/>
                </a:lnTo>
                <a:lnTo>
                  <a:pt x="247268" y="117601"/>
                </a:lnTo>
                <a:lnTo>
                  <a:pt x="247790" y="108031"/>
                </a:lnTo>
                <a:lnTo>
                  <a:pt x="249348" y="99520"/>
                </a:lnTo>
                <a:lnTo>
                  <a:pt x="251930" y="92080"/>
                </a:lnTo>
                <a:lnTo>
                  <a:pt x="255524" y="85724"/>
                </a:lnTo>
                <a:lnTo>
                  <a:pt x="257326" y="83184"/>
                </a:lnTo>
                <a:lnTo>
                  <a:pt x="247268" y="83184"/>
                </a:lnTo>
                <a:lnTo>
                  <a:pt x="247268" y="58292"/>
                </a:lnTo>
                <a:close/>
              </a:path>
              <a:path w="1389379" h="182245">
                <a:moveTo>
                  <a:pt x="284479" y="56133"/>
                </a:moveTo>
                <a:lnTo>
                  <a:pt x="272414" y="56133"/>
                </a:lnTo>
                <a:lnTo>
                  <a:pt x="266064" y="58546"/>
                </a:lnTo>
                <a:lnTo>
                  <a:pt x="260350" y="63245"/>
                </a:lnTo>
                <a:lnTo>
                  <a:pt x="254634" y="68071"/>
                </a:lnTo>
                <a:lnTo>
                  <a:pt x="250443" y="74675"/>
                </a:lnTo>
                <a:lnTo>
                  <a:pt x="247650" y="83184"/>
                </a:lnTo>
                <a:lnTo>
                  <a:pt x="257326" y="83184"/>
                </a:lnTo>
                <a:lnTo>
                  <a:pt x="261111" y="77850"/>
                </a:lnTo>
                <a:lnTo>
                  <a:pt x="268096" y="73913"/>
                </a:lnTo>
                <a:lnTo>
                  <a:pt x="290956" y="73913"/>
                </a:lnTo>
                <a:lnTo>
                  <a:pt x="290956" y="57784"/>
                </a:lnTo>
                <a:lnTo>
                  <a:pt x="288289" y="56641"/>
                </a:lnTo>
                <a:lnTo>
                  <a:pt x="284479" y="56133"/>
                </a:lnTo>
                <a:close/>
              </a:path>
              <a:path w="1389379" h="182245">
                <a:moveTo>
                  <a:pt x="290956" y="73913"/>
                </a:moveTo>
                <a:lnTo>
                  <a:pt x="282701" y="73913"/>
                </a:lnTo>
                <a:lnTo>
                  <a:pt x="287654" y="75310"/>
                </a:lnTo>
                <a:lnTo>
                  <a:pt x="290956" y="77850"/>
                </a:lnTo>
                <a:lnTo>
                  <a:pt x="290956" y="73913"/>
                </a:lnTo>
                <a:close/>
              </a:path>
              <a:path w="1389379" h="182245">
                <a:moveTo>
                  <a:pt x="337311" y="74802"/>
                </a:moveTo>
                <a:lnTo>
                  <a:pt x="317880" y="74802"/>
                </a:lnTo>
                <a:lnTo>
                  <a:pt x="317880" y="146557"/>
                </a:lnTo>
                <a:lnTo>
                  <a:pt x="319879" y="162059"/>
                </a:lnTo>
                <a:lnTo>
                  <a:pt x="325866" y="173132"/>
                </a:lnTo>
                <a:lnTo>
                  <a:pt x="335829" y="179776"/>
                </a:lnTo>
                <a:lnTo>
                  <a:pt x="349757" y="181990"/>
                </a:lnTo>
                <a:lnTo>
                  <a:pt x="357250" y="181990"/>
                </a:lnTo>
                <a:lnTo>
                  <a:pt x="363219" y="180720"/>
                </a:lnTo>
                <a:lnTo>
                  <a:pt x="367791" y="178180"/>
                </a:lnTo>
                <a:lnTo>
                  <a:pt x="367791" y="165607"/>
                </a:lnTo>
                <a:lnTo>
                  <a:pt x="348741" y="165607"/>
                </a:lnTo>
                <a:lnTo>
                  <a:pt x="344169" y="163956"/>
                </a:lnTo>
                <a:lnTo>
                  <a:pt x="341502" y="160400"/>
                </a:lnTo>
                <a:lnTo>
                  <a:pt x="338708" y="156971"/>
                </a:lnTo>
                <a:lnTo>
                  <a:pt x="337311" y="151256"/>
                </a:lnTo>
                <a:lnTo>
                  <a:pt x="337311" y="74802"/>
                </a:lnTo>
                <a:close/>
              </a:path>
              <a:path w="1389379" h="182245">
                <a:moveTo>
                  <a:pt x="367791" y="161670"/>
                </a:moveTo>
                <a:lnTo>
                  <a:pt x="364362" y="164337"/>
                </a:lnTo>
                <a:lnTo>
                  <a:pt x="360044" y="165607"/>
                </a:lnTo>
                <a:lnTo>
                  <a:pt x="367791" y="165607"/>
                </a:lnTo>
                <a:lnTo>
                  <a:pt x="367791" y="161670"/>
                </a:lnTo>
                <a:close/>
              </a:path>
              <a:path w="1389379" h="182245">
                <a:moveTo>
                  <a:pt x="367791" y="58292"/>
                </a:moveTo>
                <a:lnTo>
                  <a:pt x="297052" y="58292"/>
                </a:lnTo>
                <a:lnTo>
                  <a:pt x="297052" y="74802"/>
                </a:lnTo>
                <a:lnTo>
                  <a:pt x="367791" y="74802"/>
                </a:lnTo>
                <a:lnTo>
                  <a:pt x="367791" y="58292"/>
                </a:lnTo>
                <a:close/>
              </a:path>
              <a:path w="1389379" h="182245">
                <a:moveTo>
                  <a:pt x="337311" y="22351"/>
                </a:moveTo>
                <a:lnTo>
                  <a:pt x="317880" y="28701"/>
                </a:lnTo>
                <a:lnTo>
                  <a:pt x="317880" y="58292"/>
                </a:lnTo>
                <a:lnTo>
                  <a:pt x="337311" y="58292"/>
                </a:lnTo>
                <a:lnTo>
                  <a:pt x="337311" y="22351"/>
                </a:lnTo>
                <a:close/>
              </a:path>
              <a:path w="1389379" h="182245">
                <a:moveTo>
                  <a:pt x="410590" y="58292"/>
                </a:moveTo>
                <a:lnTo>
                  <a:pt x="391286" y="58292"/>
                </a:lnTo>
                <a:lnTo>
                  <a:pt x="391286" y="130682"/>
                </a:lnTo>
                <a:lnTo>
                  <a:pt x="393999" y="153259"/>
                </a:lnTo>
                <a:lnTo>
                  <a:pt x="402129" y="169370"/>
                </a:lnTo>
                <a:lnTo>
                  <a:pt x="415665" y="179028"/>
                </a:lnTo>
                <a:lnTo>
                  <a:pt x="434593" y="182244"/>
                </a:lnTo>
                <a:lnTo>
                  <a:pt x="446430" y="180865"/>
                </a:lnTo>
                <a:lnTo>
                  <a:pt x="456612" y="176736"/>
                </a:lnTo>
                <a:lnTo>
                  <a:pt x="465151" y="169868"/>
                </a:lnTo>
                <a:lnTo>
                  <a:pt x="468035" y="165861"/>
                </a:lnTo>
                <a:lnTo>
                  <a:pt x="439927" y="165861"/>
                </a:lnTo>
                <a:lnTo>
                  <a:pt x="427093" y="163476"/>
                </a:lnTo>
                <a:lnTo>
                  <a:pt x="417925" y="156305"/>
                </a:lnTo>
                <a:lnTo>
                  <a:pt x="412424" y="144323"/>
                </a:lnTo>
                <a:lnTo>
                  <a:pt x="410646" y="128015"/>
                </a:lnTo>
                <a:lnTo>
                  <a:pt x="410590" y="58292"/>
                </a:lnTo>
                <a:close/>
              </a:path>
              <a:path w="1389379" h="182245">
                <a:moveTo>
                  <a:pt x="491870" y="160273"/>
                </a:moveTo>
                <a:lnTo>
                  <a:pt x="472566" y="160273"/>
                </a:lnTo>
                <a:lnTo>
                  <a:pt x="472566" y="179450"/>
                </a:lnTo>
                <a:lnTo>
                  <a:pt x="491870" y="179450"/>
                </a:lnTo>
                <a:lnTo>
                  <a:pt x="491870" y="160273"/>
                </a:lnTo>
                <a:close/>
              </a:path>
              <a:path w="1389379" h="182245">
                <a:moveTo>
                  <a:pt x="491870" y="58292"/>
                </a:moveTo>
                <a:lnTo>
                  <a:pt x="472566" y="58292"/>
                </a:lnTo>
                <a:lnTo>
                  <a:pt x="472566" y="128015"/>
                </a:lnTo>
                <a:lnTo>
                  <a:pt x="471975" y="136088"/>
                </a:lnTo>
                <a:lnTo>
                  <a:pt x="446740" y="165217"/>
                </a:lnTo>
                <a:lnTo>
                  <a:pt x="439927" y="165861"/>
                </a:lnTo>
                <a:lnTo>
                  <a:pt x="468035" y="165861"/>
                </a:lnTo>
                <a:lnTo>
                  <a:pt x="472058" y="160273"/>
                </a:lnTo>
                <a:lnTo>
                  <a:pt x="491870" y="160273"/>
                </a:lnTo>
                <a:lnTo>
                  <a:pt x="491870" y="58292"/>
                </a:lnTo>
                <a:close/>
              </a:path>
              <a:path w="1389379" h="182245">
                <a:moveTo>
                  <a:pt x="610054" y="71754"/>
                </a:moveTo>
                <a:lnTo>
                  <a:pt x="573404" y="71754"/>
                </a:lnTo>
                <a:lnTo>
                  <a:pt x="584386" y="73683"/>
                </a:lnTo>
                <a:lnTo>
                  <a:pt x="592201" y="79470"/>
                </a:lnTo>
                <a:lnTo>
                  <a:pt x="596872" y="89114"/>
                </a:lnTo>
                <a:lnTo>
                  <a:pt x="598424" y="102615"/>
                </a:lnTo>
                <a:lnTo>
                  <a:pt x="562101" y="107695"/>
                </a:lnTo>
                <a:lnTo>
                  <a:pt x="544599" y="112242"/>
                </a:lnTo>
                <a:lnTo>
                  <a:pt x="532098" y="120348"/>
                </a:lnTo>
                <a:lnTo>
                  <a:pt x="524597" y="132002"/>
                </a:lnTo>
                <a:lnTo>
                  <a:pt x="522096" y="147192"/>
                </a:lnTo>
                <a:lnTo>
                  <a:pt x="522739" y="154715"/>
                </a:lnTo>
                <a:lnTo>
                  <a:pt x="552136" y="181647"/>
                </a:lnTo>
                <a:lnTo>
                  <a:pt x="560704" y="182244"/>
                </a:lnTo>
                <a:lnTo>
                  <a:pt x="572252" y="180885"/>
                </a:lnTo>
                <a:lnTo>
                  <a:pt x="582310" y="176799"/>
                </a:lnTo>
                <a:lnTo>
                  <a:pt x="590869" y="169975"/>
                </a:lnTo>
                <a:lnTo>
                  <a:pt x="593896" y="165861"/>
                </a:lnTo>
                <a:lnTo>
                  <a:pt x="558164" y="165861"/>
                </a:lnTo>
                <a:lnTo>
                  <a:pt x="552576" y="164083"/>
                </a:lnTo>
                <a:lnTo>
                  <a:pt x="544067" y="156590"/>
                </a:lnTo>
                <a:lnTo>
                  <a:pt x="542035" y="151764"/>
                </a:lnTo>
                <a:lnTo>
                  <a:pt x="542072" y="137576"/>
                </a:lnTo>
                <a:lnTo>
                  <a:pt x="544321" y="131952"/>
                </a:lnTo>
                <a:lnTo>
                  <a:pt x="553465" y="125602"/>
                </a:lnTo>
                <a:lnTo>
                  <a:pt x="560196" y="123443"/>
                </a:lnTo>
                <a:lnTo>
                  <a:pt x="598424" y="118109"/>
                </a:lnTo>
                <a:lnTo>
                  <a:pt x="617854" y="118109"/>
                </a:lnTo>
                <a:lnTo>
                  <a:pt x="617854" y="100583"/>
                </a:lnTo>
                <a:lnTo>
                  <a:pt x="615187" y="80821"/>
                </a:lnTo>
                <a:lnTo>
                  <a:pt x="610054" y="71754"/>
                </a:lnTo>
                <a:close/>
              </a:path>
              <a:path w="1389379" h="182245">
                <a:moveTo>
                  <a:pt x="617854" y="160400"/>
                </a:moveTo>
                <a:lnTo>
                  <a:pt x="598424" y="160400"/>
                </a:lnTo>
                <a:lnTo>
                  <a:pt x="598424" y="179450"/>
                </a:lnTo>
                <a:lnTo>
                  <a:pt x="617854" y="179450"/>
                </a:lnTo>
                <a:lnTo>
                  <a:pt x="617854" y="160400"/>
                </a:lnTo>
                <a:close/>
              </a:path>
              <a:path w="1389379" h="182245">
                <a:moveTo>
                  <a:pt x="617854" y="118109"/>
                </a:moveTo>
                <a:lnTo>
                  <a:pt x="598424" y="118109"/>
                </a:lnTo>
                <a:lnTo>
                  <a:pt x="598424" y="130174"/>
                </a:lnTo>
                <a:lnTo>
                  <a:pt x="597830" y="137576"/>
                </a:lnTo>
                <a:lnTo>
                  <a:pt x="565150" y="165861"/>
                </a:lnTo>
                <a:lnTo>
                  <a:pt x="593896" y="165861"/>
                </a:lnTo>
                <a:lnTo>
                  <a:pt x="597915" y="160400"/>
                </a:lnTo>
                <a:lnTo>
                  <a:pt x="617854" y="160400"/>
                </a:lnTo>
                <a:lnTo>
                  <a:pt x="617854" y="118109"/>
                </a:lnTo>
                <a:close/>
              </a:path>
              <a:path w="1389379" h="182245">
                <a:moveTo>
                  <a:pt x="575182" y="55371"/>
                </a:moveTo>
                <a:lnTo>
                  <a:pt x="563822" y="56086"/>
                </a:lnTo>
                <a:lnTo>
                  <a:pt x="553164" y="58229"/>
                </a:lnTo>
                <a:lnTo>
                  <a:pt x="543196" y="61801"/>
                </a:lnTo>
                <a:lnTo>
                  <a:pt x="533907" y="66801"/>
                </a:lnTo>
                <a:lnTo>
                  <a:pt x="533907" y="86613"/>
                </a:lnTo>
                <a:lnTo>
                  <a:pt x="543026" y="80113"/>
                </a:lnTo>
                <a:lnTo>
                  <a:pt x="552656" y="75469"/>
                </a:lnTo>
                <a:lnTo>
                  <a:pt x="562786" y="72683"/>
                </a:lnTo>
                <a:lnTo>
                  <a:pt x="573404" y="71754"/>
                </a:lnTo>
                <a:lnTo>
                  <a:pt x="610054" y="71754"/>
                </a:lnTo>
                <a:lnTo>
                  <a:pt x="607186" y="66690"/>
                </a:lnTo>
                <a:lnTo>
                  <a:pt x="593851" y="58203"/>
                </a:lnTo>
                <a:lnTo>
                  <a:pt x="575182" y="55371"/>
                </a:lnTo>
                <a:close/>
              </a:path>
              <a:path w="1389379" h="182245">
                <a:moveTo>
                  <a:pt x="673988" y="0"/>
                </a:moveTo>
                <a:lnTo>
                  <a:pt x="654557" y="0"/>
                </a:lnTo>
                <a:lnTo>
                  <a:pt x="654557" y="179450"/>
                </a:lnTo>
                <a:lnTo>
                  <a:pt x="673988" y="179450"/>
                </a:lnTo>
                <a:lnTo>
                  <a:pt x="673988" y="0"/>
                </a:lnTo>
                <a:close/>
              </a:path>
              <a:path w="1389379" h="182245">
                <a:moveTo>
                  <a:pt x="727455" y="2285"/>
                </a:moveTo>
                <a:lnTo>
                  <a:pt x="720470" y="2285"/>
                </a:lnTo>
                <a:lnTo>
                  <a:pt x="717550" y="3428"/>
                </a:lnTo>
                <a:lnTo>
                  <a:pt x="715009" y="5841"/>
                </a:lnTo>
                <a:lnTo>
                  <a:pt x="712596" y="8254"/>
                </a:lnTo>
                <a:lnTo>
                  <a:pt x="711326" y="11302"/>
                </a:lnTo>
                <a:lnTo>
                  <a:pt x="711326" y="18541"/>
                </a:lnTo>
                <a:lnTo>
                  <a:pt x="712596" y="21589"/>
                </a:lnTo>
                <a:lnTo>
                  <a:pt x="717550" y="26288"/>
                </a:lnTo>
                <a:lnTo>
                  <a:pt x="720470" y="27431"/>
                </a:lnTo>
                <a:lnTo>
                  <a:pt x="727455" y="27431"/>
                </a:lnTo>
                <a:lnTo>
                  <a:pt x="730503" y="26288"/>
                </a:lnTo>
                <a:lnTo>
                  <a:pt x="732916" y="23748"/>
                </a:lnTo>
                <a:lnTo>
                  <a:pt x="735456" y="21335"/>
                </a:lnTo>
                <a:lnTo>
                  <a:pt x="736671" y="18541"/>
                </a:lnTo>
                <a:lnTo>
                  <a:pt x="736726" y="11302"/>
                </a:lnTo>
                <a:lnTo>
                  <a:pt x="735456" y="8254"/>
                </a:lnTo>
                <a:lnTo>
                  <a:pt x="732916" y="5841"/>
                </a:lnTo>
                <a:lnTo>
                  <a:pt x="730503" y="3428"/>
                </a:lnTo>
                <a:lnTo>
                  <a:pt x="727455" y="2285"/>
                </a:lnTo>
                <a:close/>
              </a:path>
              <a:path w="1389379" h="182245">
                <a:moveTo>
                  <a:pt x="733425" y="58292"/>
                </a:moveTo>
                <a:lnTo>
                  <a:pt x="713993" y="58292"/>
                </a:lnTo>
                <a:lnTo>
                  <a:pt x="713993" y="179450"/>
                </a:lnTo>
                <a:lnTo>
                  <a:pt x="733425" y="179450"/>
                </a:lnTo>
                <a:lnTo>
                  <a:pt x="733425" y="58292"/>
                </a:lnTo>
                <a:close/>
              </a:path>
              <a:path w="1389379" h="182245">
                <a:moveTo>
                  <a:pt x="857884" y="58292"/>
                </a:moveTo>
                <a:lnTo>
                  <a:pt x="764412" y="58292"/>
                </a:lnTo>
                <a:lnTo>
                  <a:pt x="764412" y="74802"/>
                </a:lnTo>
                <a:lnTo>
                  <a:pt x="829436" y="74802"/>
                </a:lnTo>
                <a:lnTo>
                  <a:pt x="757681" y="173354"/>
                </a:lnTo>
                <a:lnTo>
                  <a:pt x="757681" y="179450"/>
                </a:lnTo>
                <a:lnTo>
                  <a:pt x="857250" y="179450"/>
                </a:lnTo>
                <a:lnTo>
                  <a:pt x="857250" y="162813"/>
                </a:lnTo>
                <a:lnTo>
                  <a:pt x="786256" y="162813"/>
                </a:lnTo>
                <a:lnTo>
                  <a:pt x="857884" y="63753"/>
                </a:lnTo>
                <a:lnTo>
                  <a:pt x="857884" y="58292"/>
                </a:lnTo>
                <a:close/>
              </a:path>
              <a:path w="1389379" h="182245">
                <a:moveTo>
                  <a:pt x="962098" y="71754"/>
                </a:moveTo>
                <a:lnTo>
                  <a:pt x="925449" y="71754"/>
                </a:lnTo>
                <a:lnTo>
                  <a:pt x="936430" y="73683"/>
                </a:lnTo>
                <a:lnTo>
                  <a:pt x="944244" y="79470"/>
                </a:lnTo>
                <a:lnTo>
                  <a:pt x="948916" y="89114"/>
                </a:lnTo>
                <a:lnTo>
                  <a:pt x="950467" y="102615"/>
                </a:lnTo>
                <a:lnTo>
                  <a:pt x="914145" y="107695"/>
                </a:lnTo>
                <a:lnTo>
                  <a:pt x="896643" y="112242"/>
                </a:lnTo>
                <a:lnTo>
                  <a:pt x="884142" y="120348"/>
                </a:lnTo>
                <a:lnTo>
                  <a:pt x="876641" y="132002"/>
                </a:lnTo>
                <a:lnTo>
                  <a:pt x="874140" y="147192"/>
                </a:lnTo>
                <a:lnTo>
                  <a:pt x="874783" y="154715"/>
                </a:lnTo>
                <a:lnTo>
                  <a:pt x="904180" y="181647"/>
                </a:lnTo>
                <a:lnTo>
                  <a:pt x="912749" y="182244"/>
                </a:lnTo>
                <a:lnTo>
                  <a:pt x="924296" y="180885"/>
                </a:lnTo>
                <a:lnTo>
                  <a:pt x="934354" y="176799"/>
                </a:lnTo>
                <a:lnTo>
                  <a:pt x="942913" y="169975"/>
                </a:lnTo>
                <a:lnTo>
                  <a:pt x="945940" y="165861"/>
                </a:lnTo>
                <a:lnTo>
                  <a:pt x="910208" y="165861"/>
                </a:lnTo>
                <a:lnTo>
                  <a:pt x="904620" y="164083"/>
                </a:lnTo>
                <a:lnTo>
                  <a:pt x="896111" y="156590"/>
                </a:lnTo>
                <a:lnTo>
                  <a:pt x="894079" y="151764"/>
                </a:lnTo>
                <a:lnTo>
                  <a:pt x="894116" y="137576"/>
                </a:lnTo>
                <a:lnTo>
                  <a:pt x="896365" y="131952"/>
                </a:lnTo>
                <a:lnTo>
                  <a:pt x="905509" y="125602"/>
                </a:lnTo>
                <a:lnTo>
                  <a:pt x="912240" y="123443"/>
                </a:lnTo>
                <a:lnTo>
                  <a:pt x="950467" y="118109"/>
                </a:lnTo>
                <a:lnTo>
                  <a:pt x="969899" y="118109"/>
                </a:lnTo>
                <a:lnTo>
                  <a:pt x="969899" y="100583"/>
                </a:lnTo>
                <a:lnTo>
                  <a:pt x="967231" y="80821"/>
                </a:lnTo>
                <a:lnTo>
                  <a:pt x="962098" y="71754"/>
                </a:lnTo>
                <a:close/>
              </a:path>
              <a:path w="1389379" h="182245">
                <a:moveTo>
                  <a:pt x="969899" y="160400"/>
                </a:moveTo>
                <a:lnTo>
                  <a:pt x="950467" y="160400"/>
                </a:lnTo>
                <a:lnTo>
                  <a:pt x="950467" y="179450"/>
                </a:lnTo>
                <a:lnTo>
                  <a:pt x="969899" y="179450"/>
                </a:lnTo>
                <a:lnTo>
                  <a:pt x="969899" y="160400"/>
                </a:lnTo>
                <a:close/>
              </a:path>
              <a:path w="1389379" h="182245">
                <a:moveTo>
                  <a:pt x="969899" y="118109"/>
                </a:moveTo>
                <a:lnTo>
                  <a:pt x="950467" y="118109"/>
                </a:lnTo>
                <a:lnTo>
                  <a:pt x="950467" y="130174"/>
                </a:lnTo>
                <a:lnTo>
                  <a:pt x="949874" y="137576"/>
                </a:lnTo>
                <a:lnTo>
                  <a:pt x="917193" y="165861"/>
                </a:lnTo>
                <a:lnTo>
                  <a:pt x="945940" y="165861"/>
                </a:lnTo>
                <a:lnTo>
                  <a:pt x="949959" y="160400"/>
                </a:lnTo>
                <a:lnTo>
                  <a:pt x="969899" y="160400"/>
                </a:lnTo>
                <a:lnTo>
                  <a:pt x="969899" y="118109"/>
                </a:lnTo>
                <a:close/>
              </a:path>
              <a:path w="1389379" h="182245">
                <a:moveTo>
                  <a:pt x="927226" y="55371"/>
                </a:moveTo>
                <a:lnTo>
                  <a:pt x="915866" y="56086"/>
                </a:lnTo>
                <a:lnTo>
                  <a:pt x="905208" y="58229"/>
                </a:lnTo>
                <a:lnTo>
                  <a:pt x="895240" y="61801"/>
                </a:lnTo>
                <a:lnTo>
                  <a:pt x="885951" y="66801"/>
                </a:lnTo>
                <a:lnTo>
                  <a:pt x="885951" y="86613"/>
                </a:lnTo>
                <a:lnTo>
                  <a:pt x="895070" y="80113"/>
                </a:lnTo>
                <a:lnTo>
                  <a:pt x="904700" y="75469"/>
                </a:lnTo>
                <a:lnTo>
                  <a:pt x="914830" y="72683"/>
                </a:lnTo>
                <a:lnTo>
                  <a:pt x="925449" y="71754"/>
                </a:lnTo>
                <a:lnTo>
                  <a:pt x="962098" y="71754"/>
                </a:lnTo>
                <a:lnTo>
                  <a:pt x="959230" y="66690"/>
                </a:lnTo>
                <a:lnTo>
                  <a:pt x="945896" y="58203"/>
                </a:lnTo>
                <a:lnTo>
                  <a:pt x="927226" y="55371"/>
                </a:lnTo>
                <a:close/>
              </a:path>
              <a:path w="1389379" h="182245">
                <a:moveTo>
                  <a:pt x="1032255" y="74802"/>
                </a:moveTo>
                <a:lnTo>
                  <a:pt x="1012825" y="74802"/>
                </a:lnTo>
                <a:lnTo>
                  <a:pt x="1012825" y="146557"/>
                </a:lnTo>
                <a:lnTo>
                  <a:pt x="1014823" y="162059"/>
                </a:lnTo>
                <a:lnTo>
                  <a:pt x="1020810" y="173132"/>
                </a:lnTo>
                <a:lnTo>
                  <a:pt x="1030773" y="179776"/>
                </a:lnTo>
                <a:lnTo>
                  <a:pt x="1044701" y="181990"/>
                </a:lnTo>
                <a:lnTo>
                  <a:pt x="1052194" y="181990"/>
                </a:lnTo>
                <a:lnTo>
                  <a:pt x="1058163" y="180720"/>
                </a:lnTo>
                <a:lnTo>
                  <a:pt x="1062735" y="178180"/>
                </a:lnTo>
                <a:lnTo>
                  <a:pt x="1062735" y="165607"/>
                </a:lnTo>
                <a:lnTo>
                  <a:pt x="1043685" y="165607"/>
                </a:lnTo>
                <a:lnTo>
                  <a:pt x="1039113" y="163956"/>
                </a:lnTo>
                <a:lnTo>
                  <a:pt x="1036446" y="160400"/>
                </a:lnTo>
                <a:lnTo>
                  <a:pt x="1033652" y="156971"/>
                </a:lnTo>
                <a:lnTo>
                  <a:pt x="1032255" y="151256"/>
                </a:lnTo>
                <a:lnTo>
                  <a:pt x="1032255" y="74802"/>
                </a:lnTo>
                <a:close/>
              </a:path>
              <a:path w="1389379" h="182245">
                <a:moveTo>
                  <a:pt x="1062735" y="161670"/>
                </a:moveTo>
                <a:lnTo>
                  <a:pt x="1059306" y="164337"/>
                </a:lnTo>
                <a:lnTo>
                  <a:pt x="1054988" y="165607"/>
                </a:lnTo>
                <a:lnTo>
                  <a:pt x="1062735" y="165607"/>
                </a:lnTo>
                <a:lnTo>
                  <a:pt x="1062735" y="161670"/>
                </a:lnTo>
                <a:close/>
              </a:path>
              <a:path w="1389379" h="182245">
                <a:moveTo>
                  <a:pt x="1062735" y="58292"/>
                </a:moveTo>
                <a:lnTo>
                  <a:pt x="991996" y="58292"/>
                </a:lnTo>
                <a:lnTo>
                  <a:pt x="991996" y="74802"/>
                </a:lnTo>
                <a:lnTo>
                  <a:pt x="1062735" y="74802"/>
                </a:lnTo>
                <a:lnTo>
                  <a:pt x="1062735" y="58292"/>
                </a:lnTo>
                <a:close/>
              </a:path>
              <a:path w="1389379" h="182245">
                <a:moveTo>
                  <a:pt x="1032255" y="22351"/>
                </a:moveTo>
                <a:lnTo>
                  <a:pt x="1012825" y="28701"/>
                </a:lnTo>
                <a:lnTo>
                  <a:pt x="1012825" y="58292"/>
                </a:lnTo>
                <a:lnTo>
                  <a:pt x="1032255" y="58292"/>
                </a:lnTo>
                <a:lnTo>
                  <a:pt x="1032255" y="22351"/>
                </a:lnTo>
                <a:close/>
              </a:path>
              <a:path w="1389379" h="182245">
                <a:moveTo>
                  <a:pt x="1102359" y="2285"/>
                </a:moveTo>
                <a:lnTo>
                  <a:pt x="1095375" y="2285"/>
                </a:lnTo>
                <a:lnTo>
                  <a:pt x="1092453" y="3428"/>
                </a:lnTo>
                <a:lnTo>
                  <a:pt x="1089913" y="5841"/>
                </a:lnTo>
                <a:lnTo>
                  <a:pt x="1087501" y="8254"/>
                </a:lnTo>
                <a:lnTo>
                  <a:pt x="1086230" y="11302"/>
                </a:lnTo>
                <a:lnTo>
                  <a:pt x="1086230" y="18541"/>
                </a:lnTo>
                <a:lnTo>
                  <a:pt x="1087501" y="21589"/>
                </a:lnTo>
                <a:lnTo>
                  <a:pt x="1092453" y="26288"/>
                </a:lnTo>
                <a:lnTo>
                  <a:pt x="1095375" y="27431"/>
                </a:lnTo>
                <a:lnTo>
                  <a:pt x="1102359" y="27431"/>
                </a:lnTo>
                <a:lnTo>
                  <a:pt x="1105407" y="26288"/>
                </a:lnTo>
                <a:lnTo>
                  <a:pt x="1107820" y="23748"/>
                </a:lnTo>
                <a:lnTo>
                  <a:pt x="1110360" y="21335"/>
                </a:lnTo>
                <a:lnTo>
                  <a:pt x="1111575" y="18541"/>
                </a:lnTo>
                <a:lnTo>
                  <a:pt x="1111630" y="11302"/>
                </a:lnTo>
                <a:lnTo>
                  <a:pt x="1110360" y="8254"/>
                </a:lnTo>
                <a:lnTo>
                  <a:pt x="1107820" y="5841"/>
                </a:lnTo>
                <a:lnTo>
                  <a:pt x="1105407" y="3428"/>
                </a:lnTo>
                <a:lnTo>
                  <a:pt x="1102359" y="2285"/>
                </a:lnTo>
                <a:close/>
              </a:path>
              <a:path w="1389379" h="182245">
                <a:moveTo>
                  <a:pt x="1108328" y="58292"/>
                </a:moveTo>
                <a:lnTo>
                  <a:pt x="1088898" y="58292"/>
                </a:lnTo>
                <a:lnTo>
                  <a:pt x="1088898" y="179450"/>
                </a:lnTo>
                <a:lnTo>
                  <a:pt x="1108328" y="179450"/>
                </a:lnTo>
                <a:lnTo>
                  <a:pt x="1108328" y="58292"/>
                </a:lnTo>
                <a:close/>
              </a:path>
              <a:path w="1389379" h="182245">
                <a:moveTo>
                  <a:pt x="1201801" y="55371"/>
                </a:moveTo>
                <a:lnTo>
                  <a:pt x="1156696" y="72542"/>
                </a:lnTo>
                <a:lnTo>
                  <a:pt x="1140078" y="120268"/>
                </a:lnTo>
                <a:lnTo>
                  <a:pt x="1141079" y="133580"/>
                </a:lnTo>
                <a:lnTo>
                  <a:pt x="1164770" y="172654"/>
                </a:lnTo>
                <a:lnTo>
                  <a:pt x="1199006" y="182244"/>
                </a:lnTo>
                <a:lnTo>
                  <a:pt x="1212052" y="181149"/>
                </a:lnTo>
                <a:lnTo>
                  <a:pt x="1223740" y="177863"/>
                </a:lnTo>
                <a:lnTo>
                  <a:pt x="1234047" y="172386"/>
                </a:lnTo>
                <a:lnTo>
                  <a:pt x="1241622" y="165861"/>
                </a:lnTo>
                <a:lnTo>
                  <a:pt x="1200403" y="165861"/>
                </a:lnTo>
                <a:lnTo>
                  <a:pt x="1191639" y="165098"/>
                </a:lnTo>
                <a:lnTo>
                  <a:pt x="1162653" y="138763"/>
                </a:lnTo>
                <a:lnTo>
                  <a:pt x="1159942" y="120268"/>
                </a:lnTo>
                <a:lnTo>
                  <a:pt x="1159965" y="118363"/>
                </a:lnTo>
                <a:lnTo>
                  <a:pt x="1176740" y="78880"/>
                </a:lnTo>
                <a:lnTo>
                  <a:pt x="1200403" y="71754"/>
                </a:lnTo>
                <a:lnTo>
                  <a:pt x="1243657" y="71754"/>
                </a:lnTo>
                <a:lnTo>
                  <a:pt x="1235733" y="64801"/>
                </a:lnTo>
                <a:lnTo>
                  <a:pt x="1225899" y="59562"/>
                </a:lnTo>
                <a:lnTo>
                  <a:pt x="1214588" y="56419"/>
                </a:lnTo>
                <a:lnTo>
                  <a:pt x="1201801" y="55371"/>
                </a:lnTo>
                <a:close/>
              </a:path>
              <a:path w="1389379" h="182245">
                <a:moveTo>
                  <a:pt x="1243657" y="71754"/>
                </a:moveTo>
                <a:lnTo>
                  <a:pt x="1200403" y="71754"/>
                </a:lnTo>
                <a:lnTo>
                  <a:pt x="1209262" y="72516"/>
                </a:lnTo>
                <a:lnTo>
                  <a:pt x="1217072" y="74818"/>
                </a:lnTo>
                <a:lnTo>
                  <a:pt x="1238771" y="108309"/>
                </a:lnTo>
                <a:lnTo>
                  <a:pt x="1239356" y="118363"/>
                </a:lnTo>
                <a:lnTo>
                  <a:pt x="1239318" y="120268"/>
                </a:lnTo>
                <a:lnTo>
                  <a:pt x="1223764" y="159003"/>
                </a:lnTo>
                <a:lnTo>
                  <a:pt x="1200403" y="165861"/>
                </a:lnTo>
                <a:lnTo>
                  <a:pt x="1241622" y="165861"/>
                </a:lnTo>
                <a:lnTo>
                  <a:pt x="1259331" y="118363"/>
                </a:lnTo>
                <a:lnTo>
                  <a:pt x="1258379" y="104390"/>
                </a:lnTo>
                <a:lnTo>
                  <a:pt x="1255522" y="92011"/>
                </a:lnTo>
                <a:lnTo>
                  <a:pt x="1250759" y="81252"/>
                </a:lnTo>
                <a:lnTo>
                  <a:pt x="1244091" y="72135"/>
                </a:lnTo>
                <a:lnTo>
                  <a:pt x="1243657" y="71754"/>
                </a:lnTo>
                <a:close/>
              </a:path>
              <a:path w="1389379" h="182245">
                <a:moveTo>
                  <a:pt x="1307973" y="58292"/>
                </a:moveTo>
                <a:lnTo>
                  <a:pt x="1288541" y="58292"/>
                </a:lnTo>
                <a:lnTo>
                  <a:pt x="1288541" y="179450"/>
                </a:lnTo>
                <a:lnTo>
                  <a:pt x="1307973" y="179450"/>
                </a:lnTo>
                <a:lnTo>
                  <a:pt x="1307973" y="110235"/>
                </a:lnTo>
                <a:lnTo>
                  <a:pt x="1308568" y="102286"/>
                </a:lnTo>
                <a:lnTo>
                  <a:pt x="1310354" y="95027"/>
                </a:lnTo>
                <a:lnTo>
                  <a:pt x="1313330" y="88483"/>
                </a:lnTo>
                <a:lnTo>
                  <a:pt x="1317498" y="82676"/>
                </a:lnTo>
                <a:lnTo>
                  <a:pt x="1322047" y="78358"/>
                </a:lnTo>
                <a:lnTo>
                  <a:pt x="1307973" y="78358"/>
                </a:lnTo>
                <a:lnTo>
                  <a:pt x="1307973" y="58292"/>
                </a:lnTo>
                <a:close/>
              </a:path>
              <a:path w="1389379" h="182245">
                <a:moveTo>
                  <a:pt x="1380863" y="71754"/>
                </a:moveTo>
                <a:lnTo>
                  <a:pt x="1341501" y="71754"/>
                </a:lnTo>
                <a:lnTo>
                  <a:pt x="1353835" y="74160"/>
                </a:lnTo>
                <a:lnTo>
                  <a:pt x="1362646" y="81375"/>
                </a:lnTo>
                <a:lnTo>
                  <a:pt x="1367932" y="93400"/>
                </a:lnTo>
                <a:lnTo>
                  <a:pt x="1369694" y="110235"/>
                </a:lnTo>
                <a:lnTo>
                  <a:pt x="1369694" y="179450"/>
                </a:lnTo>
                <a:lnTo>
                  <a:pt x="1389126" y="179450"/>
                </a:lnTo>
                <a:lnTo>
                  <a:pt x="1389126" y="105282"/>
                </a:lnTo>
                <a:lnTo>
                  <a:pt x="1388461" y="93898"/>
                </a:lnTo>
                <a:lnTo>
                  <a:pt x="1386474" y="83931"/>
                </a:lnTo>
                <a:lnTo>
                  <a:pt x="1383178" y="75368"/>
                </a:lnTo>
                <a:lnTo>
                  <a:pt x="1380863" y="71754"/>
                </a:lnTo>
                <a:close/>
              </a:path>
              <a:path w="1389379" h="182245">
                <a:moveTo>
                  <a:pt x="1348104" y="55371"/>
                </a:moveTo>
                <a:lnTo>
                  <a:pt x="1335911" y="56802"/>
                </a:lnTo>
                <a:lnTo>
                  <a:pt x="1325229" y="61102"/>
                </a:lnTo>
                <a:lnTo>
                  <a:pt x="1316047" y="68284"/>
                </a:lnTo>
                <a:lnTo>
                  <a:pt x="1308353" y="78358"/>
                </a:lnTo>
                <a:lnTo>
                  <a:pt x="1322047" y="78358"/>
                </a:lnTo>
                <a:lnTo>
                  <a:pt x="1322570" y="77862"/>
                </a:lnTo>
                <a:lnTo>
                  <a:pt x="1328261" y="74453"/>
                </a:lnTo>
                <a:lnTo>
                  <a:pt x="1334571" y="72425"/>
                </a:lnTo>
                <a:lnTo>
                  <a:pt x="1341501" y="71754"/>
                </a:lnTo>
                <a:lnTo>
                  <a:pt x="1380863" y="71754"/>
                </a:lnTo>
                <a:lnTo>
                  <a:pt x="1378584" y="68198"/>
                </a:lnTo>
                <a:lnTo>
                  <a:pt x="1372750" y="62605"/>
                </a:lnTo>
                <a:lnTo>
                  <a:pt x="1365726" y="58594"/>
                </a:lnTo>
                <a:lnTo>
                  <a:pt x="1357510" y="56179"/>
                </a:lnTo>
                <a:lnTo>
                  <a:pt x="1348104" y="55371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7150813" y="1869956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90" h="429894">
                <a:moveTo>
                  <a:pt x="0" y="429768"/>
                </a:moveTo>
                <a:lnTo>
                  <a:pt x="1850135" y="429768"/>
                </a:lnTo>
                <a:lnTo>
                  <a:pt x="1850135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7349198" y="1969030"/>
            <a:ext cx="959700" cy="230882"/>
          </a:xfrm>
          <a:custGeom>
            <a:avLst/>
            <a:gdLst/>
            <a:ahLst/>
            <a:cxnLst/>
            <a:rect l="l" t="t" r="r" b="b"/>
            <a:pathLst>
              <a:path w="1304925" h="235585">
                <a:moveTo>
                  <a:pt x="85598" y="9779"/>
                </a:moveTo>
                <a:lnTo>
                  <a:pt x="65024" y="9779"/>
                </a:lnTo>
                <a:lnTo>
                  <a:pt x="0" y="179450"/>
                </a:lnTo>
                <a:lnTo>
                  <a:pt x="22098" y="179450"/>
                </a:lnTo>
                <a:lnTo>
                  <a:pt x="38988" y="131825"/>
                </a:lnTo>
                <a:lnTo>
                  <a:pt x="132644" y="131825"/>
                </a:lnTo>
                <a:lnTo>
                  <a:pt x="125741" y="113919"/>
                </a:lnTo>
                <a:lnTo>
                  <a:pt x="45592" y="113919"/>
                </a:lnTo>
                <a:lnTo>
                  <a:pt x="73025" y="38862"/>
                </a:lnTo>
                <a:lnTo>
                  <a:pt x="73913" y="35179"/>
                </a:lnTo>
                <a:lnTo>
                  <a:pt x="74802" y="30353"/>
                </a:lnTo>
                <a:lnTo>
                  <a:pt x="93528" y="30353"/>
                </a:lnTo>
                <a:lnTo>
                  <a:pt x="85598" y="9779"/>
                </a:lnTo>
                <a:close/>
              </a:path>
              <a:path w="1304925" h="235585">
                <a:moveTo>
                  <a:pt x="132644" y="131825"/>
                </a:moveTo>
                <a:lnTo>
                  <a:pt x="110998" y="131825"/>
                </a:lnTo>
                <a:lnTo>
                  <a:pt x="128904" y="179450"/>
                </a:lnTo>
                <a:lnTo>
                  <a:pt x="151002" y="179450"/>
                </a:lnTo>
                <a:lnTo>
                  <a:pt x="132644" y="131825"/>
                </a:lnTo>
                <a:close/>
              </a:path>
              <a:path w="1304925" h="235585">
                <a:moveTo>
                  <a:pt x="93528" y="30353"/>
                </a:moveTo>
                <a:lnTo>
                  <a:pt x="75183" y="30353"/>
                </a:lnTo>
                <a:lnTo>
                  <a:pt x="76073" y="35560"/>
                </a:lnTo>
                <a:lnTo>
                  <a:pt x="76961" y="39370"/>
                </a:lnTo>
                <a:lnTo>
                  <a:pt x="77850" y="41656"/>
                </a:lnTo>
                <a:lnTo>
                  <a:pt x="104393" y="113919"/>
                </a:lnTo>
                <a:lnTo>
                  <a:pt x="125741" y="113919"/>
                </a:lnTo>
                <a:lnTo>
                  <a:pt x="93528" y="30353"/>
                </a:lnTo>
                <a:close/>
              </a:path>
              <a:path w="1304925" h="235585">
                <a:moveTo>
                  <a:pt x="193421" y="58293"/>
                </a:moveTo>
                <a:lnTo>
                  <a:pt x="173989" y="58293"/>
                </a:lnTo>
                <a:lnTo>
                  <a:pt x="173989" y="235077"/>
                </a:lnTo>
                <a:lnTo>
                  <a:pt x="193421" y="235077"/>
                </a:lnTo>
                <a:lnTo>
                  <a:pt x="193421" y="161925"/>
                </a:lnTo>
                <a:lnTo>
                  <a:pt x="211818" y="161925"/>
                </a:lnTo>
                <a:lnTo>
                  <a:pt x="193421" y="129921"/>
                </a:lnTo>
                <a:lnTo>
                  <a:pt x="193421" y="113030"/>
                </a:lnTo>
                <a:lnTo>
                  <a:pt x="208073" y="79502"/>
                </a:lnTo>
                <a:lnTo>
                  <a:pt x="193421" y="79502"/>
                </a:lnTo>
                <a:lnTo>
                  <a:pt x="193421" y="58293"/>
                </a:lnTo>
                <a:close/>
              </a:path>
              <a:path w="1304925" h="235585">
                <a:moveTo>
                  <a:pt x="211818" y="161925"/>
                </a:moveTo>
                <a:lnTo>
                  <a:pt x="193801" y="161925"/>
                </a:lnTo>
                <a:lnTo>
                  <a:pt x="200923" y="170832"/>
                </a:lnTo>
                <a:lnTo>
                  <a:pt x="209343" y="177180"/>
                </a:lnTo>
                <a:lnTo>
                  <a:pt x="219073" y="180980"/>
                </a:lnTo>
                <a:lnTo>
                  <a:pt x="230124" y="182245"/>
                </a:lnTo>
                <a:lnTo>
                  <a:pt x="242294" y="181101"/>
                </a:lnTo>
                <a:lnTo>
                  <a:pt x="253095" y="177673"/>
                </a:lnTo>
                <a:lnTo>
                  <a:pt x="262538" y="171958"/>
                </a:lnTo>
                <a:lnTo>
                  <a:pt x="268708" y="165862"/>
                </a:lnTo>
                <a:lnTo>
                  <a:pt x="227964" y="165862"/>
                </a:lnTo>
                <a:lnTo>
                  <a:pt x="220773" y="165217"/>
                </a:lnTo>
                <a:lnTo>
                  <a:pt x="214248" y="163274"/>
                </a:lnTo>
                <a:lnTo>
                  <a:pt x="211818" y="161925"/>
                </a:lnTo>
                <a:close/>
              </a:path>
              <a:path w="1304925" h="235585">
                <a:moveTo>
                  <a:pt x="272370" y="71755"/>
                </a:moveTo>
                <a:lnTo>
                  <a:pt x="230885" y="71755"/>
                </a:lnTo>
                <a:lnTo>
                  <a:pt x="238460" y="72469"/>
                </a:lnTo>
                <a:lnTo>
                  <a:pt x="245189" y="74612"/>
                </a:lnTo>
                <a:lnTo>
                  <a:pt x="265438" y="113030"/>
                </a:lnTo>
                <a:lnTo>
                  <a:pt x="265536" y="115316"/>
                </a:lnTo>
                <a:lnTo>
                  <a:pt x="264935" y="126271"/>
                </a:lnTo>
                <a:lnTo>
                  <a:pt x="243649" y="162512"/>
                </a:lnTo>
                <a:lnTo>
                  <a:pt x="227964" y="165862"/>
                </a:lnTo>
                <a:lnTo>
                  <a:pt x="268708" y="165862"/>
                </a:lnTo>
                <a:lnTo>
                  <a:pt x="284567" y="129720"/>
                </a:lnTo>
                <a:lnTo>
                  <a:pt x="285496" y="115316"/>
                </a:lnTo>
                <a:lnTo>
                  <a:pt x="284664" y="102310"/>
                </a:lnTo>
                <a:lnTo>
                  <a:pt x="282178" y="90709"/>
                </a:lnTo>
                <a:lnTo>
                  <a:pt x="278048" y="80490"/>
                </a:lnTo>
                <a:lnTo>
                  <a:pt x="272370" y="71755"/>
                </a:lnTo>
                <a:close/>
              </a:path>
              <a:path w="1304925" h="235585">
                <a:moveTo>
                  <a:pt x="235711" y="55372"/>
                </a:moveTo>
                <a:lnTo>
                  <a:pt x="222805" y="56892"/>
                </a:lnTo>
                <a:lnTo>
                  <a:pt x="211518" y="61436"/>
                </a:lnTo>
                <a:lnTo>
                  <a:pt x="201850" y="68980"/>
                </a:lnTo>
                <a:lnTo>
                  <a:pt x="193801" y="79502"/>
                </a:lnTo>
                <a:lnTo>
                  <a:pt x="208073" y="79502"/>
                </a:lnTo>
                <a:lnTo>
                  <a:pt x="209258" y="78398"/>
                </a:lnTo>
                <a:lnTo>
                  <a:pt x="215630" y="74707"/>
                </a:lnTo>
                <a:lnTo>
                  <a:pt x="222835" y="72493"/>
                </a:lnTo>
                <a:lnTo>
                  <a:pt x="230885" y="71755"/>
                </a:lnTo>
                <a:lnTo>
                  <a:pt x="272370" y="71755"/>
                </a:lnTo>
                <a:lnTo>
                  <a:pt x="265072" y="64533"/>
                </a:lnTo>
                <a:lnTo>
                  <a:pt x="256571" y="59451"/>
                </a:lnTo>
                <a:lnTo>
                  <a:pt x="246784" y="56393"/>
                </a:lnTo>
                <a:lnTo>
                  <a:pt x="235711" y="55372"/>
                </a:lnTo>
                <a:close/>
              </a:path>
              <a:path w="1304925" h="235585">
                <a:moveTo>
                  <a:pt x="335152" y="58293"/>
                </a:moveTo>
                <a:lnTo>
                  <a:pt x="315722" y="58293"/>
                </a:lnTo>
                <a:lnTo>
                  <a:pt x="315722" y="235077"/>
                </a:lnTo>
                <a:lnTo>
                  <a:pt x="335152" y="235077"/>
                </a:lnTo>
                <a:lnTo>
                  <a:pt x="335152" y="161925"/>
                </a:lnTo>
                <a:lnTo>
                  <a:pt x="353550" y="161925"/>
                </a:lnTo>
                <a:lnTo>
                  <a:pt x="335152" y="129921"/>
                </a:lnTo>
                <a:lnTo>
                  <a:pt x="335152" y="113030"/>
                </a:lnTo>
                <a:lnTo>
                  <a:pt x="349805" y="79502"/>
                </a:lnTo>
                <a:lnTo>
                  <a:pt x="335152" y="79502"/>
                </a:lnTo>
                <a:lnTo>
                  <a:pt x="335152" y="58293"/>
                </a:lnTo>
                <a:close/>
              </a:path>
              <a:path w="1304925" h="235585">
                <a:moveTo>
                  <a:pt x="353550" y="161925"/>
                </a:moveTo>
                <a:lnTo>
                  <a:pt x="335533" y="161925"/>
                </a:lnTo>
                <a:lnTo>
                  <a:pt x="342655" y="170832"/>
                </a:lnTo>
                <a:lnTo>
                  <a:pt x="351075" y="177180"/>
                </a:lnTo>
                <a:lnTo>
                  <a:pt x="360805" y="180980"/>
                </a:lnTo>
                <a:lnTo>
                  <a:pt x="371855" y="182245"/>
                </a:lnTo>
                <a:lnTo>
                  <a:pt x="384026" y="181101"/>
                </a:lnTo>
                <a:lnTo>
                  <a:pt x="394827" y="177673"/>
                </a:lnTo>
                <a:lnTo>
                  <a:pt x="404270" y="171958"/>
                </a:lnTo>
                <a:lnTo>
                  <a:pt x="410440" y="165862"/>
                </a:lnTo>
                <a:lnTo>
                  <a:pt x="369697" y="165862"/>
                </a:lnTo>
                <a:lnTo>
                  <a:pt x="362505" y="165217"/>
                </a:lnTo>
                <a:lnTo>
                  <a:pt x="355980" y="163274"/>
                </a:lnTo>
                <a:lnTo>
                  <a:pt x="353550" y="161925"/>
                </a:lnTo>
                <a:close/>
              </a:path>
              <a:path w="1304925" h="235585">
                <a:moveTo>
                  <a:pt x="414102" y="71755"/>
                </a:moveTo>
                <a:lnTo>
                  <a:pt x="372617" y="71755"/>
                </a:lnTo>
                <a:lnTo>
                  <a:pt x="380192" y="72469"/>
                </a:lnTo>
                <a:lnTo>
                  <a:pt x="386921" y="74612"/>
                </a:lnTo>
                <a:lnTo>
                  <a:pt x="407170" y="113030"/>
                </a:lnTo>
                <a:lnTo>
                  <a:pt x="407268" y="115316"/>
                </a:lnTo>
                <a:lnTo>
                  <a:pt x="406667" y="126271"/>
                </a:lnTo>
                <a:lnTo>
                  <a:pt x="385381" y="162512"/>
                </a:lnTo>
                <a:lnTo>
                  <a:pt x="369697" y="165862"/>
                </a:lnTo>
                <a:lnTo>
                  <a:pt x="410440" y="165862"/>
                </a:lnTo>
                <a:lnTo>
                  <a:pt x="426299" y="129720"/>
                </a:lnTo>
                <a:lnTo>
                  <a:pt x="427227" y="115316"/>
                </a:lnTo>
                <a:lnTo>
                  <a:pt x="426396" y="102310"/>
                </a:lnTo>
                <a:lnTo>
                  <a:pt x="423910" y="90709"/>
                </a:lnTo>
                <a:lnTo>
                  <a:pt x="419780" y="80490"/>
                </a:lnTo>
                <a:lnTo>
                  <a:pt x="414102" y="71755"/>
                </a:lnTo>
                <a:close/>
              </a:path>
              <a:path w="1304925" h="235585">
                <a:moveTo>
                  <a:pt x="377443" y="55372"/>
                </a:moveTo>
                <a:lnTo>
                  <a:pt x="364537" y="56892"/>
                </a:lnTo>
                <a:lnTo>
                  <a:pt x="353250" y="61436"/>
                </a:lnTo>
                <a:lnTo>
                  <a:pt x="343582" y="68980"/>
                </a:lnTo>
                <a:lnTo>
                  <a:pt x="335533" y="79502"/>
                </a:lnTo>
                <a:lnTo>
                  <a:pt x="349805" y="79502"/>
                </a:lnTo>
                <a:lnTo>
                  <a:pt x="350990" y="78398"/>
                </a:lnTo>
                <a:lnTo>
                  <a:pt x="357362" y="74707"/>
                </a:lnTo>
                <a:lnTo>
                  <a:pt x="364567" y="72493"/>
                </a:lnTo>
                <a:lnTo>
                  <a:pt x="372617" y="71755"/>
                </a:lnTo>
                <a:lnTo>
                  <a:pt x="414102" y="71755"/>
                </a:lnTo>
                <a:lnTo>
                  <a:pt x="406804" y="64533"/>
                </a:lnTo>
                <a:lnTo>
                  <a:pt x="398303" y="59451"/>
                </a:lnTo>
                <a:lnTo>
                  <a:pt x="388516" y="56393"/>
                </a:lnTo>
                <a:lnTo>
                  <a:pt x="377443" y="55372"/>
                </a:lnTo>
                <a:close/>
              </a:path>
              <a:path w="1304925" h="235585">
                <a:moveTo>
                  <a:pt x="476884" y="0"/>
                </a:moveTo>
                <a:lnTo>
                  <a:pt x="457453" y="0"/>
                </a:lnTo>
                <a:lnTo>
                  <a:pt x="457453" y="179450"/>
                </a:lnTo>
                <a:lnTo>
                  <a:pt x="476884" y="179450"/>
                </a:lnTo>
                <a:lnTo>
                  <a:pt x="476884" y="0"/>
                </a:lnTo>
                <a:close/>
              </a:path>
              <a:path w="1304925" h="235585">
                <a:moveTo>
                  <a:pt x="530351" y="2286"/>
                </a:moveTo>
                <a:lnTo>
                  <a:pt x="523366" y="2286"/>
                </a:lnTo>
                <a:lnTo>
                  <a:pt x="520446" y="3429"/>
                </a:lnTo>
                <a:lnTo>
                  <a:pt x="517905" y="5842"/>
                </a:lnTo>
                <a:lnTo>
                  <a:pt x="515492" y="8255"/>
                </a:lnTo>
                <a:lnTo>
                  <a:pt x="514223" y="11303"/>
                </a:lnTo>
                <a:lnTo>
                  <a:pt x="514223" y="18542"/>
                </a:lnTo>
                <a:lnTo>
                  <a:pt x="515492" y="21590"/>
                </a:lnTo>
                <a:lnTo>
                  <a:pt x="520446" y="26289"/>
                </a:lnTo>
                <a:lnTo>
                  <a:pt x="523366" y="27432"/>
                </a:lnTo>
                <a:lnTo>
                  <a:pt x="530351" y="27432"/>
                </a:lnTo>
                <a:lnTo>
                  <a:pt x="533400" y="26289"/>
                </a:lnTo>
                <a:lnTo>
                  <a:pt x="538352" y="21336"/>
                </a:lnTo>
                <a:lnTo>
                  <a:pt x="539567" y="18542"/>
                </a:lnTo>
                <a:lnTo>
                  <a:pt x="539623" y="11303"/>
                </a:lnTo>
                <a:lnTo>
                  <a:pt x="538352" y="8255"/>
                </a:lnTo>
                <a:lnTo>
                  <a:pt x="535812" y="5842"/>
                </a:lnTo>
                <a:lnTo>
                  <a:pt x="533400" y="3429"/>
                </a:lnTo>
                <a:lnTo>
                  <a:pt x="530351" y="2286"/>
                </a:lnTo>
                <a:close/>
              </a:path>
              <a:path w="1304925" h="235585">
                <a:moveTo>
                  <a:pt x="536321" y="58293"/>
                </a:moveTo>
                <a:lnTo>
                  <a:pt x="516889" y="58293"/>
                </a:lnTo>
                <a:lnTo>
                  <a:pt x="516889" y="179450"/>
                </a:lnTo>
                <a:lnTo>
                  <a:pt x="536321" y="179450"/>
                </a:lnTo>
                <a:lnTo>
                  <a:pt x="536321" y="58293"/>
                </a:lnTo>
                <a:close/>
              </a:path>
              <a:path w="1304925" h="235585">
                <a:moveTo>
                  <a:pt x="630935" y="55372"/>
                </a:moveTo>
                <a:lnTo>
                  <a:pt x="585215" y="73533"/>
                </a:lnTo>
                <a:lnTo>
                  <a:pt x="568071" y="121666"/>
                </a:lnTo>
                <a:lnTo>
                  <a:pt x="569051" y="134475"/>
                </a:lnTo>
                <a:lnTo>
                  <a:pt x="592546" y="172761"/>
                </a:lnTo>
                <a:lnTo>
                  <a:pt x="625728" y="182245"/>
                </a:lnTo>
                <a:lnTo>
                  <a:pt x="635015" y="181721"/>
                </a:lnTo>
                <a:lnTo>
                  <a:pt x="643635" y="180149"/>
                </a:lnTo>
                <a:lnTo>
                  <a:pt x="651589" y="177530"/>
                </a:lnTo>
                <a:lnTo>
                  <a:pt x="658876" y="173862"/>
                </a:lnTo>
                <a:lnTo>
                  <a:pt x="658876" y="165862"/>
                </a:lnTo>
                <a:lnTo>
                  <a:pt x="629030" y="165862"/>
                </a:lnTo>
                <a:lnTo>
                  <a:pt x="620150" y="165100"/>
                </a:lnTo>
                <a:lnTo>
                  <a:pt x="590708" y="139080"/>
                </a:lnTo>
                <a:lnTo>
                  <a:pt x="587882" y="120015"/>
                </a:lnTo>
                <a:lnTo>
                  <a:pt x="588623" y="109700"/>
                </a:lnTo>
                <a:lnTo>
                  <a:pt x="613346" y="75088"/>
                </a:lnTo>
                <a:lnTo>
                  <a:pt x="630301" y="71755"/>
                </a:lnTo>
                <a:lnTo>
                  <a:pt x="659129" y="71755"/>
                </a:lnTo>
                <a:lnTo>
                  <a:pt x="659129" y="61341"/>
                </a:lnTo>
                <a:lnTo>
                  <a:pt x="652795" y="58747"/>
                </a:lnTo>
                <a:lnTo>
                  <a:pt x="645985" y="56880"/>
                </a:lnTo>
                <a:lnTo>
                  <a:pt x="638698" y="55751"/>
                </a:lnTo>
                <a:lnTo>
                  <a:pt x="630935" y="55372"/>
                </a:lnTo>
                <a:close/>
              </a:path>
              <a:path w="1304925" h="235585">
                <a:moveTo>
                  <a:pt x="658876" y="155448"/>
                </a:moveTo>
                <a:lnTo>
                  <a:pt x="651801" y="160021"/>
                </a:lnTo>
                <a:lnTo>
                  <a:pt x="644477" y="163274"/>
                </a:lnTo>
                <a:lnTo>
                  <a:pt x="636891" y="165217"/>
                </a:lnTo>
                <a:lnTo>
                  <a:pt x="629030" y="165862"/>
                </a:lnTo>
                <a:lnTo>
                  <a:pt x="658876" y="165862"/>
                </a:lnTo>
                <a:lnTo>
                  <a:pt x="658876" y="155448"/>
                </a:lnTo>
                <a:close/>
              </a:path>
              <a:path w="1304925" h="235585">
                <a:moveTo>
                  <a:pt x="659129" y="71755"/>
                </a:moveTo>
                <a:lnTo>
                  <a:pt x="630301" y="71755"/>
                </a:lnTo>
                <a:lnTo>
                  <a:pt x="637877" y="72348"/>
                </a:lnTo>
                <a:lnTo>
                  <a:pt x="645191" y="74120"/>
                </a:lnTo>
                <a:lnTo>
                  <a:pt x="652268" y="77059"/>
                </a:lnTo>
                <a:lnTo>
                  <a:pt x="659129" y="81153"/>
                </a:lnTo>
                <a:lnTo>
                  <a:pt x="659129" y="71755"/>
                </a:lnTo>
                <a:close/>
              </a:path>
              <a:path w="1304925" h="235585">
                <a:moveTo>
                  <a:pt x="766518" y="71755"/>
                </a:moveTo>
                <a:lnTo>
                  <a:pt x="729868" y="71755"/>
                </a:lnTo>
                <a:lnTo>
                  <a:pt x="740850" y="73683"/>
                </a:lnTo>
                <a:lnTo>
                  <a:pt x="748664" y="79470"/>
                </a:lnTo>
                <a:lnTo>
                  <a:pt x="753336" y="89114"/>
                </a:lnTo>
                <a:lnTo>
                  <a:pt x="754887" y="102616"/>
                </a:lnTo>
                <a:lnTo>
                  <a:pt x="718565" y="107696"/>
                </a:lnTo>
                <a:lnTo>
                  <a:pt x="701063" y="112242"/>
                </a:lnTo>
                <a:lnTo>
                  <a:pt x="688562" y="120348"/>
                </a:lnTo>
                <a:lnTo>
                  <a:pt x="681061" y="132002"/>
                </a:lnTo>
                <a:lnTo>
                  <a:pt x="678560" y="147193"/>
                </a:lnTo>
                <a:lnTo>
                  <a:pt x="679203" y="154717"/>
                </a:lnTo>
                <a:lnTo>
                  <a:pt x="708600" y="181649"/>
                </a:lnTo>
                <a:lnTo>
                  <a:pt x="717168" y="182245"/>
                </a:lnTo>
                <a:lnTo>
                  <a:pt x="728716" y="180887"/>
                </a:lnTo>
                <a:lnTo>
                  <a:pt x="738774" y="176815"/>
                </a:lnTo>
                <a:lnTo>
                  <a:pt x="747333" y="170029"/>
                </a:lnTo>
                <a:lnTo>
                  <a:pt x="750424" y="165862"/>
                </a:lnTo>
                <a:lnTo>
                  <a:pt x="714628" y="165862"/>
                </a:lnTo>
                <a:lnTo>
                  <a:pt x="709040" y="164084"/>
                </a:lnTo>
                <a:lnTo>
                  <a:pt x="700531" y="156591"/>
                </a:lnTo>
                <a:lnTo>
                  <a:pt x="698500" y="151765"/>
                </a:lnTo>
                <a:lnTo>
                  <a:pt x="698537" y="137576"/>
                </a:lnTo>
                <a:lnTo>
                  <a:pt x="754887" y="118110"/>
                </a:lnTo>
                <a:lnTo>
                  <a:pt x="774318" y="118110"/>
                </a:lnTo>
                <a:lnTo>
                  <a:pt x="774318" y="100584"/>
                </a:lnTo>
                <a:lnTo>
                  <a:pt x="771651" y="80821"/>
                </a:lnTo>
                <a:lnTo>
                  <a:pt x="766518" y="71755"/>
                </a:lnTo>
                <a:close/>
              </a:path>
              <a:path w="1304925" h="235585">
                <a:moveTo>
                  <a:pt x="774318" y="160528"/>
                </a:moveTo>
                <a:lnTo>
                  <a:pt x="754887" y="160528"/>
                </a:lnTo>
                <a:lnTo>
                  <a:pt x="754887" y="179450"/>
                </a:lnTo>
                <a:lnTo>
                  <a:pt x="774318" y="179450"/>
                </a:lnTo>
                <a:lnTo>
                  <a:pt x="774318" y="160528"/>
                </a:lnTo>
                <a:close/>
              </a:path>
              <a:path w="1304925" h="235585">
                <a:moveTo>
                  <a:pt x="774318" y="118110"/>
                </a:moveTo>
                <a:lnTo>
                  <a:pt x="754887" y="118110"/>
                </a:lnTo>
                <a:lnTo>
                  <a:pt x="754887" y="130175"/>
                </a:lnTo>
                <a:lnTo>
                  <a:pt x="754294" y="137576"/>
                </a:lnTo>
                <a:lnTo>
                  <a:pt x="721613" y="165862"/>
                </a:lnTo>
                <a:lnTo>
                  <a:pt x="750424" y="165862"/>
                </a:lnTo>
                <a:lnTo>
                  <a:pt x="754379" y="160528"/>
                </a:lnTo>
                <a:lnTo>
                  <a:pt x="774318" y="160528"/>
                </a:lnTo>
                <a:lnTo>
                  <a:pt x="774318" y="118110"/>
                </a:lnTo>
                <a:close/>
              </a:path>
              <a:path w="1304925" h="235585">
                <a:moveTo>
                  <a:pt x="731647" y="55372"/>
                </a:moveTo>
                <a:lnTo>
                  <a:pt x="720286" y="56086"/>
                </a:lnTo>
                <a:lnTo>
                  <a:pt x="709628" y="58229"/>
                </a:lnTo>
                <a:lnTo>
                  <a:pt x="699660" y="61801"/>
                </a:lnTo>
                <a:lnTo>
                  <a:pt x="690372" y="66802"/>
                </a:lnTo>
                <a:lnTo>
                  <a:pt x="690372" y="86614"/>
                </a:lnTo>
                <a:lnTo>
                  <a:pt x="699490" y="80113"/>
                </a:lnTo>
                <a:lnTo>
                  <a:pt x="709120" y="75469"/>
                </a:lnTo>
                <a:lnTo>
                  <a:pt x="719250" y="72683"/>
                </a:lnTo>
                <a:lnTo>
                  <a:pt x="729868" y="71755"/>
                </a:lnTo>
                <a:lnTo>
                  <a:pt x="766518" y="71755"/>
                </a:lnTo>
                <a:lnTo>
                  <a:pt x="763651" y="66690"/>
                </a:lnTo>
                <a:lnTo>
                  <a:pt x="750316" y="58203"/>
                </a:lnTo>
                <a:lnTo>
                  <a:pt x="731647" y="55372"/>
                </a:lnTo>
                <a:close/>
              </a:path>
              <a:path w="1304925" h="235585">
                <a:moveTo>
                  <a:pt x="836676" y="74803"/>
                </a:moveTo>
                <a:lnTo>
                  <a:pt x="817245" y="74803"/>
                </a:lnTo>
                <a:lnTo>
                  <a:pt x="817245" y="146558"/>
                </a:lnTo>
                <a:lnTo>
                  <a:pt x="819243" y="162059"/>
                </a:lnTo>
                <a:lnTo>
                  <a:pt x="825230" y="173132"/>
                </a:lnTo>
                <a:lnTo>
                  <a:pt x="835193" y="179776"/>
                </a:lnTo>
                <a:lnTo>
                  <a:pt x="849122" y="181991"/>
                </a:lnTo>
                <a:lnTo>
                  <a:pt x="856614" y="181991"/>
                </a:lnTo>
                <a:lnTo>
                  <a:pt x="862583" y="180721"/>
                </a:lnTo>
                <a:lnTo>
                  <a:pt x="867155" y="178181"/>
                </a:lnTo>
                <a:lnTo>
                  <a:pt x="867155" y="165735"/>
                </a:lnTo>
                <a:lnTo>
                  <a:pt x="848105" y="165735"/>
                </a:lnTo>
                <a:lnTo>
                  <a:pt x="843533" y="163957"/>
                </a:lnTo>
                <a:lnTo>
                  <a:pt x="838073" y="156972"/>
                </a:lnTo>
                <a:lnTo>
                  <a:pt x="836676" y="151257"/>
                </a:lnTo>
                <a:lnTo>
                  <a:pt x="836676" y="74803"/>
                </a:lnTo>
                <a:close/>
              </a:path>
              <a:path w="1304925" h="235585">
                <a:moveTo>
                  <a:pt x="867155" y="161671"/>
                </a:moveTo>
                <a:lnTo>
                  <a:pt x="863726" y="164337"/>
                </a:lnTo>
                <a:lnTo>
                  <a:pt x="859408" y="165735"/>
                </a:lnTo>
                <a:lnTo>
                  <a:pt x="867155" y="165735"/>
                </a:lnTo>
                <a:lnTo>
                  <a:pt x="867155" y="161671"/>
                </a:lnTo>
                <a:close/>
              </a:path>
              <a:path w="1304925" h="235585">
                <a:moveTo>
                  <a:pt x="867155" y="58293"/>
                </a:moveTo>
                <a:lnTo>
                  <a:pt x="796416" y="58293"/>
                </a:lnTo>
                <a:lnTo>
                  <a:pt x="796416" y="74803"/>
                </a:lnTo>
                <a:lnTo>
                  <a:pt x="867155" y="74803"/>
                </a:lnTo>
                <a:lnTo>
                  <a:pt x="867155" y="58293"/>
                </a:lnTo>
                <a:close/>
              </a:path>
              <a:path w="1304925" h="235585">
                <a:moveTo>
                  <a:pt x="836676" y="22352"/>
                </a:moveTo>
                <a:lnTo>
                  <a:pt x="817245" y="28702"/>
                </a:lnTo>
                <a:lnTo>
                  <a:pt x="817245" y="58293"/>
                </a:lnTo>
                <a:lnTo>
                  <a:pt x="836676" y="58293"/>
                </a:lnTo>
                <a:lnTo>
                  <a:pt x="836676" y="22352"/>
                </a:lnTo>
                <a:close/>
              </a:path>
              <a:path w="1304925" h="235585">
                <a:moveTo>
                  <a:pt x="906779" y="2286"/>
                </a:moveTo>
                <a:lnTo>
                  <a:pt x="899795" y="2286"/>
                </a:lnTo>
                <a:lnTo>
                  <a:pt x="896874" y="3429"/>
                </a:lnTo>
                <a:lnTo>
                  <a:pt x="894333" y="5842"/>
                </a:lnTo>
                <a:lnTo>
                  <a:pt x="891921" y="8255"/>
                </a:lnTo>
                <a:lnTo>
                  <a:pt x="890651" y="11303"/>
                </a:lnTo>
                <a:lnTo>
                  <a:pt x="890651" y="18542"/>
                </a:lnTo>
                <a:lnTo>
                  <a:pt x="891921" y="21590"/>
                </a:lnTo>
                <a:lnTo>
                  <a:pt x="896874" y="26289"/>
                </a:lnTo>
                <a:lnTo>
                  <a:pt x="899795" y="27432"/>
                </a:lnTo>
                <a:lnTo>
                  <a:pt x="906779" y="27432"/>
                </a:lnTo>
                <a:lnTo>
                  <a:pt x="909827" y="26289"/>
                </a:lnTo>
                <a:lnTo>
                  <a:pt x="914780" y="21336"/>
                </a:lnTo>
                <a:lnTo>
                  <a:pt x="915995" y="18542"/>
                </a:lnTo>
                <a:lnTo>
                  <a:pt x="916051" y="11303"/>
                </a:lnTo>
                <a:lnTo>
                  <a:pt x="914780" y="8255"/>
                </a:lnTo>
                <a:lnTo>
                  <a:pt x="912240" y="5842"/>
                </a:lnTo>
                <a:lnTo>
                  <a:pt x="909827" y="3429"/>
                </a:lnTo>
                <a:lnTo>
                  <a:pt x="906779" y="2286"/>
                </a:lnTo>
                <a:close/>
              </a:path>
              <a:path w="1304925" h="235585">
                <a:moveTo>
                  <a:pt x="912749" y="58293"/>
                </a:moveTo>
                <a:lnTo>
                  <a:pt x="893317" y="58293"/>
                </a:lnTo>
                <a:lnTo>
                  <a:pt x="893317" y="179450"/>
                </a:lnTo>
                <a:lnTo>
                  <a:pt x="912749" y="179450"/>
                </a:lnTo>
                <a:lnTo>
                  <a:pt x="912749" y="58293"/>
                </a:lnTo>
                <a:close/>
              </a:path>
              <a:path w="1304925" h="235585">
                <a:moveTo>
                  <a:pt x="1006221" y="55372"/>
                </a:moveTo>
                <a:lnTo>
                  <a:pt x="961116" y="72542"/>
                </a:lnTo>
                <a:lnTo>
                  <a:pt x="944499" y="120269"/>
                </a:lnTo>
                <a:lnTo>
                  <a:pt x="945499" y="133580"/>
                </a:lnTo>
                <a:lnTo>
                  <a:pt x="969190" y="172654"/>
                </a:lnTo>
                <a:lnTo>
                  <a:pt x="1003426" y="182245"/>
                </a:lnTo>
                <a:lnTo>
                  <a:pt x="1016472" y="181151"/>
                </a:lnTo>
                <a:lnTo>
                  <a:pt x="1028160" y="177879"/>
                </a:lnTo>
                <a:lnTo>
                  <a:pt x="1038467" y="172440"/>
                </a:lnTo>
                <a:lnTo>
                  <a:pt x="1046178" y="165862"/>
                </a:lnTo>
                <a:lnTo>
                  <a:pt x="1004824" y="165862"/>
                </a:lnTo>
                <a:lnTo>
                  <a:pt x="996059" y="165098"/>
                </a:lnTo>
                <a:lnTo>
                  <a:pt x="967073" y="138763"/>
                </a:lnTo>
                <a:lnTo>
                  <a:pt x="964362" y="120269"/>
                </a:lnTo>
                <a:lnTo>
                  <a:pt x="964385" y="118364"/>
                </a:lnTo>
                <a:lnTo>
                  <a:pt x="981160" y="78880"/>
                </a:lnTo>
                <a:lnTo>
                  <a:pt x="1004824" y="71755"/>
                </a:lnTo>
                <a:lnTo>
                  <a:pt x="1048077" y="71755"/>
                </a:lnTo>
                <a:lnTo>
                  <a:pt x="1040153" y="64801"/>
                </a:lnTo>
                <a:lnTo>
                  <a:pt x="1030319" y="59562"/>
                </a:lnTo>
                <a:lnTo>
                  <a:pt x="1019008" y="56419"/>
                </a:lnTo>
                <a:lnTo>
                  <a:pt x="1006221" y="55372"/>
                </a:lnTo>
                <a:close/>
              </a:path>
              <a:path w="1304925" h="235585">
                <a:moveTo>
                  <a:pt x="1048077" y="71755"/>
                </a:moveTo>
                <a:lnTo>
                  <a:pt x="1004824" y="71755"/>
                </a:lnTo>
                <a:lnTo>
                  <a:pt x="1013682" y="72517"/>
                </a:lnTo>
                <a:lnTo>
                  <a:pt x="1021492" y="74818"/>
                </a:lnTo>
                <a:lnTo>
                  <a:pt x="1043191" y="108309"/>
                </a:lnTo>
                <a:lnTo>
                  <a:pt x="1043776" y="118364"/>
                </a:lnTo>
                <a:lnTo>
                  <a:pt x="1043738" y="120269"/>
                </a:lnTo>
                <a:lnTo>
                  <a:pt x="1028184" y="159003"/>
                </a:lnTo>
                <a:lnTo>
                  <a:pt x="1004824" y="165862"/>
                </a:lnTo>
                <a:lnTo>
                  <a:pt x="1046178" y="165862"/>
                </a:lnTo>
                <a:lnTo>
                  <a:pt x="1063752" y="118364"/>
                </a:lnTo>
                <a:lnTo>
                  <a:pt x="1062799" y="104390"/>
                </a:lnTo>
                <a:lnTo>
                  <a:pt x="1059942" y="92011"/>
                </a:lnTo>
                <a:lnTo>
                  <a:pt x="1055179" y="81252"/>
                </a:lnTo>
                <a:lnTo>
                  <a:pt x="1048511" y="72136"/>
                </a:lnTo>
                <a:lnTo>
                  <a:pt x="1048077" y="71755"/>
                </a:lnTo>
                <a:close/>
              </a:path>
              <a:path w="1304925" h="235585">
                <a:moveTo>
                  <a:pt x="1113916" y="58293"/>
                </a:moveTo>
                <a:lnTo>
                  <a:pt x="1094485" y="58293"/>
                </a:lnTo>
                <a:lnTo>
                  <a:pt x="1094485" y="179450"/>
                </a:lnTo>
                <a:lnTo>
                  <a:pt x="1113916" y="179450"/>
                </a:lnTo>
                <a:lnTo>
                  <a:pt x="1113916" y="110362"/>
                </a:lnTo>
                <a:lnTo>
                  <a:pt x="1114512" y="102340"/>
                </a:lnTo>
                <a:lnTo>
                  <a:pt x="1116298" y="95043"/>
                </a:lnTo>
                <a:lnTo>
                  <a:pt x="1119274" y="88485"/>
                </a:lnTo>
                <a:lnTo>
                  <a:pt x="1123441" y="82677"/>
                </a:lnTo>
                <a:lnTo>
                  <a:pt x="1128042" y="78359"/>
                </a:lnTo>
                <a:lnTo>
                  <a:pt x="1113916" y="78359"/>
                </a:lnTo>
                <a:lnTo>
                  <a:pt x="1113916" y="58293"/>
                </a:lnTo>
                <a:close/>
              </a:path>
              <a:path w="1304925" h="235585">
                <a:moveTo>
                  <a:pt x="1186807" y="71755"/>
                </a:moveTo>
                <a:lnTo>
                  <a:pt x="1147445" y="71755"/>
                </a:lnTo>
                <a:lnTo>
                  <a:pt x="1159779" y="74162"/>
                </a:lnTo>
                <a:lnTo>
                  <a:pt x="1168590" y="81391"/>
                </a:lnTo>
                <a:lnTo>
                  <a:pt x="1173876" y="93454"/>
                </a:lnTo>
                <a:lnTo>
                  <a:pt x="1175638" y="110362"/>
                </a:lnTo>
                <a:lnTo>
                  <a:pt x="1175638" y="179450"/>
                </a:lnTo>
                <a:lnTo>
                  <a:pt x="1195070" y="179450"/>
                </a:lnTo>
                <a:lnTo>
                  <a:pt x="1195070" y="105283"/>
                </a:lnTo>
                <a:lnTo>
                  <a:pt x="1194405" y="93898"/>
                </a:lnTo>
                <a:lnTo>
                  <a:pt x="1192418" y="83931"/>
                </a:lnTo>
                <a:lnTo>
                  <a:pt x="1189122" y="75368"/>
                </a:lnTo>
                <a:lnTo>
                  <a:pt x="1186807" y="71755"/>
                </a:lnTo>
                <a:close/>
              </a:path>
              <a:path w="1304925" h="235585">
                <a:moveTo>
                  <a:pt x="1154049" y="55372"/>
                </a:moveTo>
                <a:lnTo>
                  <a:pt x="1141837" y="56820"/>
                </a:lnTo>
                <a:lnTo>
                  <a:pt x="1131125" y="61150"/>
                </a:lnTo>
                <a:lnTo>
                  <a:pt x="1121937" y="68337"/>
                </a:lnTo>
                <a:lnTo>
                  <a:pt x="1114298" y="78359"/>
                </a:lnTo>
                <a:lnTo>
                  <a:pt x="1128042" y="78359"/>
                </a:lnTo>
                <a:lnTo>
                  <a:pt x="1128514" y="77916"/>
                </a:lnTo>
                <a:lnTo>
                  <a:pt x="1134205" y="74501"/>
                </a:lnTo>
                <a:lnTo>
                  <a:pt x="1140515" y="72443"/>
                </a:lnTo>
                <a:lnTo>
                  <a:pt x="1147445" y="71755"/>
                </a:lnTo>
                <a:lnTo>
                  <a:pt x="1186807" y="71755"/>
                </a:lnTo>
                <a:lnTo>
                  <a:pt x="1184528" y="68199"/>
                </a:lnTo>
                <a:lnTo>
                  <a:pt x="1178694" y="62605"/>
                </a:lnTo>
                <a:lnTo>
                  <a:pt x="1171670" y="58594"/>
                </a:lnTo>
                <a:lnTo>
                  <a:pt x="1163454" y="56179"/>
                </a:lnTo>
                <a:lnTo>
                  <a:pt x="1154049" y="55372"/>
                </a:lnTo>
                <a:close/>
              </a:path>
              <a:path w="1304925" h="235585">
                <a:moveTo>
                  <a:pt x="1224279" y="154178"/>
                </a:moveTo>
                <a:lnTo>
                  <a:pt x="1224279" y="175006"/>
                </a:lnTo>
                <a:lnTo>
                  <a:pt x="1231447" y="178173"/>
                </a:lnTo>
                <a:lnTo>
                  <a:pt x="1239234" y="180435"/>
                </a:lnTo>
                <a:lnTo>
                  <a:pt x="1247640" y="181792"/>
                </a:lnTo>
                <a:lnTo>
                  <a:pt x="1256664" y="182245"/>
                </a:lnTo>
                <a:lnTo>
                  <a:pt x="1263014" y="182245"/>
                </a:lnTo>
                <a:lnTo>
                  <a:pt x="1298066" y="167005"/>
                </a:lnTo>
                <a:lnTo>
                  <a:pt x="1298752" y="165862"/>
                </a:lnTo>
                <a:lnTo>
                  <a:pt x="1259204" y="165862"/>
                </a:lnTo>
                <a:lnTo>
                  <a:pt x="1249872" y="165143"/>
                </a:lnTo>
                <a:lnTo>
                  <a:pt x="1240932" y="162972"/>
                </a:lnTo>
                <a:lnTo>
                  <a:pt x="1232398" y="159325"/>
                </a:lnTo>
                <a:lnTo>
                  <a:pt x="1224279" y="154178"/>
                </a:lnTo>
                <a:close/>
              </a:path>
              <a:path w="1304925" h="235585">
                <a:moveTo>
                  <a:pt x="1270888" y="55372"/>
                </a:moveTo>
                <a:lnTo>
                  <a:pt x="1265047" y="55372"/>
                </a:lnTo>
                <a:lnTo>
                  <a:pt x="1259204" y="56134"/>
                </a:lnTo>
                <a:lnTo>
                  <a:pt x="1248155" y="59182"/>
                </a:lnTo>
                <a:lnTo>
                  <a:pt x="1243202" y="61341"/>
                </a:lnTo>
                <a:lnTo>
                  <a:pt x="1238884" y="64389"/>
                </a:lnTo>
                <a:lnTo>
                  <a:pt x="1234566" y="67310"/>
                </a:lnTo>
                <a:lnTo>
                  <a:pt x="1231010" y="70993"/>
                </a:lnTo>
                <a:lnTo>
                  <a:pt x="1228471" y="75311"/>
                </a:lnTo>
                <a:lnTo>
                  <a:pt x="1225803" y="79756"/>
                </a:lnTo>
                <a:lnTo>
                  <a:pt x="1224533" y="84709"/>
                </a:lnTo>
                <a:lnTo>
                  <a:pt x="1224533" y="95123"/>
                </a:lnTo>
                <a:lnTo>
                  <a:pt x="1225168" y="99187"/>
                </a:lnTo>
                <a:lnTo>
                  <a:pt x="1227962" y="106045"/>
                </a:lnTo>
                <a:lnTo>
                  <a:pt x="1229995" y="109220"/>
                </a:lnTo>
                <a:lnTo>
                  <a:pt x="1232788" y="111887"/>
                </a:lnTo>
                <a:lnTo>
                  <a:pt x="1235455" y="114681"/>
                </a:lnTo>
                <a:lnTo>
                  <a:pt x="1260982" y="127127"/>
                </a:lnTo>
                <a:lnTo>
                  <a:pt x="1267840" y="130048"/>
                </a:lnTo>
                <a:lnTo>
                  <a:pt x="1282573" y="140716"/>
                </a:lnTo>
                <a:lnTo>
                  <a:pt x="1283970" y="142875"/>
                </a:lnTo>
                <a:lnTo>
                  <a:pt x="1284731" y="145669"/>
                </a:lnTo>
                <a:lnTo>
                  <a:pt x="1284731" y="148844"/>
                </a:lnTo>
                <a:lnTo>
                  <a:pt x="1283136" y="156325"/>
                </a:lnTo>
                <a:lnTo>
                  <a:pt x="1278350" y="161639"/>
                </a:lnTo>
                <a:lnTo>
                  <a:pt x="1270373" y="164810"/>
                </a:lnTo>
                <a:lnTo>
                  <a:pt x="1259204" y="165862"/>
                </a:lnTo>
                <a:lnTo>
                  <a:pt x="1298752" y="165862"/>
                </a:lnTo>
                <a:lnTo>
                  <a:pt x="1300733" y="162560"/>
                </a:lnTo>
                <a:lnTo>
                  <a:pt x="1303274" y="158242"/>
                </a:lnTo>
                <a:lnTo>
                  <a:pt x="1304671" y="153035"/>
                </a:lnTo>
                <a:lnTo>
                  <a:pt x="1304671" y="142112"/>
                </a:lnTo>
                <a:lnTo>
                  <a:pt x="1295273" y="124968"/>
                </a:lnTo>
                <a:lnTo>
                  <a:pt x="1292352" y="122174"/>
                </a:lnTo>
                <a:lnTo>
                  <a:pt x="1288668" y="119761"/>
                </a:lnTo>
                <a:lnTo>
                  <a:pt x="1284351" y="117602"/>
                </a:lnTo>
                <a:lnTo>
                  <a:pt x="1280159" y="115443"/>
                </a:lnTo>
                <a:lnTo>
                  <a:pt x="1275333" y="113284"/>
                </a:lnTo>
                <a:lnTo>
                  <a:pt x="1265935" y="109728"/>
                </a:lnTo>
                <a:lnTo>
                  <a:pt x="1262379" y="108204"/>
                </a:lnTo>
                <a:lnTo>
                  <a:pt x="1259204" y="106934"/>
                </a:lnTo>
                <a:lnTo>
                  <a:pt x="1256029" y="105537"/>
                </a:lnTo>
                <a:lnTo>
                  <a:pt x="1253362" y="104012"/>
                </a:lnTo>
                <a:lnTo>
                  <a:pt x="1251203" y="102362"/>
                </a:lnTo>
                <a:lnTo>
                  <a:pt x="1248917" y="100711"/>
                </a:lnTo>
                <a:lnTo>
                  <a:pt x="1247266" y="98806"/>
                </a:lnTo>
                <a:lnTo>
                  <a:pt x="1246124" y="96647"/>
                </a:lnTo>
                <a:lnTo>
                  <a:pt x="1244980" y="94615"/>
                </a:lnTo>
                <a:lnTo>
                  <a:pt x="1244473" y="91948"/>
                </a:lnTo>
                <a:lnTo>
                  <a:pt x="1244473" y="86233"/>
                </a:lnTo>
                <a:lnTo>
                  <a:pt x="1258442" y="73025"/>
                </a:lnTo>
                <a:lnTo>
                  <a:pt x="1261363" y="72136"/>
                </a:lnTo>
                <a:lnTo>
                  <a:pt x="1264665" y="71755"/>
                </a:lnTo>
                <a:lnTo>
                  <a:pt x="1299082" y="71755"/>
                </a:lnTo>
                <a:lnTo>
                  <a:pt x="1299082" y="60833"/>
                </a:lnTo>
                <a:lnTo>
                  <a:pt x="1292677" y="58479"/>
                </a:lnTo>
                <a:lnTo>
                  <a:pt x="1285843" y="56769"/>
                </a:lnTo>
                <a:lnTo>
                  <a:pt x="1278580" y="55725"/>
                </a:lnTo>
                <a:lnTo>
                  <a:pt x="1270888" y="55372"/>
                </a:lnTo>
                <a:close/>
              </a:path>
              <a:path w="1304925" h="235585">
                <a:moveTo>
                  <a:pt x="1299082" y="71755"/>
                </a:moveTo>
                <a:lnTo>
                  <a:pt x="1268349" y="71755"/>
                </a:lnTo>
                <a:lnTo>
                  <a:pt x="1276776" y="72302"/>
                </a:lnTo>
                <a:lnTo>
                  <a:pt x="1284716" y="73945"/>
                </a:lnTo>
                <a:lnTo>
                  <a:pt x="1292155" y="76684"/>
                </a:lnTo>
                <a:lnTo>
                  <a:pt x="1299082" y="80518"/>
                </a:lnTo>
                <a:lnTo>
                  <a:pt x="1299082" y="71755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7150813" y="2876625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90" h="429895">
                <a:moveTo>
                  <a:pt x="0" y="429767"/>
                </a:moveTo>
                <a:lnTo>
                  <a:pt x="1850135" y="429767"/>
                </a:lnTo>
                <a:lnTo>
                  <a:pt x="1850135" y="0"/>
                </a:lnTo>
                <a:lnTo>
                  <a:pt x="0" y="0"/>
                </a:lnTo>
                <a:lnTo>
                  <a:pt x="0" y="429767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7518255" y="2977317"/>
            <a:ext cx="636063" cy="176740"/>
          </a:xfrm>
          <a:custGeom>
            <a:avLst/>
            <a:gdLst/>
            <a:ahLst/>
            <a:cxnLst/>
            <a:rect l="l" t="t" r="r" b="b"/>
            <a:pathLst>
              <a:path w="864870" h="180339">
                <a:moveTo>
                  <a:pt x="58038" y="7365"/>
                </a:moveTo>
                <a:lnTo>
                  <a:pt x="0" y="7365"/>
                </a:lnTo>
                <a:lnTo>
                  <a:pt x="0" y="177037"/>
                </a:lnTo>
                <a:lnTo>
                  <a:pt x="19938" y="177037"/>
                </a:lnTo>
                <a:lnTo>
                  <a:pt x="19938" y="104901"/>
                </a:lnTo>
                <a:lnTo>
                  <a:pt x="74421" y="104901"/>
                </a:lnTo>
                <a:lnTo>
                  <a:pt x="74167" y="104647"/>
                </a:lnTo>
                <a:lnTo>
                  <a:pt x="72008" y="103123"/>
                </a:lnTo>
                <a:lnTo>
                  <a:pt x="69976" y="101472"/>
                </a:lnTo>
                <a:lnTo>
                  <a:pt x="67436" y="100075"/>
                </a:lnTo>
                <a:lnTo>
                  <a:pt x="64642" y="98805"/>
                </a:lnTo>
                <a:lnTo>
                  <a:pt x="64642" y="98297"/>
                </a:lnTo>
                <a:lnTo>
                  <a:pt x="70357" y="96773"/>
                </a:lnTo>
                <a:lnTo>
                  <a:pt x="75564" y="94741"/>
                </a:lnTo>
                <a:lnTo>
                  <a:pt x="80136" y="91947"/>
                </a:lnTo>
                <a:lnTo>
                  <a:pt x="84835" y="89280"/>
                </a:lnTo>
                <a:lnTo>
                  <a:pt x="87713" y="86867"/>
                </a:lnTo>
                <a:lnTo>
                  <a:pt x="19938" y="86867"/>
                </a:lnTo>
                <a:lnTo>
                  <a:pt x="19938" y="25400"/>
                </a:lnTo>
                <a:lnTo>
                  <a:pt x="94364" y="25400"/>
                </a:lnTo>
                <a:lnTo>
                  <a:pt x="92075" y="22478"/>
                </a:lnTo>
                <a:lnTo>
                  <a:pt x="82930" y="14858"/>
                </a:lnTo>
                <a:lnTo>
                  <a:pt x="77469" y="12064"/>
                </a:lnTo>
                <a:lnTo>
                  <a:pt x="71246" y="10159"/>
                </a:lnTo>
                <a:lnTo>
                  <a:pt x="64896" y="8381"/>
                </a:lnTo>
                <a:lnTo>
                  <a:pt x="58038" y="7365"/>
                </a:lnTo>
                <a:close/>
              </a:path>
              <a:path w="864870" h="180339">
                <a:moveTo>
                  <a:pt x="74421" y="104901"/>
                </a:moveTo>
                <a:lnTo>
                  <a:pt x="39877" y="104901"/>
                </a:lnTo>
                <a:lnTo>
                  <a:pt x="43306" y="105409"/>
                </a:lnTo>
                <a:lnTo>
                  <a:pt x="49148" y="107187"/>
                </a:lnTo>
                <a:lnTo>
                  <a:pt x="51942" y="108584"/>
                </a:lnTo>
                <a:lnTo>
                  <a:pt x="54482" y="110616"/>
                </a:lnTo>
                <a:lnTo>
                  <a:pt x="57022" y="112521"/>
                </a:lnTo>
                <a:lnTo>
                  <a:pt x="59562" y="115062"/>
                </a:lnTo>
                <a:lnTo>
                  <a:pt x="61975" y="118237"/>
                </a:lnTo>
                <a:lnTo>
                  <a:pt x="64515" y="121284"/>
                </a:lnTo>
                <a:lnTo>
                  <a:pt x="66928" y="125094"/>
                </a:lnTo>
                <a:lnTo>
                  <a:pt x="98043" y="177037"/>
                </a:lnTo>
                <a:lnTo>
                  <a:pt x="121665" y="177037"/>
                </a:lnTo>
                <a:lnTo>
                  <a:pt x="89788" y="126110"/>
                </a:lnTo>
                <a:lnTo>
                  <a:pt x="85470" y="119125"/>
                </a:lnTo>
                <a:lnTo>
                  <a:pt x="83565" y="116331"/>
                </a:lnTo>
                <a:lnTo>
                  <a:pt x="81787" y="113537"/>
                </a:lnTo>
                <a:lnTo>
                  <a:pt x="79882" y="110997"/>
                </a:lnTo>
                <a:lnTo>
                  <a:pt x="77977" y="108838"/>
                </a:lnTo>
                <a:lnTo>
                  <a:pt x="76072" y="106552"/>
                </a:lnTo>
                <a:lnTo>
                  <a:pt x="74421" y="104901"/>
                </a:lnTo>
                <a:close/>
              </a:path>
              <a:path w="864870" h="180339">
                <a:moveTo>
                  <a:pt x="94364" y="25400"/>
                </a:moveTo>
                <a:lnTo>
                  <a:pt x="47116" y="25400"/>
                </a:lnTo>
                <a:lnTo>
                  <a:pt x="54981" y="25876"/>
                </a:lnTo>
                <a:lnTo>
                  <a:pt x="61833" y="27304"/>
                </a:lnTo>
                <a:lnTo>
                  <a:pt x="81406" y="59308"/>
                </a:lnTo>
                <a:lnTo>
                  <a:pt x="80517" y="63880"/>
                </a:lnTo>
                <a:lnTo>
                  <a:pt x="51815" y="86867"/>
                </a:lnTo>
                <a:lnTo>
                  <a:pt x="87713" y="86867"/>
                </a:lnTo>
                <a:lnTo>
                  <a:pt x="88772" y="85978"/>
                </a:lnTo>
                <a:lnTo>
                  <a:pt x="95250" y="78231"/>
                </a:lnTo>
                <a:lnTo>
                  <a:pt x="97789" y="73787"/>
                </a:lnTo>
                <a:lnTo>
                  <a:pt x="99567" y="68833"/>
                </a:lnTo>
                <a:lnTo>
                  <a:pt x="101345" y="64007"/>
                </a:lnTo>
                <a:lnTo>
                  <a:pt x="102110" y="59308"/>
                </a:lnTo>
                <a:lnTo>
                  <a:pt x="102234" y="45084"/>
                </a:lnTo>
                <a:lnTo>
                  <a:pt x="100964" y="38480"/>
                </a:lnTo>
                <a:lnTo>
                  <a:pt x="98297" y="32765"/>
                </a:lnTo>
                <a:lnTo>
                  <a:pt x="95757" y="27177"/>
                </a:lnTo>
                <a:lnTo>
                  <a:pt x="94364" y="25400"/>
                </a:lnTo>
                <a:close/>
              </a:path>
              <a:path w="864870" h="180339">
                <a:moveTo>
                  <a:pt x="158876" y="55879"/>
                </a:moveTo>
                <a:lnTo>
                  <a:pt x="139572" y="55879"/>
                </a:lnTo>
                <a:lnTo>
                  <a:pt x="139572" y="128396"/>
                </a:lnTo>
                <a:lnTo>
                  <a:pt x="142285" y="150919"/>
                </a:lnTo>
                <a:lnTo>
                  <a:pt x="150415" y="167036"/>
                </a:lnTo>
                <a:lnTo>
                  <a:pt x="163951" y="176724"/>
                </a:lnTo>
                <a:lnTo>
                  <a:pt x="182879" y="179958"/>
                </a:lnTo>
                <a:lnTo>
                  <a:pt x="194716" y="178577"/>
                </a:lnTo>
                <a:lnTo>
                  <a:pt x="204898" y="174434"/>
                </a:lnTo>
                <a:lnTo>
                  <a:pt x="213437" y="167528"/>
                </a:lnTo>
                <a:lnTo>
                  <a:pt x="216261" y="163575"/>
                </a:lnTo>
                <a:lnTo>
                  <a:pt x="188213" y="163575"/>
                </a:lnTo>
                <a:lnTo>
                  <a:pt x="175379" y="161190"/>
                </a:lnTo>
                <a:lnTo>
                  <a:pt x="166211" y="154019"/>
                </a:lnTo>
                <a:lnTo>
                  <a:pt x="160710" y="142037"/>
                </a:lnTo>
                <a:lnTo>
                  <a:pt x="158932" y="125729"/>
                </a:lnTo>
                <a:lnTo>
                  <a:pt x="158876" y="55879"/>
                </a:lnTo>
                <a:close/>
              </a:path>
              <a:path w="864870" h="180339">
                <a:moveTo>
                  <a:pt x="240156" y="157860"/>
                </a:moveTo>
                <a:lnTo>
                  <a:pt x="220725" y="157860"/>
                </a:lnTo>
                <a:lnTo>
                  <a:pt x="220725" y="177037"/>
                </a:lnTo>
                <a:lnTo>
                  <a:pt x="240156" y="177037"/>
                </a:lnTo>
                <a:lnTo>
                  <a:pt x="240156" y="157860"/>
                </a:lnTo>
                <a:close/>
              </a:path>
              <a:path w="864870" h="180339">
                <a:moveTo>
                  <a:pt x="240156" y="55879"/>
                </a:moveTo>
                <a:lnTo>
                  <a:pt x="220725" y="55879"/>
                </a:lnTo>
                <a:lnTo>
                  <a:pt x="220725" y="125729"/>
                </a:lnTo>
                <a:lnTo>
                  <a:pt x="220154" y="133802"/>
                </a:lnTo>
                <a:lnTo>
                  <a:pt x="195026" y="162931"/>
                </a:lnTo>
                <a:lnTo>
                  <a:pt x="188213" y="163575"/>
                </a:lnTo>
                <a:lnTo>
                  <a:pt x="216261" y="163575"/>
                </a:lnTo>
                <a:lnTo>
                  <a:pt x="220344" y="157860"/>
                </a:lnTo>
                <a:lnTo>
                  <a:pt x="240156" y="157860"/>
                </a:lnTo>
                <a:lnTo>
                  <a:pt x="240156" y="55879"/>
                </a:lnTo>
                <a:close/>
              </a:path>
              <a:path w="864870" h="180339">
                <a:moveTo>
                  <a:pt x="298703" y="55879"/>
                </a:moveTo>
                <a:lnTo>
                  <a:pt x="279400" y="55879"/>
                </a:lnTo>
                <a:lnTo>
                  <a:pt x="279400" y="177037"/>
                </a:lnTo>
                <a:lnTo>
                  <a:pt x="298703" y="177037"/>
                </a:lnTo>
                <a:lnTo>
                  <a:pt x="298703" y="107950"/>
                </a:lnTo>
                <a:lnTo>
                  <a:pt x="299299" y="100000"/>
                </a:lnTo>
                <a:lnTo>
                  <a:pt x="301085" y="92741"/>
                </a:lnTo>
                <a:lnTo>
                  <a:pt x="304061" y="86197"/>
                </a:lnTo>
                <a:lnTo>
                  <a:pt x="308228" y="80390"/>
                </a:lnTo>
                <a:lnTo>
                  <a:pt x="312796" y="76072"/>
                </a:lnTo>
                <a:lnTo>
                  <a:pt x="298703" y="76072"/>
                </a:lnTo>
                <a:lnTo>
                  <a:pt x="298703" y="55879"/>
                </a:lnTo>
                <a:close/>
              </a:path>
              <a:path w="864870" h="180339">
                <a:moveTo>
                  <a:pt x="371721" y="69468"/>
                </a:moveTo>
                <a:lnTo>
                  <a:pt x="332358" y="69468"/>
                </a:lnTo>
                <a:lnTo>
                  <a:pt x="344693" y="71874"/>
                </a:lnTo>
                <a:lnTo>
                  <a:pt x="353504" y="79089"/>
                </a:lnTo>
                <a:lnTo>
                  <a:pt x="358790" y="91114"/>
                </a:lnTo>
                <a:lnTo>
                  <a:pt x="360552" y="107950"/>
                </a:lnTo>
                <a:lnTo>
                  <a:pt x="360552" y="177037"/>
                </a:lnTo>
                <a:lnTo>
                  <a:pt x="379983" y="177037"/>
                </a:lnTo>
                <a:lnTo>
                  <a:pt x="379983" y="102996"/>
                </a:lnTo>
                <a:lnTo>
                  <a:pt x="379319" y="91612"/>
                </a:lnTo>
                <a:lnTo>
                  <a:pt x="377332" y="81645"/>
                </a:lnTo>
                <a:lnTo>
                  <a:pt x="374036" y="73082"/>
                </a:lnTo>
                <a:lnTo>
                  <a:pt x="371721" y="69468"/>
                </a:lnTo>
                <a:close/>
              </a:path>
              <a:path w="864870" h="180339">
                <a:moveTo>
                  <a:pt x="338962" y="53085"/>
                </a:moveTo>
                <a:lnTo>
                  <a:pt x="326751" y="54516"/>
                </a:lnTo>
                <a:lnTo>
                  <a:pt x="316039" y="58816"/>
                </a:lnTo>
                <a:lnTo>
                  <a:pt x="306851" y="65998"/>
                </a:lnTo>
                <a:lnTo>
                  <a:pt x="299211" y="76072"/>
                </a:lnTo>
                <a:lnTo>
                  <a:pt x="312796" y="76072"/>
                </a:lnTo>
                <a:lnTo>
                  <a:pt x="313320" y="75576"/>
                </a:lnTo>
                <a:lnTo>
                  <a:pt x="319055" y="72167"/>
                </a:lnTo>
                <a:lnTo>
                  <a:pt x="325409" y="70139"/>
                </a:lnTo>
                <a:lnTo>
                  <a:pt x="332358" y="69468"/>
                </a:lnTo>
                <a:lnTo>
                  <a:pt x="371721" y="69468"/>
                </a:lnTo>
                <a:lnTo>
                  <a:pt x="369442" y="65912"/>
                </a:lnTo>
                <a:lnTo>
                  <a:pt x="363555" y="60319"/>
                </a:lnTo>
                <a:lnTo>
                  <a:pt x="356536" y="56308"/>
                </a:lnTo>
                <a:lnTo>
                  <a:pt x="348351" y="53893"/>
                </a:lnTo>
                <a:lnTo>
                  <a:pt x="338962" y="53085"/>
                </a:lnTo>
                <a:close/>
              </a:path>
              <a:path w="864870" h="180339">
                <a:moveTo>
                  <a:pt x="442213" y="72516"/>
                </a:moveTo>
                <a:lnTo>
                  <a:pt x="422782" y="72516"/>
                </a:lnTo>
                <a:lnTo>
                  <a:pt x="422782" y="144144"/>
                </a:lnTo>
                <a:lnTo>
                  <a:pt x="424781" y="159720"/>
                </a:lnTo>
                <a:lnTo>
                  <a:pt x="430768" y="170830"/>
                </a:lnTo>
                <a:lnTo>
                  <a:pt x="440731" y="177488"/>
                </a:lnTo>
                <a:lnTo>
                  <a:pt x="454659" y="179704"/>
                </a:lnTo>
                <a:lnTo>
                  <a:pt x="462152" y="179704"/>
                </a:lnTo>
                <a:lnTo>
                  <a:pt x="468121" y="178434"/>
                </a:lnTo>
                <a:lnTo>
                  <a:pt x="472693" y="175894"/>
                </a:lnTo>
                <a:lnTo>
                  <a:pt x="472693" y="163321"/>
                </a:lnTo>
                <a:lnTo>
                  <a:pt x="453643" y="163321"/>
                </a:lnTo>
                <a:lnTo>
                  <a:pt x="449071" y="161670"/>
                </a:lnTo>
                <a:lnTo>
                  <a:pt x="443610" y="154685"/>
                </a:lnTo>
                <a:lnTo>
                  <a:pt x="442213" y="148843"/>
                </a:lnTo>
                <a:lnTo>
                  <a:pt x="442213" y="72516"/>
                </a:lnTo>
                <a:close/>
              </a:path>
              <a:path w="864870" h="180339">
                <a:moveTo>
                  <a:pt x="472693" y="159384"/>
                </a:moveTo>
                <a:lnTo>
                  <a:pt x="469137" y="162051"/>
                </a:lnTo>
                <a:lnTo>
                  <a:pt x="464946" y="163321"/>
                </a:lnTo>
                <a:lnTo>
                  <a:pt x="472693" y="163321"/>
                </a:lnTo>
                <a:lnTo>
                  <a:pt x="472693" y="159384"/>
                </a:lnTo>
                <a:close/>
              </a:path>
              <a:path w="864870" h="180339">
                <a:moveTo>
                  <a:pt x="472693" y="55879"/>
                </a:moveTo>
                <a:lnTo>
                  <a:pt x="401954" y="55879"/>
                </a:lnTo>
                <a:lnTo>
                  <a:pt x="401954" y="72516"/>
                </a:lnTo>
                <a:lnTo>
                  <a:pt x="472693" y="72516"/>
                </a:lnTo>
                <a:lnTo>
                  <a:pt x="472693" y="55879"/>
                </a:lnTo>
                <a:close/>
              </a:path>
              <a:path w="864870" h="180339">
                <a:moveTo>
                  <a:pt x="442213" y="20065"/>
                </a:moveTo>
                <a:lnTo>
                  <a:pt x="422782" y="26288"/>
                </a:lnTo>
                <a:lnTo>
                  <a:pt x="422782" y="55879"/>
                </a:lnTo>
                <a:lnTo>
                  <a:pt x="442213" y="55879"/>
                </a:lnTo>
                <a:lnTo>
                  <a:pt x="442213" y="20065"/>
                </a:lnTo>
                <a:close/>
              </a:path>
              <a:path w="864870" h="180339">
                <a:moveTo>
                  <a:pt x="512317" y="0"/>
                </a:moveTo>
                <a:lnTo>
                  <a:pt x="505332" y="0"/>
                </a:lnTo>
                <a:lnTo>
                  <a:pt x="502284" y="1142"/>
                </a:lnTo>
                <a:lnTo>
                  <a:pt x="497458" y="5968"/>
                </a:lnTo>
                <a:lnTo>
                  <a:pt x="496188" y="9016"/>
                </a:lnTo>
                <a:lnTo>
                  <a:pt x="496188" y="16255"/>
                </a:lnTo>
                <a:lnTo>
                  <a:pt x="497458" y="19303"/>
                </a:lnTo>
                <a:lnTo>
                  <a:pt x="499871" y="21589"/>
                </a:lnTo>
                <a:lnTo>
                  <a:pt x="502284" y="24002"/>
                </a:lnTo>
                <a:lnTo>
                  <a:pt x="505332" y="25145"/>
                </a:lnTo>
                <a:lnTo>
                  <a:pt x="512317" y="25145"/>
                </a:lnTo>
                <a:lnTo>
                  <a:pt x="515365" y="24002"/>
                </a:lnTo>
                <a:lnTo>
                  <a:pt x="517778" y="21462"/>
                </a:lnTo>
                <a:lnTo>
                  <a:pt x="520318" y="19050"/>
                </a:lnTo>
                <a:lnTo>
                  <a:pt x="521533" y="16255"/>
                </a:lnTo>
                <a:lnTo>
                  <a:pt x="521588" y="9016"/>
                </a:lnTo>
                <a:lnTo>
                  <a:pt x="520318" y="5968"/>
                </a:lnTo>
                <a:lnTo>
                  <a:pt x="517778" y="3555"/>
                </a:lnTo>
                <a:lnTo>
                  <a:pt x="515365" y="1142"/>
                </a:lnTo>
                <a:lnTo>
                  <a:pt x="512317" y="0"/>
                </a:lnTo>
                <a:close/>
              </a:path>
              <a:path w="864870" h="180339">
                <a:moveTo>
                  <a:pt x="518159" y="55879"/>
                </a:moveTo>
                <a:lnTo>
                  <a:pt x="498855" y="55879"/>
                </a:lnTo>
                <a:lnTo>
                  <a:pt x="498855" y="177037"/>
                </a:lnTo>
                <a:lnTo>
                  <a:pt x="518159" y="177037"/>
                </a:lnTo>
                <a:lnTo>
                  <a:pt x="518159" y="55879"/>
                </a:lnTo>
                <a:close/>
              </a:path>
              <a:path w="864870" h="180339">
                <a:moveTo>
                  <a:pt x="577595" y="55879"/>
                </a:moveTo>
                <a:lnTo>
                  <a:pt x="558291" y="55879"/>
                </a:lnTo>
                <a:lnTo>
                  <a:pt x="558291" y="177037"/>
                </a:lnTo>
                <a:lnTo>
                  <a:pt x="577595" y="177037"/>
                </a:lnTo>
                <a:lnTo>
                  <a:pt x="577620" y="107568"/>
                </a:lnTo>
                <a:lnTo>
                  <a:pt x="578119" y="99782"/>
                </a:lnTo>
                <a:lnTo>
                  <a:pt x="579691" y="92424"/>
                </a:lnTo>
                <a:lnTo>
                  <a:pt x="582310" y="85875"/>
                </a:lnTo>
                <a:lnTo>
                  <a:pt x="585977" y="80137"/>
                </a:lnTo>
                <a:lnTo>
                  <a:pt x="589878" y="75056"/>
                </a:lnTo>
                <a:lnTo>
                  <a:pt x="577595" y="75056"/>
                </a:lnTo>
                <a:lnTo>
                  <a:pt x="577595" y="55879"/>
                </a:lnTo>
                <a:close/>
              </a:path>
              <a:path w="864870" h="180339">
                <a:moveTo>
                  <a:pt x="646927" y="69468"/>
                </a:moveTo>
                <a:lnTo>
                  <a:pt x="607059" y="69468"/>
                </a:lnTo>
                <a:lnTo>
                  <a:pt x="619081" y="71687"/>
                </a:lnTo>
                <a:lnTo>
                  <a:pt x="627697" y="78358"/>
                </a:lnTo>
                <a:lnTo>
                  <a:pt x="632884" y="89507"/>
                </a:lnTo>
                <a:lnTo>
                  <a:pt x="634618" y="105155"/>
                </a:lnTo>
                <a:lnTo>
                  <a:pt x="634618" y="177037"/>
                </a:lnTo>
                <a:lnTo>
                  <a:pt x="653922" y="177037"/>
                </a:lnTo>
                <a:lnTo>
                  <a:pt x="653950" y="107568"/>
                </a:lnTo>
                <a:lnTo>
                  <a:pt x="664633" y="78231"/>
                </a:lnTo>
                <a:lnTo>
                  <a:pt x="650112" y="78231"/>
                </a:lnTo>
                <a:lnTo>
                  <a:pt x="647826" y="70738"/>
                </a:lnTo>
                <a:lnTo>
                  <a:pt x="646927" y="69468"/>
                </a:lnTo>
                <a:close/>
              </a:path>
              <a:path w="864870" h="180339">
                <a:moveTo>
                  <a:pt x="722199" y="69468"/>
                </a:moveTo>
                <a:lnTo>
                  <a:pt x="693546" y="69468"/>
                </a:lnTo>
                <a:lnTo>
                  <a:pt x="700531" y="72389"/>
                </a:lnTo>
                <a:lnTo>
                  <a:pt x="704722" y="78358"/>
                </a:lnTo>
                <a:lnTo>
                  <a:pt x="710818" y="177037"/>
                </a:lnTo>
                <a:lnTo>
                  <a:pt x="730250" y="177037"/>
                </a:lnTo>
                <a:lnTo>
                  <a:pt x="730250" y="102488"/>
                </a:lnTo>
                <a:lnTo>
                  <a:pt x="727749" y="80893"/>
                </a:lnTo>
                <a:lnTo>
                  <a:pt x="722199" y="69468"/>
                </a:lnTo>
                <a:close/>
              </a:path>
              <a:path w="864870" h="180339">
                <a:moveTo>
                  <a:pt x="690244" y="53085"/>
                </a:moveTo>
                <a:lnTo>
                  <a:pt x="677723" y="54657"/>
                </a:lnTo>
                <a:lnTo>
                  <a:pt x="666845" y="59372"/>
                </a:lnTo>
                <a:lnTo>
                  <a:pt x="657633" y="67230"/>
                </a:lnTo>
                <a:lnTo>
                  <a:pt x="650112" y="78231"/>
                </a:lnTo>
                <a:lnTo>
                  <a:pt x="664633" y="78231"/>
                </a:lnTo>
                <a:lnTo>
                  <a:pt x="668527" y="73151"/>
                </a:lnTo>
                <a:lnTo>
                  <a:pt x="675512" y="69468"/>
                </a:lnTo>
                <a:lnTo>
                  <a:pt x="722199" y="69468"/>
                </a:lnTo>
                <a:lnTo>
                  <a:pt x="720248" y="65452"/>
                </a:lnTo>
                <a:lnTo>
                  <a:pt x="707747" y="56179"/>
                </a:lnTo>
                <a:lnTo>
                  <a:pt x="690244" y="53085"/>
                </a:lnTo>
                <a:close/>
              </a:path>
              <a:path w="864870" h="180339">
                <a:moveTo>
                  <a:pt x="624077" y="53085"/>
                </a:moveTo>
                <a:lnTo>
                  <a:pt x="615695" y="53085"/>
                </a:lnTo>
                <a:lnTo>
                  <a:pt x="604125" y="54465"/>
                </a:lnTo>
                <a:lnTo>
                  <a:pt x="593994" y="58594"/>
                </a:lnTo>
                <a:lnTo>
                  <a:pt x="585317" y="65462"/>
                </a:lnTo>
                <a:lnTo>
                  <a:pt x="578103" y="75056"/>
                </a:lnTo>
                <a:lnTo>
                  <a:pt x="589878" y="75056"/>
                </a:lnTo>
                <a:lnTo>
                  <a:pt x="591438" y="73025"/>
                </a:lnTo>
                <a:lnTo>
                  <a:pt x="598423" y="69468"/>
                </a:lnTo>
                <a:lnTo>
                  <a:pt x="646927" y="69468"/>
                </a:lnTo>
                <a:lnTo>
                  <a:pt x="643508" y="64642"/>
                </a:lnTo>
                <a:lnTo>
                  <a:pt x="637412" y="60070"/>
                </a:lnTo>
                <a:lnTo>
                  <a:pt x="631316" y="55371"/>
                </a:lnTo>
                <a:lnTo>
                  <a:pt x="624077" y="53085"/>
                </a:lnTo>
                <a:close/>
              </a:path>
              <a:path w="864870" h="180339">
                <a:moveTo>
                  <a:pt x="814577" y="53085"/>
                </a:moveTo>
                <a:lnTo>
                  <a:pt x="774826" y="70865"/>
                </a:lnTo>
                <a:lnTo>
                  <a:pt x="758697" y="116966"/>
                </a:lnTo>
                <a:lnTo>
                  <a:pt x="759624" y="131087"/>
                </a:lnTo>
                <a:lnTo>
                  <a:pt x="781454" y="170636"/>
                </a:lnTo>
                <a:lnTo>
                  <a:pt x="813815" y="179958"/>
                </a:lnTo>
                <a:lnTo>
                  <a:pt x="826297" y="179222"/>
                </a:lnTo>
                <a:lnTo>
                  <a:pt x="837469" y="177022"/>
                </a:lnTo>
                <a:lnTo>
                  <a:pt x="847355" y="173368"/>
                </a:lnTo>
                <a:lnTo>
                  <a:pt x="855979" y="168275"/>
                </a:lnTo>
                <a:lnTo>
                  <a:pt x="855979" y="163575"/>
                </a:lnTo>
                <a:lnTo>
                  <a:pt x="818387" y="163575"/>
                </a:lnTo>
                <a:lnTo>
                  <a:pt x="809744" y="162887"/>
                </a:lnTo>
                <a:lnTo>
                  <a:pt x="779722" y="130937"/>
                </a:lnTo>
                <a:lnTo>
                  <a:pt x="778890" y="121412"/>
                </a:lnTo>
                <a:lnTo>
                  <a:pt x="864361" y="121412"/>
                </a:lnTo>
                <a:lnTo>
                  <a:pt x="864361" y="111125"/>
                </a:lnTo>
                <a:lnTo>
                  <a:pt x="863970" y="104901"/>
                </a:lnTo>
                <a:lnTo>
                  <a:pt x="779144" y="104901"/>
                </a:lnTo>
                <a:lnTo>
                  <a:pt x="780740" y="97357"/>
                </a:lnTo>
                <a:lnTo>
                  <a:pt x="805052" y="69468"/>
                </a:lnTo>
                <a:lnTo>
                  <a:pt x="852089" y="69468"/>
                </a:lnTo>
                <a:lnTo>
                  <a:pt x="851407" y="68452"/>
                </a:lnTo>
                <a:lnTo>
                  <a:pt x="844242" y="61712"/>
                </a:lnTo>
                <a:lnTo>
                  <a:pt x="835707" y="56911"/>
                </a:lnTo>
                <a:lnTo>
                  <a:pt x="825815" y="54040"/>
                </a:lnTo>
                <a:lnTo>
                  <a:pt x="814577" y="53085"/>
                </a:lnTo>
                <a:close/>
              </a:path>
              <a:path w="864870" h="180339">
                <a:moveTo>
                  <a:pt x="855979" y="150113"/>
                </a:moveTo>
                <a:lnTo>
                  <a:pt x="847195" y="156021"/>
                </a:lnTo>
                <a:lnTo>
                  <a:pt x="837993" y="160226"/>
                </a:lnTo>
                <a:lnTo>
                  <a:pt x="828387" y="162740"/>
                </a:lnTo>
                <a:lnTo>
                  <a:pt x="818387" y="163575"/>
                </a:lnTo>
                <a:lnTo>
                  <a:pt x="855979" y="163575"/>
                </a:lnTo>
                <a:lnTo>
                  <a:pt x="855979" y="150113"/>
                </a:lnTo>
                <a:close/>
              </a:path>
              <a:path w="864870" h="180339">
                <a:moveTo>
                  <a:pt x="852089" y="69468"/>
                </a:moveTo>
                <a:lnTo>
                  <a:pt x="823721" y="69468"/>
                </a:lnTo>
                <a:lnTo>
                  <a:pt x="831087" y="72516"/>
                </a:lnTo>
                <a:lnTo>
                  <a:pt x="836421" y="78739"/>
                </a:lnTo>
                <a:lnTo>
                  <a:pt x="839924" y="83881"/>
                </a:lnTo>
                <a:lnTo>
                  <a:pt x="842438" y="89963"/>
                </a:lnTo>
                <a:lnTo>
                  <a:pt x="843976" y="96974"/>
                </a:lnTo>
                <a:lnTo>
                  <a:pt x="844550" y="104901"/>
                </a:lnTo>
                <a:lnTo>
                  <a:pt x="863970" y="104901"/>
                </a:lnTo>
                <a:lnTo>
                  <a:pt x="863552" y="98242"/>
                </a:lnTo>
                <a:lnTo>
                  <a:pt x="861123" y="86836"/>
                </a:lnTo>
                <a:lnTo>
                  <a:pt x="857075" y="76906"/>
                </a:lnTo>
                <a:lnTo>
                  <a:pt x="852089" y="69468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7150813" y="2373291"/>
            <a:ext cx="1360858" cy="421313"/>
          </a:xfrm>
          <a:custGeom>
            <a:avLst/>
            <a:gdLst/>
            <a:ahLst/>
            <a:cxnLst/>
            <a:rect l="l" t="t" r="r" b="b"/>
            <a:pathLst>
              <a:path w="1850390" h="429894">
                <a:moveTo>
                  <a:pt x="0" y="429768"/>
                </a:moveTo>
                <a:lnTo>
                  <a:pt x="1850135" y="429768"/>
                </a:lnTo>
                <a:lnTo>
                  <a:pt x="1850135" y="0"/>
                </a:lnTo>
                <a:lnTo>
                  <a:pt x="0" y="0"/>
                </a:lnTo>
                <a:lnTo>
                  <a:pt x="0" y="429768"/>
                </a:lnTo>
                <a:close/>
              </a:path>
            </a:pathLst>
          </a:custGeom>
          <a:solidFill>
            <a:srgbClr val="5C2C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7663961" y="2481574"/>
            <a:ext cx="337646" cy="169272"/>
          </a:xfrm>
          <a:custGeom>
            <a:avLst/>
            <a:gdLst/>
            <a:ahLst/>
            <a:cxnLst/>
            <a:rect l="l" t="t" r="r" b="b"/>
            <a:pathLst>
              <a:path w="459104" h="172719">
                <a:moveTo>
                  <a:pt x="46863" y="0"/>
                </a:moveTo>
                <a:lnTo>
                  <a:pt x="0" y="0"/>
                </a:lnTo>
                <a:lnTo>
                  <a:pt x="0" y="169672"/>
                </a:lnTo>
                <a:lnTo>
                  <a:pt x="44958" y="169672"/>
                </a:lnTo>
                <a:lnTo>
                  <a:pt x="64770" y="168173"/>
                </a:lnTo>
                <a:lnTo>
                  <a:pt x="82486" y="163687"/>
                </a:lnTo>
                <a:lnTo>
                  <a:pt x="98107" y="156223"/>
                </a:lnTo>
                <a:lnTo>
                  <a:pt x="104055" y="151637"/>
                </a:lnTo>
                <a:lnTo>
                  <a:pt x="19939" y="151637"/>
                </a:lnTo>
                <a:lnTo>
                  <a:pt x="19939" y="18034"/>
                </a:lnTo>
                <a:lnTo>
                  <a:pt x="109362" y="18034"/>
                </a:lnTo>
                <a:lnTo>
                  <a:pt x="86107" y="5167"/>
                </a:lnTo>
                <a:lnTo>
                  <a:pt x="46863" y="0"/>
                </a:lnTo>
                <a:close/>
              </a:path>
              <a:path w="459104" h="172719">
                <a:moveTo>
                  <a:pt x="109362" y="18034"/>
                </a:moveTo>
                <a:lnTo>
                  <a:pt x="46355" y="18034"/>
                </a:lnTo>
                <a:lnTo>
                  <a:pt x="76692" y="22105"/>
                </a:lnTo>
                <a:lnTo>
                  <a:pt x="98361" y="34321"/>
                </a:lnTo>
                <a:lnTo>
                  <a:pt x="111363" y="54681"/>
                </a:lnTo>
                <a:lnTo>
                  <a:pt x="115697" y="83185"/>
                </a:lnTo>
                <a:lnTo>
                  <a:pt x="114550" y="98639"/>
                </a:lnTo>
                <a:lnTo>
                  <a:pt x="97155" y="133858"/>
                </a:lnTo>
                <a:lnTo>
                  <a:pt x="60971" y="150538"/>
                </a:lnTo>
                <a:lnTo>
                  <a:pt x="45212" y="151637"/>
                </a:lnTo>
                <a:lnTo>
                  <a:pt x="104055" y="151637"/>
                </a:lnTo>
                <a:lnTo>
                  <a:pt x="130317" y="118094"/>
                </a:lnTo>
                <a:lnTo>
                  <a:pt x="136525" y="82676"/>
                </a:lnTo>
                <a:lnTo>
                  <a:pt x="130927" y="46505"/>
                </a:lnTo>
                <a:lnTo>
                  <a:pt x="114125" y="20669"/>
                </a:lnTo>
                <a:lnTo>
                  <a:pt x="109362" y="18034"/>
                </a:lnTo>
                <a:close/>
              </a:path>
              <a:path w="459104" h="172719">
                <a:moveTo>
                  <a:pt x="245472" y="61975"/>
                </a:moveTo>
                <a:lnTo>
                  <a:pt x="208915" y="61975"/>
                </a:lnTo>
                <a:lnTo>
                  <a:pt x="219842" y="63904"/>
                </a:lnTo>
                <a:lnTo>
                  <a:pt x="227663" y="69691"/>
                </a:lnTo>
                <a:lnTo>
                  <a:pt x="232364" y="79335"/>
                </a:lnTo>
                <a:lnTo>
                  <a:pt x="233934" y="92837"/>
                </a:lnTo>
                <a:lnTo>
                  <a:pt x="197612" y="97917"/>
                </a:lnTo>
                <a:lnTo>
                  <a:pt x="180109" y="102518"/>
                </a:lnTo>
                <a:lnTo>
                  <a:pt x="167608" y="110632"/>
                </a:lnTo>
                <a:lnTo>
                  <a:pt x="160106" y="122300"/>
                </a:lnTo>
                <a:lnTo>
                  <a:pt x="157607" y="137541"/>
                </a:lnTo>
                <a:lnTo>
                  <a:pt x="158247" y="145063"/>
                </a:lnTo>
                <a:lnTo>
                  <a:pt x="187644" y="171870"/>
                </a:lnTo>
                <a:lnTo>
                  <a:pt x="196215" y="172466"/>
                </a:lnTo>
                <a:lnTo>
                  <a:pt x="207762" y="171108"/>
                </a:lnTo>
                <a:lnTo>
                  <a:pt x="217820" y="167036"/>
                </a:lnTo>
                <a:lnTo>
                  <a:pt x="226379" y="160250"/>
                </a:lnTo>
                <a:lnTo>
                  <a:pt x="229375" y="156210"/>
                </a:lnTo>
                <a:lnTo>
                  <a:pt x="193675" y="156210"/>
                </a:lnTo>
                <a:lnTo>
                  <a:pt x="187960" y="154305"/>
                </a:lnTo>
                <a:lnTo>
                  <a:pt x="183769" y="150622"/>
                </a:lnTo>
                <a:lnTo>
                  <a:pt x="179577" y="146812"/>
                </a:lnTo>
                <a:lnTo>
                  <a:pt x="177419" y="141986"/>
                </a:lnTo>
                <a:lnTo>
                  <a:pt x="177434" y="127851"/>
                </a:lnTo>
                <a:lnTo>
                  <a:pt x="179713" y="122295"/>
                </a:lnTo>
                <a:lnTo>
                  <a:pt x="188849" y="115950"/>
                </a:lnTo>
                <a:lnTo>
                  <a:pt x="195707" y="113664"/>
                </a:lnTo>
                <a:lnTo>
                  <a:pt x="233934" y="108331"/>
                </a:lnTo>
                <a:lnTo>
                  <a:pt x="253365" y="108331"/>
                </a:lnTo>
                <a:lnTo>
                  <a:pt x="253365" y="90932"/>
                </a:lnTo>
                <a:lnTo>
                  <a:pt x="250678" y="71116"/>
                </a:lnTo>
                <a:lnTo>
                  <a:pt x="245472" y="61975"/>
                </a:lnTo>
                <a:close/>
              </a:path>
              <a:path w="459104" h="172719">
                <a:moveTo>
                  <a:pt x="253365" y="150749"/>
                </a:moveTo>
                <a:lnTo>
                  <a:pt x="233934" y="150749"/>
                </a:lnTo>
                <a:lnTo>
                  <a:pt x="233934" y="169672"/>
                </a:lnTo>
                <a:lnTo>
                  <a:pt x="253365" y="169672"/>
                </a:lnTo>
                <a:lnTo>
                  <a:pt x="253365" y="150749"/>
                </a:lnTo>
                <a:close/>
              </a:path>
              <a:path w="459104" h="172719">
                <a:moveTo>
                  <a:pt x="253365" y="108331"/>
                </a:moveTo>
                <a:lnTo>
                  <a:pt x="233934" y="108331"/>
                </a:lnTo>
                <a:lnTo>
                  <a:pt x="233934" y="120396"/>
                </a:lnTo>
                <a:lnTo>
                  <a:pt x="233330" y="127888"/>
                </a:lnTo>
                <a:lnTo>
                  <a:pt x="200660" y="156210"/>
                </a:lnTo>
                <a:lnTo>
                  <a:pt x="229375" y="156210"/>
                </a:lnTo>
                <a:lnTo>
                  <a:pt x="233425" y="150749"/>
                </a:lnTo>
                <a:lnTo>
                  <a:pt x="253365" y="150749"/>
                </a:lnTo>
                <a:lnTo>
                  <a:pt x="253365" y="108331"/>
                </a:lnTo>
                <a:close/>
              </a:path>
              <a:path w="459104" h="172719">
                <a:moveTo>
                  <a:pt x="210566" y="45720"/>
                </a:moveTo>
                <a:lnTo>
                  <a:pt x="169477" y="56991"/>
                </a:lnTo>
                <a:lnTo>
                  <a:pt x="169418" y="76962"/>
                </a:lnTo>
                <a:lnTo>
                  <a:pt x="178518" y="70387"/>
                </a:lnTo>
                <a:lnTo>
                  <a:pt x="188118" y="65706"/>
                </a:lnTo>
                <a:lnTo>
                  <a:pt x="198243" y="62906"/>
                </a:lnTo>
                <a:lnTo>
                  <a:pt x="208915" y="61975"/>
                </a:lnTo>
                <a:lnTo>
                  <a:pt x="245472" y="61975"/>
                </a:lnTo>
                <a:lnTo>
                  <a:pt x="242633" y="56991"/>
                </a:lnTo>
                <a:lnTo>
                  <a:pt x="229254" y="48533"/>
                </a:lnTo>
                <a:lnTo>
                  <a:pt x="210566" y="45720"/>
                </a:lnTo>
                <a:close/>
              </a:path>
              <a:path w="459104" h="172719">
                <a:moveTo>
                  <a:pt x="315722" y="65024"/>
                </a:moveTo>
                <a:lnTo>
                  <a:pt x="296291" y="65024"/>
                </a:lnTo>
                <a:lnTo>
                  <a:pt x="296291" y="136779"/>
                </a:lnTo>
                <a:lnTo>
                  <a:pt x="298289" y="152300"/>
                </a:lnTo>
                <a:lnTo>
                  <a:pt x="304276" y="163417"/>
                </a:lnTo>
                <a:lnTo>
                  <a:pt x="314239" y="170104"/>
                </a:lnTo>
                <a:lnTo>
                  <a:pt x="328168" y="172338"/>
                </a:lnTo>
                <a:lnTo>
                  <a:pt x="335661" y="172338"/>
                </a:lnTo>
                <a:lnTo>
                  <a:pt x="341630" y="171069"/>
                </a:lnTo>
                <a:lnTo>
                  <a:pt x="346201" y="168529"/>
                </a:lnTo>
                <a:lnTo>
                  <a:pt x="346201" y="155956"/>
                </a:lnTo>
                <a:lnTo>
                  <a:pt x="327151" y="155956"/>
                </a:lnTo>
                <a:lnTo>
                  <a:pt x="322580" y="154178"/>
                </a:lnTo>
                <a:lnTo>
                  <a:pt x="319786" y="150749"/>
                </a:lnTo>
                <a:lnTo>
                  <a:pt x="317119" y="147320"/>
                </a:lnTo>
                <a:lnTo>
                  <a:pt x="315722" y="141478"/>
                </a:lnTo>
                <a:lnTo>
                  <a:pt x="315722" y="65024"/>
                </a:lnTo>
                <a:close/>
              </a:path>
              <a:path w="459104" h="172719">
                <a:moveTo>
                  <a:pt x="346201" y="151892"/>
                </a:moveTo>
                <a:lnTo>
                  <a:pt x="342646" y="154559"/>
                </a:lnTo>
                <a:lnTo>
                  <a:pt x="338455" y="155956"/>
                </a:lnTo>
                <a:lnTo>
                  <a:pt x="346201" y="155956"/>
                </a:lnTo>
                <a:lnTo>
                  <a:pt x="346201" y="151892"/>
                </a:lnTo>
                <a:close/>
              </a:path>
              <a:path w="459104" h="172719">
                <a:moveTo>
                  <a:pt x="346201" y="48513"/>
                </a:moveTo>
                <a:lnTo>
                  <a:pt x="275463" y="48513"/>
                </a:lnTo>
                <a:lnTo>
                  <a:pt x="275463" y="65024"/>
                </a:lnTo>
                <a:lnTo>
                  <a:pt x="346201" y="65024"/>
                </a:lnTo>
                <a:lnTo>
                  <a:pt x="346201" y="48513"/>
                </a:lnTo>
                <a:close/>
              </a:path>
              <a:path w="459104" h="172719">
                <a:moveTo>
                  <a:pt x="315722" y="12700"/>
                </a:moveTo>
                <a:lnTo>
                  <a:pt x="296291" y="18923"/>
                </a:lnTo>
                <a:lnTo>
                  <a:pt x="296291" y="48513"/>
                </a:lnTo>
                <a:lnTo>
                  <a:pt x="315722" y="48513"/>
                </a:lnTo>
                <a:lnTo>
                  <a:pt x="315722" y="12700"/>
                </a:lnTo>
                <a:close/>
              </a:path>
              <a:path w="459104" h="172719">
                <a:moveTo>
                  <a:pt x="451212" y="61975"/>
                </a:moveTo>
                <a:lnTo>
                  <a:pt x="414655" y="61975"/>
                </a:lnTo>
                <a:lnTo>
                  <a:pt x="425582" y="63904"/>
                </a:lnTo>
                <a:lnTo>
                  <a:pt x="433403" y="69691"/>
                </a:lnTo>
                <a:lnTo>
                  <a:pt x="438104" y="79335"/>
                </a:lnTo>
                <a:lnTo>
                  <a:pt x="439674" y="92837"/>
                </a:lnTo>
                <a:lnTo>
                  <a:pt x="403351" y="97917"/>
                </a:lnTo>
                <a:lnTo>
                  <a:pt x="385849" y="102518"/>
                </a:lnTo>
                <a:lnTo>
                  <a:pt x="373348" y="110632"/>
                </a:lnTo>
                <a:lnTo>
                  <a:pt x="365846" y="122300"/>
                </a:lnTo>
                <a:lnTo>
                  <a:pt x="363347" y="137541"/>
                </a:lnTo>
                <a:lnTo>
                  <a:pt x="363987" y="145063"/>
                </a:lnTo>
                <a:lnTo>
                  <a:pt x="393384" y="171870"/>
                </a:lnTo>
                <a:lnTo>
                  <a:pt x="401955" y="172466"/>
                </a:lnTo>
                <a:lnTo>
                  <a:pt x="413502" y="171108"/>
                </a:lnTo>
                <a:lnTo>
                  <a:pt x="423560" y="167036"/>
                </a:lnTo>
                <a:lnTo>
                  <a:pt x="432119" y="160250"/>
                </a:lnTo>
                <a:lnTo>
                  <a:pt x="435115" y="156210"/>
                </a:lnTo>
                <a:lnTo>
                  <a:pt x="399415" y="156210"/>
                </a:lnTo>
                <a:lnTo>
                  <a:pt x="393700" y="154305"/>
                </a:lnTo>
                <a:lnTo>
                  <a:pt x="389509" y="150622"/>
                </a:lnTo>
                <a:lnTo>
                  <a:pt x="385318" y="146812"/>
                </a:lnTo>
                <a:lnTo>
                  <a:pt x="383159" y="141986"/>
                </a:lnTo>
                <a:lnTo>
                  <a:pt x="383174" y="127851"/>
                </a:lnTo>
                <a:lnTo>
                  <a:pt x="385453" y="122295"/>
                </a:lnTo>
                <a:lnTo>
                  <a:pt x="394589" y="115950"/>
                </a:lnTo>
                <a:lnTo>
                  <a:pt x="401447" y="113664"/>
                </a:lnTo>
                <a:lnTo>
                  <a:pt x="439674" y="108331"/>
                </a:lnTo>
                <a:lnTo>
                  <a:pt x="459105" y="108331"/>
                </a:lnTo>
                <a:lnTo>
                  <a:pt x="459105" y="90932"/>
                </a:lnTo>
                <a:lnTo>
                  <a:pt x="456418" y="71116"/>
                </a:lnTo>
                <a:lnTo>
                  <a:pt x="451212" y="61975"/>
                </a:lnTo>
                <a:close/>
              </a:path>
              <a:path w="459104" h="172719">
                <a:moveTo>
                  <a:pt x="459105" y="150749"/>
                </a:moveTo>
                <a:lnTo>
                  <a:pt x="439674" y="150749"/>
                </a:lnTo>
                <a:lnTo>
                  <a:pt x="439674" y="169672"/>
                </a:lnTo>
                <a:lnTo>
                  <a:pt x="459105" y="169672"/>
                </a:lnTo>
                <a:lnTo>
                  <a:pt x="459105" y="150749"/>
                </a:lnTo>
                <a:close/>
              </a:path>
              <a:path w="459104" h="172719">
                <a:moveTo>
                  <a:pt x="459105" y="108331"/>
                </a:moveTo>
                <a:lnTo>
                  <a:pt x="439674" y="108331"/>
                </a:lnTo>
                <a:lnTo>
                  <a:pt x="439674" y="120396"/>
                </a:lnTo>
                <a:lnTo>
                  <a:pt x="439070" y="127888"/>
                </a:lnTo>
                <a:lnTo>
                  <a:pt x="406400" y="156210"/>
                </a:lnTo>
                <a:lnTo>
                  <a:pt x="435115" y="156210"/>
                </a:lnTo>
                <a:lnTo>
                  <a:pt x="439166" y="150749"/>
                </a:lnTo>
                <a:lnTo>
                  <a:pt x="459105" y="150749"/>
                </a:lnTo>
                <a:lnTo>
                  <a:pt x="459105" y="108331"/>
                </a:lnTo>
                <a:close/>
              </a:path>
              <a:path w="459104" h="172719">
                <a:moveTo>
                  <a:pt x="416306" y="45720"/>
                </a:moveTo>
                <a:lnTo>
                  <a:pt x="375217" y="56991"/>
                </a:lnTo>
                <a:lnTo>
                  <a:pt x="375158" y="76962"/>
                </a:lnTo>
                <a:lnTo>
                  <a:pt x="384258" y="70387"/>
                </a:lnTo>
                <a:lnTo>
                  <a:pt x="393858" y="65706"/>
                </a:lnTo>
                <a:lnTo>
                  <a:pt x="403983" y="62906"/>
                </a:lnTo>
                <a:lnTo>
                  <a:pt x="414655" y="61975"/>
                </a:lnTo>
                <a:lnTo>
                  <a:pt x="451212" y="61975"/>
                </a:lnTo>
                <a:lnTo>
                  <a:pt x="448373" y="56991"/>
                </a:lnTo>
                <a:lnTo>
                  <a:pt x="434994" y="48533"/>
                </a:lnTo>
                <a:lnTo>
                  <a:pt x="416306" y="45720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2959798" y="6505516"/>
            <a:ext cx="887594" cy="18583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7376565" y="6506674"/>
            <a:ext cx="600384" cy="18816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5095048" y="6504209"/>
            <a:ext cx="1304164" cy="193803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8594986" y="1870702"/>
            <a:ext cx="52772" cy="4420983"/>
          </a:xfrm>
          <a:custGeom>
            <a:avLst/>
            <a:gdLst/>
            <a:ahLst/>
            <a:cxnLst/>
            <a:rect l="l" t="t" r="r" b="b"/>
            <a:pathLst>
              <a:path w="71754" h="4511040">
                <a:moveTo>
                  <a:pt x="71627" y="4511040"/>
                </a:moveTo>
                <a:lnTo>
                  <a:pt x="35813" y="2255520"/>
                </a:lnTo>
                <a:lnTo>
                  <a:pt x="26253" y="2255520"/>
                </a:lnTo>
                <a:lnTo>
                  <a:pt x="19335" y="2255520"/>
                </a:lnTo>
                <a:lnTo>
                  <a:pt x="11703" y="2255520"/>
                </a:lnTo>
                <a:lnTo>
                  <a:pt x="0" y="2255520"/>
                </a:lnTo>
                <a:lnTo>
                  <a:pt x="13954" y="2255520"/>
                </a:lnTo>
                <a:lnTo>
                  <a:pt x="25336" y="2255520"/>
                </a:lnTo>
                <a:lnTo>
                  <a:pt x="33004" y="2255520"/>
                </a:lnTo>
                <a:lnTo>
                  <a:pt x="35813" y="2255520"/>
                </a:lnTo>
                <a:lnTo>
                  <a:pt x="35813" y="0"/>
                </a:lnTo>
                <a:lnTo>
                  <a:pt x="21859" y="0"/>
                </a:lnTo>
                <a:lnTo>
                  <a:pt x="10477" y="0"/>
                </a:lnTo>
                <a:lnTo>
                  <a:pt x="2809" y="0"/>
                </a:lnTo>
                <a:lnTo>
                  <a:pt x="0" y="0"/>
                </a:lnTo>
                <a:lnTo>
                  <a:pt x="9560" y="0"/>
                </a:lnTo>
                <a:lnTo>
                  <a:pt x="16478" y="0"/>
                </a:lnTo>
                <a:lnTo>
                  <a:pt x="24110" y="0"/>
                </a:lnTo>
                <a:lnTo>
                  <a:pt x="35813" y="0"/>
                </a:lnTo>
              </a:path>
            </a:pathLst>
          </a:custGeom>
          <a:ln w="19812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824520" y="6510843"/>
            <a:ext cx="650382" cy="18583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1485923" y="6588344"/>
            <a:ext cx="39742" cy="12512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1536174" y="6508515"/>
            <a:ext cx="443469" cy="143744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4"/>
          <p:cNvSpPr/>
          <p:nvPr/>
        </p:nvSpPr>
        <p:spPr>
          <a:xfrm>
            <a:off x="0" y="-27384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TextBox 100"/>
          <p:cNvSpPr txBox="1"/>
          <p:nvPr/>
        </p:nvSpPr>
        <p:spPr>
          <a:xfrm>
            <a:off x="0" y="80537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Managing of Azure  Service Model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102" name="Footer Placeholder 10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/>
          <p:cNvSpPr/>
          <p:nvPr/>
        </p:nvSpPr>
        <p:spPr>
          <a:xfrm>
            <a:off x="0" y="-27384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/>
          <p:cNvSpPr txBox="1"/>
          <p:nvPr/>
        </p:nvSpPr>
        <p:spPr>
          <a:xfrm>
            <a:off x="0" y="35913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err="1" smtClean="0">
                <a:solidFill>
                  <a:schemeClr val="bg1"/>
                </a:solidFill>
                <a:latin typeface="Segoe UI Light" pitchFamily="34" charset="0"/>
              </a:rPr>
              <a:t>IaaS</a:t>
            </a:r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- Infrastructure as a Service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" name="Title 3"/>
          <p:cNvSpPr txBox="1">
            <a:spLocks/>
          </p:cNvSpPr>
          <p:nvPr/>
        </p:nvSpPr>
        <p:spPr>
          <a:xfrm>
            <a:off x="0" y="764704"/>
            <a:ext cx="9144000" cy="6093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Infrastructure –as-a-Service offering that allows you to deploy a compute instances in a minutes to be used for Windows or Linux Workloads. Azure provides networking, backup services and virtualization services.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Features 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Use images built by the product teams to deploy workloads such as SQL server , Share point or Apache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Attach, format and configure multiple disks for a VM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Remotely connect a Windows or Linux VM 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Select different VM sizes ( A0-A9) -  CPU ,IOPS and Memory  referred as a VM size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Select a basic or standard tier 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4151451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/>
          <p:cNvSpPr/>
          <p:nvPr/>
        </p:nvSpPr>
        <p:spPr>
          <a:xfrm>
            <a:off x="0" y="-27384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/>
          <p:cNvSpPr txBox="1"/>
          <p:nvPr/>
        </p:nvSpPr>
        <p:spPr>
          <a:xfrm>
            <a:off x="0" y="35913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err="1" smtClean="0">
                <a:solidFill>
                  <a:schemeClr val="bg1"/>
                </a:solidFill>
                <a:latin typeface="Segoe UI Light" pitchFamily="34" charset="0"/>
              </a:rPr>
              <a:t>PaaS</a:t>
            </a:r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- Platform as a Service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" name="Title 3"/>
          <p:cNvSpPr txBox="1">
            <a:spLocks/>
          </p:cNvSpPr>
          <p:nvPr/>
        </p:nvSpPr>
        <p:spPr>
          <a:xfrm>
            <a:off x="0" y="1124744"/>
            <a:ext cx="9144000" cy="43204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/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Cloud service is Platform –as-a-Service offering that allows you to focus on your application code while Azure platform takes care of scaling up your application and making it highly  available 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Features 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Associate VM with cloud services 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Scale up an instance  and configuring load balance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Deploy an existing cloud service package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Web Apps 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 - develop and deploy using Microsoft visual Studio (  </a:t>
            </a:r>
            <a:r>
              <a:rPr lang="en-US" sz="2000" b="1" dirty="0" err="1" smtClean="0">
                <a:latin typeface="Segoe UI Light" pitchFamily="34" charset="0"/>
              </a:rPr>
              <a:t>.Net</a:t>
            </a:r>
            <a:r>
              <a:rPr lang="en-US" sz="2000" b="1" dirty="0" smtClean="0">
                <a:latin typeface="Segoe UI Light" pitchFamily="34" charset="0"/>
              </a:rPr>
              <a:t>, JAVA, PHP, Node.js and python)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4151451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3413" y="-27384"/>
            <a:ext cx="9155031" cy="1008112"/>
          </a:xfrm>
          <a:prstGeom prst="rect">
            <a:avLst/>
          </a:prstGeom>
          <a:solidFill>
            <a:schemeClr val="accent1">
              <a:alpha val="85098"/>
            </a:schemeClr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US" sz="30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crosoft Azure – </a:t>
            </a:r>
            <a:r>
              <a:rPr lang="en-US" sz="30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54 </a:t>
            </a:r>
            <a:r>
              <a:rPr lang="en-US" sz="30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gions Worldwide</a:t>
            </a:r>
          </a:p>
          <a:p>
            <a:pPr algn="ctr"/>
            <a:r>
              <a:rPr lang="en-IN" sz="30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40 available in 140 countries</a:t>
            </a:r>
            <a:endParaRPr lang="en-US" sz="30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-36512" y="6093296"/>
            <a:ext cx="9180512" cy="7647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IN" sz="2000" dirty="0" smtClean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  <p:sp>
        <p:nvSpPr>
          <p:cNvPr id="36866" name="AutoShape 2" descr="https://azurecomcdn.azureedge.net/cvt-3d1ea31f57728cd709c36b9c4b65faef417010197a11782f6523d5b1ef067b59/images/shared/regions-map-desktop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6868" name="AutoShape 4" descr="https://azurecomcdn.azureedge.net/cvt-3d1ea31f57728cd709c36b9c4b65faef417010197a11782f6523d5b1ef067b59/images/shared/regions-map-desktop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36869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571612"/>
            <a:ext cx="8929718" cy="4805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41514516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/>
          <p:cNvSpPr/>
          <p:nvPr/>
        </p:nvSpPr>
        <p:spPr>
          <a:xfrm>
            <a:off x="0" y="-27384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/>
          <p:cNvSpPr txBox="1"/>
          <p:nvPr/>
        </p:nvSpPr>
        <p:spPr>
          <a:xfrm>
            <a:off x="0" y="35913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Azure Portal Demo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" name="Title 3"/>
          <p:cNvSpPr txBox="1">
            <a:spLocks/>
          </p:cNvSpPr>
          <p:nvPr/>
        </p:nvSpPr>
        <p:spPr>
          <a:xfrm>
            <a:off x="0" y="764704"/>
            <a:ext cx="9144000" cy="20162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/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Login to : </a:t>
            </a:r>
            <a:r>
              <a:rPr lang="en-US" sz="2000" b="1" dirty="0" smtClean="0">
                <a:latin typeface="Segoe UI Light" pitchFamily="34" charset="0"/>
                <a:hlinkClick r:id="rId3"/>
              </a:rPr>
              <a:t>https://portal.azure.com</a:t>
            </a: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Portal walk through.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Understanding  jargons ..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Creating VM ,  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Web Apps 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 - develop and deploy using  Microsoft visual Studio (  </a:t>
            </a:r>
            <a:r>
              <a:rPr lang="en-US" sz="2000" b="1" dirty="0" err="1" smtClean="0">
                <a:latin typeface="Segoe UI Light" pitchFamily="34" charset="0"/>
              </a:rPr>
              <a:t>.Net</a:t>
            </a:r>
            <a:r>
              <a:rPr lang="en-US" sz="2000" b="1" dirty="0" smtClean="0">
                <a:latin typeface="Segoe UI Light" pitchFamily="34" charset="0"/>
              </a:rPr>
              <a:t>, JAVA, PHP, Node.js and python)</a:t>
            </a:r>
          </a:p>
        </p:txBody>
      </p:sp>
      <p:pic>
        <p:nvPicPr>
          <p:cNvPr id="8601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8200" y="2541984"/>
            <a:ext cx="4495800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4151451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 txBox="1">
            <a:spLocks/>
          </p:cNvSpPr>
          <p:nvPr/>
        </p:nvSpPr>
        <p:spPr>
          <a:xfrm>
            <a:off x="0" y="764704"/>
            <a:ext cx="9144000" cy="24482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en-IN" sz="2000" b="1" dirty="0" smtClean="0">
                <a:latin typeface="Segoe UI Light" pitchFamily="34" charset="0"/>
              </a:rPr>
              <a:t>Provides Compute on demand  for your application workloads .You Bring it, we run it.  Scalable, on demand infrastructure for  your Apps, </a:t>
            </a:r>
          </a:p>
          <a:p>
            <a:pPr lvl="0">
              <a:spcBef>
                <a:spcPct val="0"/>
              </a:spcBef>
            </a:pPr>
            <a:endParaRPr lang="en-IN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IN" sz="2000" b="1" dirty="0" smtClean="0">
                <a:latin typeface="Segoe UI Light" pitchFamily="34" charset="0"/>
              </a:rPr>
              <a:t>Where  </a:t>
            </a:r>
            <a:r>
              <a:rPr lang="en-IN" sz="2000" b="1" dirty="0" err="1" smtClean="0">
                <a:latin typeface="Segoe UI Light" pitchFamily="34" charset="0"/>
              </a:rPr>
              <a:t>IaaS</a:t>
            </a:r>
            <a:r>
              <a:rPr lang="en-IN" sz="2000" b="1" dirty="0" smtClean="0">
                <a:latin typeface="Segoe UI Light" pitchFamily="34" charset="0"/>
              </a:rPr>
              <a:t>  fits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Apps with public web front  ends variable traffic sitting in a perimeter network.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Existing  custom apps, specially servers with batch processing patterns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No  App change  same VHD format</a:t>
            </a:r>
            <a:endParaRPr lang="en-US" sz="2000" dirty="0" smtClean="0">
              <a:latin typeface="Segoe UI Light" pitchFamily="34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Box 4"/>
          <p:cNvSpPr txBox="1"/>
          <p:nvPr/>
        </p:nvSpPr>
        <p:spPr>
          <a:xfrm>
            <a:off x="0" y="107921"/>
            <a:ext cx="914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Azure Compute - Virtual Machines</a:t>
            </a:r>
          </a:p>
          <a:p>
            <a:pPr lvl="0" algn="ctr"/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6" name="object 4"/>
          <p:cNvSpPr/>
          <p:nvPr/>
        </p:nvSpPr>
        <p:spPr>
          <a:xfrm>
            <a:off x="-36512" y="3356992"/>
            <a:ext cx="9180512" cy="1008112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TextBox 6"/>
          <p:cNvSpPr txBox="1"/>
          <p:nvPr/>
        </p:nvSpPr>
        <p:spPr>
          <a:xfrm>
            <a:off x="-36512" y="3780329"/>
            <a:ext cx="3915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Basic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192960" y="3780329"/>
            <a:ext cx="39155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Standard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9" name="Title 3"/>
          <p:cNvSpPr txBox="1">
            <a:spLocks/>
          </p:cNvSpPr>
          <p:nvPr/>
        </p:nvSpPr>
        <p:spPr>
          <a:xfrm>
            <a:off x="-36512" y="4392702"/>
            <a:ext cx="4680520" cy="24652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Non-Production Workloads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Dev/Test Servers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No Load Balancing or Auto Scale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Not Memory Intensive Economic Option 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No SSD or Premium  Storag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3356992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Compute Tiers</a:t>
            </a:r>
          </a:p>
        </p:txBody>
      </p:sp>
      <p:sp>
        <p:nvSpPr>
          <p:cNvPr id="11" name="Title 3"/>
          <p:cNvSpPr txBox="1">
            <a:spLocks/>
          </p:cNvSpPr>
          <p:nvPr/>
        </p:nvSpPr>
        <p:spPr>
          <a:xfrm>
            <a:off x="4499992" y="4564102"/>
            <a:ext cx="4680520" cy="14571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Recommended for Production Workloads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All Server Types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Option for SSD and Premium Storag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>
          <a:xfrm>
            <a:off x="201930" y="289511"/>
            <a:ext cx="8741880" cy="899665"/>
          </a:xfrm>
          <a:prstGeom prst="rect">
            <a:avLst/>
          </a:prstGeom>
        </p:spPr>
        <p:txBody>
          <a:bodyPr vert="horz" wrap="square" lIns="120481" tIns="75301" rIns="120481" bIns="75301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768113">
              <a:defRPr/>
            </a:pPr>
            <a:r>
              <a:rPr lang="en-US" sz="4400" spc="-84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Virtual Machine Storage Architecture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3500430" y="1857364"/>
            <a:ext cx="4798747" cy="460694"/>
          </a:xfrm>
          <a:prstGeom prst="rect">
            <a:avLst/>
          </a:prstGeom>
          <a:solidFill>
            <a:srgbClr val="00B294"/>
          </a:solidFill>
          <a:ln w="1714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57613" tIns="28806" rIns="57613" bIns="28806" numCol="1" rtlCol="0" anchor="ctr" anchorCtr="0" compatLnSpc="1">
            <a:prstTxWarp prst="textNoShape">
              <a:avLst/>
            </a:prstTxWarp>
          </a:bodyPr>
          <a:lstStyle/>
          <a:p>
            <a:pPr algn="ctr" defTabSz="57595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600" kern="0" dirty="0" smtClean="0">
                <a:solidFill>
                  <a:sysClr val="windowText" lastClr="000000"/>
                </a:solidFill>
                <a:latin typeface="Segoe UI"/>
              </a:rPr>
              <a:t>Azure Virtual Machine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2793480" y="2776316"/>
            <a:ext cx="1560888" cy="413832"/>
          </a:xfrm>
          <a:prstGeom prst="rect">
            <a:avLst/>
          </a:prstGeom>
          <a:solidFill>
            <a:srgbClr val="7FBA00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57613" tIns="28806" rIns="57613" bIns="28806" numCol="1" rtlCol="0" anchor="ctr" anchorCtr="0" compatLnSpc="1">
            <a:prstTxWarp prst="textNoShape">
              <a:avLst/>
            </a:prstTxWarp>
          </a:bodyPr>
          <a:lstStyle/>
          <a:p>
            <a:pPr algn="ctr" defTabSz="57595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kern="0" dirty="0" smtClean="0">
                <a:solidFill>
                  <a:srgbClr val="FFFFFF"/>
                </a:solidFill>
                <a:latin typeface="Segoe UI"/>
              </a:rPr>
              <a:t>C:\</a:t>
            </a:r>
          </a:p>
          <a:p>
            <a:pPr algn="ctr" defTabSz="57595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kern="0" dirty="0" smtClean="0">
                <a:solidFill>
                  <a:srgbClr val="FFFFFF"/>
                </a:solidFill>
                <a:latin typeface="Segoe UI"/>
              </a:rPr>
              <a:t>OS Disk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6794086" y="2938164"/>
            <a:ext cx="1560888" cy="422011"/>
          </a:xfrm>
          <a:prstGeom prst="rect">
            <a:avLst/>
          </a:prstGeom>
          <a:solidFill>
            <a:srgbClr val="7FBA00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57613" tIns="28806" rIns="57613" bIns="28806" numCol="1" rtlCol="0" anchor="ctr" anchorCtr="0" compatLnSpc="1">
            <a:prstTxWarp prst="textNoShape">
              <a:avLst/>
            </a:prstTxWarp>
          </a:bodyPr>
          <a:lstStyle/>
          <a:p>
            <a:pPr algn="ctr" defTabSz="57595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kern="0" dirty="0" smtClean="0">
                <a:solidFill>
                  <a:srgbClr val="FFFFFF"/>
                </a:solidFill>
                <a:latin typeface="Segoe UI"/>
              </a:rPr>
              <a:t>E:\, F:\, etc.</a:t>
            </a:r>
          </a:p>
          <a:p>
            <a:pPr algn="ctr" defTabSz="57595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kern="0" dirty="0" smtClean="0">
                <a:solidFill>
                  <a:srgbClr val="FFFFFF"/>
                </a:solidFill>
                <a:latin typeface="Segoe UI"/>
              </a:rPr>
              <a:t>Data Disks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4799082" y="3191513"/>
            <a:ext cx="1560888" cy="663516"/>
          </a:xfrm>
          <a:prstGeom prst="rect">
            <a:avLst/>
          </a:pr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57613" tIns="28806" rIns="57613" bIns="28806" numCol="1" rtlCol="0" anchor="ctr" anchorCtr="0" compatLnSpc="1">
            <a:prstTxWarp prst="textNoShape">
              <a:avLst/>
            </a:prstTxWarp>
          </a:bodyPr>
          <a:lstStyle/>
          <a:p>
            <a:pPr algn="ctr" defTabSz="57595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kern="0" dirty="0" smtClean="0">
                <a:solidFill>
                  <a:sysClr val="windowText" lastClr="000000"/>
                </a:solidFill>
                <a:latin typeface="Segoe UI"/>
              </a:rPr>
              <a:t>D:\</a:t>
            </a:r>
          </a:p>
          <a:p>
            <a:pPr algn="ctr" defTabSz="57595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kern="0" dirty="0" smtClean="0">
                <a:solidFill>
                  <a:sysClr val="windowText" lastClr="000000"/>
                </a:solidFill>
                <a:latin typeface="Segoe UI"/>
              </a:rPr>
              <a:t>Temporary Disk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2796287" y="3565011"/>
            <a:ext cx="1572684" cy="290019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505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57613" tIns="28806" rIns="57613" bIns="28806" numCol="1" rtlCol="0" anchor="ctr" anchorCtr="0" compatLnSpc="1">
            <a:prstTxWarp prst="textNoShape">
              <a:avLst/>
            </a:prstTxWarp>
          </a:bodyPr>
          <a:lstStyle/>
          <a:p>
            <a:pPr algn="ctr" defTabSz="575959">
              <a:defRPr/>
            </a:pPr>
            <a:r>
              <a:rPr lang="en-US" sz="2000" i="1" kern="0" dirty="0" smtClean="0">
                <a:solidFill>
                  <a:sysClr val="windowText" lastClr="000000"/>
                </a:solidFill>
                <a:latin typeface="Segoe UI"/>
                <a:ea typeface="Segoe UI" pitchFamily="34" charset="0"/>
                <a:cs typeface="Segoe UI" pitchFamily="34" charset="0"/>
              </a:rPr>
              <a:t>Disk Cache</a:t>
            </a:r>
          </a:p>
        </p:txBody>
      </p:sp>
      <p:sp>
        <p:nvSpPr>
          <p:cNvPr id="22" name="Can 21"/>
          <p:cNvSpPr/>
          <p:nvPr/>
        </p:nvSpPr>
        <p:spPr bwMode="auto">
          <a:xfrm>
            <a:off x="7457175" y="5727130"/>
            <a:ext cx="1363297" cy="1086246"/>
          </a:xfrm>
          <a:prstGeom prst="can">
            <a:avLst/>
          </a:prstGeom>
          <a:solidFill>
            <a:srgbClr val="DC3C00">
              <a:lumMod val="60000"/>
              <a:lumOff val="40000"/>
            </a:srgbClr>
          </a:solidFill>
          <a:ln w="9525" cap="flat" cmpd="sng" algn="ctr">
            <a:solidFill>
              <a:srgbClr val="505050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57613" tIns="28806" rIns="57613" bIns="28806" numCol="1" rtlCol="0" anchor="ctr" anchorCtr="0" compatLnSpc="1">
            <a:prstTxWarp prst="textNoShape">
              <a:avLst/>
            </a:prstTxWarp>
          </a:bodyPr>
          <a:lstStyle/>
          <a:p>
            <a:pPr algn="ctr" defTabSz="575959">
              <a:defRPr/>
            </a:pPr>
            <a:r>
              <a:rPr lang="en-US" sz="2400" kern="0" dirty="0" smtClean="0">
                <a:solidFill>
                  <a:sysClr val="windowText" lastClr="000000">
                    <a:alpha val="98824"/>
                  </a:sysClr>
                </a:solidFill>
                <a:latin typeface="Segoe UI"/>
                <a:ea typeface="Segoe UI" pitchFamily="34" charset="0"/>
                <a:cs typeface="Segoe UI" pitchFamily="34" charset="0"/>
              </a:rPr>
              <a:t>Azure Blob</a:t>
            </a:r>
          </a:p>
        </p:txBody>
      </p:sp>
      <p:cxnSp>
        <p:nvCxnSpPr>
          <p:cNvPr id="23" name="Straight Arrow Connector 22"/>
          <p:cNvCxnSpPr>
            <a:stCxn id="19" idx="2"/>
            <a:endCxn id="22" idx="1"/>
          </p:cNvCxnSpPr>
          <p:nvPr/>
        </p:nvCxnSpPr>
        <p:spPr>
          <a:xfrm>
            <a:off x="7574530" y="3360175"/>
            <a:ext cx="564294" cy="2366955"/>
          </a:xfrm>
          <a:prstGeom prst="straightConnector1">
            <a:avLst/>
          </a:prstGeom>
          <a:noFill/>
          <a:ln w="38100" cap="flat" cmpd="sng" algn="ctr">
            <a:solidFill>
              <a:srgbClr val="7FBA00"/>
            </a:solidFill>
            <a:prstDash val="solid"/>
            <a:headEnd type="none"/>
            <a:tailEnd type="triangle"/>
          </a:ln>
          <a:effectLst/>
        </p:spPr>
      </p:cxnSp>
      <p:cxnSp>
        <p:nvCxnSpPr>
          <p:cNvPr id="24" name="Straight Arrow Connector 23"/>
          <p:cNvCxnSpPr>
            <a:stCxn id="21" idx="2"/>
            <a:endCxn id="22" idx="2"/>
          </p:cNvCxnSpPr>
          <p:nvPr/>
        </p:nvCxnSpPr>
        <p:spPr>
          <a:xfrm>
            <a:off x="3582629" y="3855030"/>
            <a:ext cx="3874546" cy="2415223"/>
          </a:xfrm>
          <a:prstGeom prst="straightConnector1">
            <a:avLst/>
          </a:prstGeom>
          <a:noFill/>
          <a:ln w="38100" cap="flat" cmpd="sng" algn="ctr">
            <a:solidFill>
              <a:srgbClr val="7FBA00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11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TextBox 11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Virtual Machine Storage Architecture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3531597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336245" y="1483917"/>
            <a:ext cx="7711532" cy="452849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306873" y="6416398"/>
            <a:ext cx="7838994" cy="43910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TextBox 5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Virtual Machine Disk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>
            <p:custDataLst>
              <p:tags r:id="rId2"/>
            </p:custDataLst>
          </p:nvPr>
        </p:nvSpPr>
        <p:spPr bwMode="auto">
          <a:xfrm>
            <a:off x="3942395" y="4221156"/>
            <a:ext cx="4230005" cy="2304188"/>
          </a:xfrm>
          <a:prstGeom prst="rect">
            <a:avLst/>
          </a:prstGeom>
          <a:solidFill>
            <a:schemeClr val="accent5"/>
          </a:solidFill>
          <a:ln>
            <a:solidFill>
              <a:srgbClr val="00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57577" tIns="28789" rIns="57577" bIns="28789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575613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4090416" y="4458056"/>
            <a:ext cx="1566225" cy="177763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76767" tIns="38384" rIns="76767" bIns="76796" numCol="1" spcCol="0" rtlCol="0" anchor="b" anchorCtr="0" compatLnSpc="1">
            <a:prstTxWarp prst="textNoShape">
              <a:avLst/>
            </a:prstTxWarp>
          </a:bodyPr>
          <a:lstStyle/>
          <a:p>
            <a:pPr algn="ctr" defTabSz="575613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</a:rPr>
              <a:t>Virtual Machine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6534411" y="4485464"/>
            <a:ext cx="1561903" cy="1750227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76767" tIns="38384" rIns="76767" bIns="76796" numCol="1" spcCol="0" rtlCol="0" anchor="b" anchorCtr="0" compatLnSpc="1">
            <a:prstTxWarp prst="textNoShape">
              <a:avLst/>
            </a:prstTxWarp>
          </a:bodyPr>
          <a:lstStyle/>
          <a:p>
            <a:pPr algn="ctr" defTabSz="575613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</a:rPr>
              <a:t>Virtual Machin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1143487" y="857256"/>
          <a:ext cx="89308" cy="119063"/>
        </p:xfrm>
        <a:graphic>
          <a:graphicData uri="http://schemas.openxmlformats.org/presentationml/2006/ole">
            <p:oleObj spid="_x0000_s29698" name="think-cell Slide" r:id="rId7" imgW="360" imgH="360" progId="">
              <p:embed/>
            </p:oleObj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44624"/>
            <a:ext cx="9144000" cy="648072"/>
          </a:xfrm>
        </p:spPr>
        <p:txBody>
          <a:bodyPr>
            <a:normAutofit/>
          </a:bodyPr>
          <a:lstStyle/>
          <a:p>
            <a:r>
              <a:rPr lang="en-US" sz="3200" dirty="0" smtClean="0">
                <a:latin typeface="Segoe UI Light" pitchFamily="34" charset="0"/>
              </a:rPr>
              <a:t>Availability Sets</a:t>
            </a:r>
            <a:endParaRPr lang="en-US" sz="3200" dirty="0">
              <a:latin typeface="Segoe UI Light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10656" y="908720"/>
            <a:ext cx="9133344" cy="30963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smtClean="0">
                <a:latin typeface="Segoe UI Light" pitchFamily="34" charset="0"/>
              </a:rPr>
              <a:t>An Availability Sets to group 2 or 3 VM’s in a manner such  that provides redundancy for application and is required for SLA</a:t>
            </a:r>
          </a:p>
          <a:p>
            <a:pPr marL="0" indent="0">
              <a:buNone/>
            </a:pPr>
            <a:r>
              <a:rPr lang="en-US" sz="2000" dirty="0" smtClean="0">
                <a:latin typeface="Segoe UI Light" pitchFamily="34" charset="0"/>
              </a:rPr>
              <a:t>Update Domain – upgraded together .</a:t>
            </a:r>
          </a:p>
          <a:p>
            <a:pPr marL="0" indent="0">
              <a:buNone/>
            </a:pPr>
            <a:r>
              <a:rPr lang="en-US" sz="2000" dirty="0" smtClean="0">
                <a:latin typeface="Segoe UI Light" pitchFamily="34" charset="0"/>
              </a:rPr>
              <a:t>Fault Domain  - Physical point of failure.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171426" y="4588567"/>
            <a:ext cx="1485215" cy="1127975"/>
            <a:chOff x="1" y="2703286"/>
            <a:chExt cx="1520439" cy="1219200"/>
          </a:xfrm>
        </p:grpSpPr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" y="2703286"/>
              <a:ext cx="1520439" cy="1219200"/>
            </a:xfrm>
            <a:prstGeom prst="rect">
              <a:avLst/>
            </a:prstGeom>
          </p:spPr>
        </p:pic>
        <p:sp>
          <p:nvSpPr>
            <p:cNvPr id="41" name="Freeform 6"/>
            <p:cNvSpPr>
              <a:spLocks noEditPoints="1"/>
            </p:cNvSpPr>
            <p:nvPr/>
          </p:nvSpPr>
          <p:spPr bwMode="auto">
            <a:xfrm>
              <a:off x="119095" y="2960141"/>
              <a:ext cx="1288134" cy="833158"/>
            </a:xfrm>
            <a:custGeom>
              <a:avLst/>
              <a:gdLst>
                <a:gd name="T0" fmla="*/ 482 w 966"/>
                <a:gd name="T1" fmla="*/ 2028 h 2028"/>
                <a:gd name="T2" fmla="*/ 966 w 966"/>
                <a:gd name="T3" fmla="*/ 1866 h 2028"/>
                <a:gd name="T4" fmla="*/ 966 w 966"/>
                <a:gd name="T5" fmla="*/ 162 h 2028"/>
                <a:gd name="T6" fmla="*/ 482 w 966"/>
                <a:gd name="T7" fmla="*/ 0 h 2028"/>
                <a:gd name="T8" fmla="*/ 0 w 966"/>
                <a:gd name="T9" fmla="*/ 162 h 2028"/>
                <a:gd name="T10" fmla="*/ 0 w 966"/>
                <a:gd name="T11" fmla="*/ 1866 h 2028"/>
                <a:gd name="T12" fmla="*/ 482 w 966"/>
                <a:gd name="T13" fmla="*/ 2028 h 2028"/>
                <a:gd name="T14" fmla="*/ 482 w 966"/>
                <a:gd name="T15" fmla="*/ 48 h 2028"/>
                <a:gd name="T16" fmla="*/ 890 w 966"/>
                <a:gd name="T17" fmla="*/ 159 h 2028"/>
                <a:gd name="T18" fmla="*/ 482 w 966"/>
                <a:gd name="T19" fmla="*/ 270 h 2028"/>
                <a:gd name="T20" fmla="*/ 76 w 966"/>
                <a:gd name="T21" fmla="*/ 159 h 2028"/>
                <a:gd name="T22" fmla="*/ 482 w 966"/>
                <a:gd name="T23" fmla="*/ 4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6" h="2028">
                  <a:moveTo>
                    <a:pt x="482" y="2028"/>
                  </a:moveTo>
                  <a:cubicBezTo>
                    <a:pt x="663" y="2028"/>
                    <a:pt x="966" y="1993"/>
                    <a:pt x="966" y="1866"/>
                  </a:cubicBezTo>
                  <a:cubicBezTo>
                    <a:pt x="966" y="1076"/>
                    <a:pt x="966" y="162"/>
                    <a:pt x="966" y="162"/>
                  </a:cubicBezTo>
                  <a:cubicBezTo>
                    <a:pt x="966" y="34"/>
                    <a:pt x="663" y="0"/>
                    <a:pt x="482" y="0"/>
                  </a:cubicBezTo>
                  <a:cubicBezTo>
                    <a:pt x="303" y="0"/>
                    <a:pt x="0" y="34"/>
                    <a:pt x="0" y="162"/>
                  </a:cubicBezTo>
                  <a:cubicBezTo>
                    <a:pt x="0" y="952"/>
                    <a:pt x="0" y="1866"/>
                    <a:pt x="0" y="1866"/>
                  </a:cubicBezTo>
                  <a:cubicBezTo>
                    <a:pt x="0" y="1993"/>
                    <a:pt x="303" y="2028"/>
                    <a:pt x="482" y="2028"/>
                  </a:cubicBezTo>
                  <a:close/>
                  <a:moveTo>
                    <a:pt x="482" y="48"/>
                  </a:moveTo>
                  <a:cubicBezTo>
                    <a:pt x="708" y="48"/>
                    <a:pt x="890" y="97"/>
                    <a:pt x="890" y="159"/>
                  </a:cubicBezTo>
                  <a:cubicBezTo>
                    <a:pt x="890" y="220"/>
                    <a:pt x="708" y="270"/>
                    <a:pt x="482" y="270"/>
                  </a:cubicBezTo>
                  <a:cubicBezTo>
                    <a:pt x="258" y="270"/>
                    <a:pt x="76" y="220"/>
                    <a:pt x="76" y="159"/>
                  </a:cubicBezTo>
                  <a:cubicBezTo>
                    <a:pt x="76" y="97"/>
                    <a:pt x="258" y="48"/>
                    <a:pt x="482" y="48"/>
                  </a:cubicBez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93260" tIns="46630" rIns="93260" bIns="4663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dirty="0">
                  <a:solidFill>
                    <a:srgbClr val="000000">
                      <a:alpha val="99000"/>
                    </a:srgbClr>
                  </a:solidFill>
                </a:rPr>
                <a:t>SQL Server</a:t>
              </a:r>
            </a:p>
            <a:p>
              <a:pPr algn="ctr">
                <a:lnSpc>
                  <a:spcPct val="90000"/>
                </a:lnSpc>
              </a:pPr>
              <a:r>
                <a:rPr lang="en-US" sz="1600" dirty="0">
                  <a:solidFill>
                    <a:srgbClr val="000000">
                      <a:alpha val="99000"/>
                    </a:srgbClr>
                  </a:solidFill>
                </a:rPr>
                <a:t>Primary </a:t>
              </a:r>
            </a:p>
          </p:txBody>
        </p:sp>
      </p:grpSp>
      <p:grpSp>
        <p:nvGrpSpPr>
          <p:cNvPr id="5" name="Group 41"/>
          <p:cNvGrpSpPr/>
          <p:nvPr/>
        </p:nvGrpSpPr>
        <p:grpSpPr>
          <a:xfrm>
            <a:off x="6651913" y="4654161"/>
            <a:ext cx="1444401" cy="1231610"/>
            <a:chOff x="1" y="2703287"/>
            <a:chExt cx="1686130" cy="1352063"/>
          </a:xfrm>
        </p:grpSpPr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" y="2703287"/>
              <a:ext cx="1686130" cy="1352063"/>
            </a:xfrm>
            <a:prstGeom prst="rect">
              <a:avLst/>
            </a:prstGeom>
          </p:spPr>
        </p:pic>
        <p:sp>
          <p:nvSpPr>
            <p:cNvPr id="44" name="Freeform 6"/>
            <p:cNvSpPr>
              <a:spLocks noEditPoints="1"/>
            </p:cNvSpPr>
            <p:nvPr/>
          </p:nvSpPr>
          <p:spPr bwMode="auto">
            <a:xfrm>
              <a:off x="222351" y="3040215"/>
              <a:ext cx="1288134" cy="833158"/>
            </a:xfrm>
            <a:custGeom>
              <a:avLst/>
              <a:gdLst>
                <a:gd name="T0" fmla="*/ 482 w 966"/>
                <a:gd name="T1" fmla="*/ 2028 h 2028"/>
                <a:gd name="T2" fmla="*/ 966 w 966"/>
                <a:gd name="T3" fmla="*/ 1866 h 2028"/>
                <a:gd name="T4" fmla="*/ 966 w 966"/>
                <a:gd name="T5" fmla="*/ 162 h 2028"/>
                <a:gd name="T6" fmla="*/ 482 w 966"/>
                <a:gd name="T7" fmla="*/ 0 h 2028"/>
                <a:gd name="T8" fmla="*/ 0 w 966"/>
                <a:gd name="T9" fmla="*/ 162 h 2028"/>
                <a:gd name="T10" fmla="*/ 0 w 966"/>
                <a:gd name="T11" fmla="*/ 1866 h 2028"/>
                <a:gd name="T12" fmla="*/ 482 w 966"/>
                <a:gd name="T13" fmla="*/ 2028 h 2028"/>
                <a:gd name="T14" fmla="*/ 482 w 966"/>
                <a:gd name="T15" fmla="*/ 48 h 2028"/>
                <a:gd name="T16" fmla="*/ 890 w 966"/>
                <a:gd name="T17" fmla="*/ 159 h 2028"/>
                <a:gd name="T18" fmla="*/ 482 w 966"/>
                <a:gd name="T19" fmla="*/ 270 h 2028"/>
                <a:gd name="T20" fmla="*/ 76 w 966"/>
                <a:gd name="T21" fmla="*/ 159 h 2028"/>
                <a:gd name="T22" fmla="*/ 482 w 966"/>
                <a:gd name="T23" fmla="*/ 4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6" h="2028">
                  <a:moveTo>
                    <a:pt x="482" y="2028"/>
                  </a:moveTo>
                  <a:cubicBezTo>
                    <a:pt x="663" y="2028"/>
                    <a:pt x="966" y="1993"/>
                    <a:pt x="966" y="1866"/>
                  </a:cubicBezTo>
                  <a:cubicBezTo>
                    <a:pt x="966" y="1076"/>
                    <a:pt x="966" y="162"/>
                    <a:pt x="966" y="162"/>
                  </a:cubicBezTo>
                  <a:cubicBezTo>
                    <a:pt x="966" y="34"/>
                    <a:pt x="663" y="0"/>
                    <a:pt x="482" y="0"/>
                  </a:cubicBezTo>
                  <a:cubicBezTo>
                    <a:pt x="303" y="0"/>
                    <a:pt x="0" y="34"/>
                    <a:pt x="0" y="162"/>
                  </a:cubicBezTo>
                  <a:cubicBezTo>
                    <a:pt x="0" y="952"/>
                    <a:pt x="0" y="1866"/>
                    <a:pt x="0" y="1866"/>
                  </a:cubicBezTo>
                  <a:cubicBezTo>
                    <a:pt x="0" y="1993"/>
                    <a:pt x="303" y="2028"/>
                    <a:pt x="482" y="2028"/>
                  </a:cubicBezTo>
                  <a:close/>
                  <a:moveTo>
                    <a:pt x="482" y="48"/>
                  </a:moveTo>
                  <a:cubicBezTo>
                    <a:pt x="708" y="48"/>
                    <a:pt x="890" y="97"/>
                    <a:pt x="890" y="159"/>
                  </a:cubicBezTo>
                  <a:cubicBezTo>
                    <a:pt x="890" y="220"/>
                    <a:pt x="708" y="270"/>
                    <a:pt x="482" y="270"/>
                  </a:cubicBezTo>
                  <a:cubicBezTo>
                    <a:pt x="258" y="270"/>
                    <a:pt x="76" y="220"/>
                    <a:pt x="76" y="159"/>
                  </a:cubicBezTo>
                  <a:cubicBezTo>
                    <a:pt x="76" y="97"/>
                    <a:pt x="258" y="48"/>
                    <a:pt x="482" y="48"/>
                  </a:cubicBez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93260" tIns="46630" rIns="93260" bIns="4663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dirty="0">
                  <a:solidFill>
                    <a:srgbClr val="000000">
                      <a:alpha val="99000"/>
                    </a:srgbClr>
                  </a:solidFill>
                </a:rPr>
                <a:t>SQL Server</a:t>
              </a:r>
            </a:p>
            <a:p>
              <a:pPr algn="ctr">
                <a:lnSpc>
                  <a:spcPct val="90000"/>
                </a:lnSpc>
              </a:pPr>
              <a:r>
                <a:rPr lang="en-US" sz="1600" dirty="0">
                  <a:solidFill>
                    <a:srgbClr val="000000">
                      <a:alpha val="99000"/>
                    </a:srgbClr>
                  </a:solidFill>
                </a:rPr>
                <a:t>Secondary </a:t>
              </a:r>
            </a:p>
          </p:txBody>
        </p:sp>
      </p:grpSp>
      <p:sp>
        <p:nvSpPr>
          <p:cNvPr id="45" name="Rectangle 44"/>
          <p:cNvSpPr/>
          <p:nvPr>
            <p:custDataLst>
              <p:tags r:id="rId4"/>
            </p:custDataLst>
          </p:nvPr>
        </p:nvSpPr>
        <p:spPr bwMode="auto">
          <a:xfrm>
            <a:off x="395536" y="5229200"/>
            <a:ext cx="2921902" cy="46346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57577" tIns="28789" rIns="57577" bIns="28789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575613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</a:rPr>
              <a:t>Availability </a:t>
            </a:r>
            <a:r>
              <a:rPr lang="en-US" sz="2000" b="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</a:rPr>
              <a:t>set SLA 99.95</a:t>
            </a:r>
            <a:endParaRPr lang="en-US" sz="2000" b="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Light" pitchFamily="34" charset="0"/>
            </a:endParaRPr>
          </a:p>
        </p:txBody>
      </p:sp>
      <p:sp>
        <p:nvSpPr>
          <p:cNvPr id="17" name="Left Brace 16"/>
          <p:cNvSpPr/>
          <p:nvPr/>
        </p:nvSpPr>
        <p:spPr>
          <a:xfrm rot="16200000">
            <a:off x="5744584" y="3771461"/>
            <a:ext cx="501179" cy="5870683"/>
          </a:xfrm>
          <a:prstGeom prst="leftBrace">
            <a:avLst/>
          </a:prstGeom>
          <a:ln w="571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301" tIns="37650" rIns="75301" bIns="37650" rtlCol="0" anchor="ctr"/>
          <a:lstStyle/>
          <a:p>
            <a:pPr algn="ctr"/>
            <a:endParaRPr lang="en-US" b="1" dirty="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544822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 txBox="1">
            <a:spLocks/>
          </p:cNvSpPr>
          <p:nvPr/>
        </p:nvSpPr>
        <p:spPr>
          <a:xfrm>
            <a:off x="0" y="764704"/>
            <a:ext cx="3851920" cy="45365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20000"/>
              </a:spcBef>
            </a:pPr>
            <a:r>
              <a:rPr lang="en-US" sz="2100" dirty="0" smtClean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itchFamily="34" charset="0"/>
              </a:rPr>
              <a:t>The </a:t>
            </a:r>
            <a:r>
              <a:rPr lang="en-US" sz="2100" dirty="0" err="1" smtClean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itchFamily="34" charset="0"/>
              </a:rPr>
              <a:t>Autoscale</a:t>
            </a:r>
            <a:r>
              <a:rPr lang="en-US" sz="2100" dirty="0" smtClean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itchFamily="34" charset="0"/>
              </a:rPr>
              <a:t> Service for </a:t>
            </a:r>
            <a:r>
              <a:rPr lang="en-US" sz="2100" dirty="0" err="1" smtClean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itchFamily="34" charset="0"/>
              </a:rPr>
              <a:t>IaaS</a:t>
            </a:r>
            <a:r>
              <a:rPr lang="en-US" sz="2100" dirty="0" smtClean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itchFamily="34" charset="0"/>
              </a:rPr>
              <a:t> supports auto scaling VMs which are in the same Availability Set only</a:t>
            </a:r>
          </a:p>
          <a:p>
            <a:pPr marL="742950" lvl="1" indent="-285750">
              <a:spcBef>
                <a:spcPct val="20000"/>
              </a:spcBef>
              <a:buFont typeface="Arial" pitchFamily="34" charset="0"/>
              <a:buChar char="–"/>
            </a:pPr>
            <a:r>
              <a:rPr lang="en-US" sz="2000" dirty="0" smtClean="0">
                <a:solidFill>
                  <a:prstClr val="black"/>
                </a:solidFill>
                <a:latin typeface="Segoe UI Light" pitchFamily="34" charset="0"/>
              </a:rPr>
              <a:t>Configurable only via Azure Portal, APIs or via Management Client</a:t>
            </a:r>
          </a:p>
          <a:p>
            <a:pPr marL="742950" lvl="1" indent="-285750">
              <a:spcBef>
                <a:spcPct val="20000"/>
              </a:spcBef>
              <a:buFont typeface="Arial" pitchFamily="34" charset="0"/>
              <a:buChar char="–"/>
            </a:pPr>
            <a:r>
              <a:rPr lang="en-US" sz="2000" dirty="0" smtClean="0">
                <a:solidFill>
                  <a:prstClr val="black"/>
                </a:solidFill>
                <a:latin typeface="Segoe UI Light" pitchFamily="34" charset="0"/>
              </a:rPr>
              <a:t>Supported for Standard VM sizes only</a:t>
            </a:r>
          </a:p>
          <a:p>
            <a:pPr marL="742950" lvl="1" indent="-285750">
              <a:spcBef>
                <a:spcPct val="20000"/>
              </a:spcBef>
              <a:buFont typeface="Arial" pitchFamily="34" charset="0"/>
              <a:buChar char="–"/>
            </a:pPr>
            <a:r>
              <a:rPr lang="en-US" sz="2000" dirty="0" smtClean="0">
                <a:solidFill>
                  <a:prstClr val="black"/>
                </a:solidFill>
                <a:latin typeface="Segoe UI Light" pitchFamily="34" charset="0"/>
              </a:rPr>
              <a:t>Customer still pays for storage even when VM is stopped by </a:t>
            </a:r>
            <a:r>
              <a:rPr lang="en-US" sz="2000" dirty="0" err="1" smtClean="0">
                <a:solidFill>
                  <a:prstClr val="black"/>
                </a:solidFill>
                <a:latin typeface="Segoe UI Light" pitchFamily="34" charset="0"/>
              </a:rPr>
              <a:t>autoscale</a:t>
            </a:r>
            <a:r>
              <a:rPr lang="en-US" sz="2000" dirty="0" smtClean="0">
                <a:solidFill>
                  <a:prstClr val="black"/>
                </a:solidFill>
                <a:latin typeface="Segoe UI Light" pitchFamily="34" charset="0"/>
              </a:rPr>
              <a:t> service</a:t>
            </a:r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Box 4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err="1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Autoscale</a:t>
            </a:r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 for </a:t>
            </a:r>
            <a:r>
              <a:rPr lang="en-US" sz="3200" dirty="0" err="1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Iaa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 txBox="1">
            <a:spLocks/>
          </p:cNvSpPr>
          <p:nvPr/>
        </p:nvSpPr>
        <p:spPr>
          <a:xfrm>
            <a:off x="0" y="764704"/>
            <a:ext cx="9144000" cy="6093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kumimoji="0" lang="en-US" sz="28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itchFamily="34" charset="0"/>
                <a:ea typeface="+mj-ea"/>
                <a:cs typeface="+mj-cs"/>
              </a:rPr>
              <a:t/>
            </a:r>
            <a:br>
              <a:rPr kumimoji="0" lang="en-US" sz="28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itchFamily="34" charset="0"/>
                <a:ea typeface="+mj-ea"/>
                <a:cs typeface="+mj-cs"/>
              </a:rPr>
            </a:br>
            <a:r>
              <a:rPr lang="en-US" sz="2800" dirty="0" smtClean="0">
                <a:latin typeface="Segoe UI Light" pitchFamily="34" charset="0"/>
              </a:rPr>
              <a:t>Why Azure Cloud?</a:t>
            </a:r>
          </a:p>
          <a:p>
            <a:pPr lvl="0">
              <a:spcBef>
                <a:spcPct val="0"/>
              </a:spcBef>
            </a:pPr>
            <a:r>
              <a:rPr lang="en-US" sz="2800" dirty="0" smtClean="0">
                <a:latin typeface="Segoe UI Light" pitchFamily="34" charset="0"/>
              </a:rPr>
              <a:t>Microsoft Azure  Service Models -  </a:t>
            </a:r>
            <a:r>
              <a:rPr lang="en-US" sz="2800" dirty="0" err="1" smtClean="0">
                <a:latin typeface="Segoe UI Light" pitchFamily="34" charset="0"/>
              </a:rPr>
              <a:t>IaaS</a:t>
            </a:r>
            <a:r>
              <a:rPr lang="en-US" sz="2800" dirty="0" smtClean="0">
                <a:latin typeface="Segoe UI Light" pitchFamily="34" charset="0"/>
              </a:rPr>
              <a:t>/</a:t>
            </a:r>
            <a:r>
              <a:rPr lang="en-US" sz="2800" dirty="0" err="1" smtClean="0">
                <a:latin typeface="Segoe UI Light" pitchFamily="34" charset="0"/>
              </a:rPr>
              <a:t>PaaS</a:t>
            </a:r>
            <a:r>
              <a:rPr lang="en-US" sz="2800" dirty="0" smtClean="0">
                <a:latin typeface="Segoe UI Light" pitchFamily="34" charset="0"/>
              </a:rPr>
              <a:t>/</a:t>
            </a:r>
            <a:r>
              <a:rPr lang="en-US" sz="2800" dirty="0" err="1" smtClean="0">
                <a:latin typeface="Segoe UI Light" pitchFamily="34" charset="0"/>
              </a:rPr>
              <a:t>SaaS</a:t>
            </a:r>
            <a:endParaRPr lang="en-US" sz="2800" dirty="0" smtClean="0">
              <a:latin typeface="Segoe UI Light" pitchFamily="34" charset="0"/>
            </a:endParaRPr>
          </a:p>
          <a:p>
            <a:pPr>
              <a:spcBef>
                <a:spcPct val="0"/>
              </a:spcBef>
            </a:pPr>
            <a:r>
              <a:rPr kumimoji="0" lang="en-US" sz="28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itchFamily="34" charset="0"/>
                <a:ea typeface="+mj-ea"/>
                <a:cs typeface="+mj-cs"/>
              </a:rPr>
              <a:t>Azure cloud Compute </a:t>
            </a:r>
            <a:r>
              <a:rPr lang="en-US" sz="2800" dirty="0" smtClean="0">
                <a:latin typeface="Segoe UI Light" pitchFamily="34" charset="0"/>
                <a:ea typeface="+mj-ea"/>
                <a:cs typeface="+mj-cs"/>
              </a:rPr>
              <a:t>– Virtual Machine </a:t>
            </a:r>
          </a:p>
          <a:p>
            <a:pPr>
              <a:spcBef>
                <a:spcPct val="0"/>
              </a:spcBef>
            </a:pPr>
            <a:r>
              <a:rPr lang="en-US" sz="2800" dirty="0" smtClean="0">
                <a:latin typeface="Segoe UI Light" pitchFamily="34" charset="0"/>
                <a:ea typeface="+mj-ea"/>
                <a:cs typeface="+mj-cs"/>
              </a:rPr>
              <a:t>Azure Less Worries</a:t>
            </a:r>
          </a:p>
          <a:p>
            <a:pPr>
              <a:spcBef>
                <a:spcPct val="0"/>
              </a:spcBef>
            </a:pPr>
            <a:r>
              <a:rPr lang="en-US" sz="2800" dirty="0" smtClean="0">
                <a:latin typeface="Segoe UI Light" pitchFamily="34" charset="0"/>
              </a:rPr>
              <a:t>Microsoft Azure Services</a:t>
            </a:r>
          </a:p>
          <a:p>
            <a:pPr>
              <a:spcBef>
                <a:spcPct val="0"/>
              </a:spcBef>
            </a:pPr>
            <a:r>
              <a:rPr lang="en-US" sz="2800" dirty="0" smtClean="0">
                <a:latin typeface="Segoe UI Light" pitchFamily="34" charset="0"/>
              </a:rPr>
              <a:t>Azure Cloud Computing Terminology</a:t>
            </a:r>
          </a:p>
          <a:p>
            <a:pPr lvl="0">
              <a:spcBef>
                <a:spcPct val="0"/>
              </a:spcBef>
            </a:pPr>
            <a:r>
              <a:rPr lang="en-US" sz="2800" dirty="0" smtClean="0">
                <a:latin typeface="Segoe UI Light" pitchFamily="34" charset="0"/>
                <a:ea typeface="+mj-ea"/>
                <a:cs typeface="+mj-cs"/>
              </a:rPr>
              <a:t>Azure Storage</a:t>
            </a:r>
          </a:p>
          <a:p>
            <a:pPr lvl="0">
              <a:spcBef>
                <a:spcPct val="0"/>
              </a:spcBef>
            </a:pPr>
            <a:r>
              <a:rPr lang="en-US" sz="2800" dirty="0" smtClean="0">
                <a:latin typeface="Segoe UI Light" pitchFamily="34" charset="0"/>
                <a:ea typeface="+mj-ea"/>
                <a:cs typeface="+mj-cs"/>
              </a:rPr>
              <a:t>Azure Virtual Network (</a:t>
            </a:r>
            <a:r>
              <a:rPr lang="en-US" sz="2800" dirty="0" err="1" smtClean="0">
                <a:latin typeface="Segoe UI Light" pitchFamily="34" charset="0"/>
                <a:ea typeface="+mj-ea"/>
                <a:cs typeface="+mj-cs"/>
              </a:rPr>
              <a:t>Vnet</a:t>
            </a:r>
            <a:r>
              <a:rPr lang="en-US" sz="2800" dirty="0" smtClean="0">
                <a:latin typeface="Segoe UI Light" pitchFamily="34" charset="0"/>
                <a:ea typeface="+mj-ea"/>
                <a:cs typeface="+mj-cs"/>
              </a:rPr>
              <a:t>)</a:t>
            </a:r>
          </a:p>
          <a:p>
            <a:pPr lvl="0">
              <a:spcBef>
                <a:spcPct val="0"/>
              </a:spcBef>
            </a:pPr>
            <a:r>
              <a:rPr lang="en-US" sz="2800" dirty="0" smtClean="0">
                <a:latin typeface="Segoe UI Light" pitchFamily="34" charset="0"/>
                <a:ea typeface="+mj-ea"/>
                <a:cs typeface="+mj-cs"/>
              </a:rPr>
              <a:t>RBAC Role based access control</a:t>
            </a:r>
          </a:p>
          <a:p>
            <a:pPr lvl="0">
              <a:spcBef>
                <a:spcPct val="0"/>
              </a:spcBef>
            </a:pPr>
            <a:r>
              <a:rPr kumimoji="0" lang="en-US" sz="28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itchFamily="34" charset="0"/>
                <a:ea typeface="+mj-ea"/>
                <a:cs typeface="+mj-cs"/>
              </a:rPr>
              <a:t>Migrating Applications</a:t>
            </a:r>
            <a:r>
              <a:rPr kumimoji="0" lang="en-US" sz="28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itchFamily="34" charset="0"/>
                <a:ea typeface="+mj-ea"/>
                <a:cs typeface="+mj-cs"/>
              </a:rPr>
              <a:t>  to Azure</a:t>
            </a:r>
          </a:p>
          <a:p>
            <a:pPr lvl="0">
              <a:spcBef>
                <a:spcPct val="0"/>
              </a:spcBef>
            </a:pPr>
            <a:r>
              <a:rPr lang="en-US" sz="2800" dirty="0" smtClean="0">
                <a:latin typeface="Segoe UI Light" pitchFamily="34" charset="0"/>
                <a:ea typeface="+mj-ea"/>
                <a:cs typeface="+mj-cs"/>
              </a:rPr>
              <a:t>Use c</a:t>
            </a:r>
            <a:r>
              <a:rPr kumimoji="0" lang="en-US" sz="2800" i="0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itchFamily="34" charset="0"/>
                <a:ea typeface="+mj-ea"/>
                <a:cs typeface="+mj-cs"/>
              </a:rPr>
              <a:t>ase</a:t>
            </a:r>
            <a:r>
              <a:rPr kumimoji="0" lang="en-US" sz="28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itchFamily="34" charset="0"/>
                <a:ea typeface="+mj-ea"/>
                <a:cs typeface="+mj-cs"/>
              </a:rPr>
              <a:t> study</a:t>
            </a:r>
          </a:p>
          <a:p>
            <a:pPr lvl="0">
              <a:spcBef>
                <a:spcPct val="0"/>
              </a:spcBef>
            </a:pPr>
            <a:endParaRPr kumimoji="0" lang="en-US" sz="28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Light" pitchFamily="34" charset="0"/>
              <a:ea typeface="+mj-ea"/>
              <a:cs typeface="+mj-cs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Box 4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Agenda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0" y="2420887"/>
            <a:ext cx="9144000" cy="1296145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TextBox 7"/>
          <p:cNvSpPr txBox="1"/>
          <p:nvPr/>
        </p:nvSpPr>
        <p:spPr>
          <a:xfrm>
            <a:off x="0" y="2636912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Microsoft Azure Storage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186252" y="0"/>
            <a:ext cx="4959616" cy="6848043"/>
          </a:xfrm>
          <a:custGeom>
            <a:avLst/>
            <a:gdLst/>
            <a:ahLst/>
            <a:cxnLst/>
            <a:rect l="l" t="t" r="r" b="b"/>
            <a:pathLst>
              <a:path w="6743700" h="6987540">
                <a:moveTo>
                  <a:pt x="6743700" y="0"/>
                </a:moveTo>
                <a:lnTo>
                  <a:pt x="1147997" y="0"/>
                </a:lnTo>
                <a:lnTo>
                  <a:pt x="1128754" y="16597"/>
                </a:lnTo>
                <a:lnTo>
                  <a:pt x="1076757" y="64376"/>
                </a:lnTo>
                <a:lnTo>
                  <a:pt x="1025617" y="115295"/>
                </a:lnTo>
                <a:lnTo>
                  <a:pt x="975361" y="169293"/>
                </a:lnTo>
                <a:lnTo>
                  <a:pt x="926021" y="226312"/>
                </a:lnTo>
                <a:lnTo>
                  <a:pt x="901702" y="255936"/>
                </a:lnTo>
                <a:lnTo>
                  <a:pt x="877624" y="286292"/>
                </a:lnTo>
                <a:lnTo>
                  <a:pt x="853788" y="317373"/>
                </a:lnTo>
                <a:lnTo>
                  <a:pt x="830199" y="349172"/>
                </a:lnTo>
                <a:lnTo>
                  <a:pt x="806860" y="381681"/>
                </a:lnTo>
                <a:lnTo>
                  <a:pt x="783776" y="414893"/>
                </a:lnTo>
                <a:lnTo>
                  <a:pt x="760949" y="448800"/>
                </a:lnTo>
                <a:lnTo>
                  <a:pt x="738384" y="483394"/>
                </a:lnTo>
                <a:lnTo>
                  <a:pt x="716083" y="518670"/>
                </a:lnTo>
                <a:lnTo>
                  <a:pt x="694051" y="554617"/>
                </a:lnTo>
                <a:lnTo>
                  <a:pt x="672291" y="591231"/>
                </a:lnTo>
                <a:lnTo>
                  <a:pt x="650807" y="628502"/>
                </a:lnTo>
                <a:lnTo>
                  <a:pt x="629603" y="666424"/>
                </a:lnTo>
                <a:lnTo>
                  <a:pt x="608682" y="704988"/>
                </a:lnTo>
                <a:lnTo>
                  <a:pt x="588047" y="744188"/>
                </a:lnTo>
                <a:lnTo>
                  <a:pt x="567703" y="784016"/>
                </a:lnTo>
                <a:lnTo>
                  <a:pt x="547652" y="824464"/>
                </a:lnTo>
                <a:lnTo>
                  <a:pt x="527900" y="865526"/>
                </a:lnTo>
                <a:lnTo>
                  <a:pt x="508448" y="907193"/>
                </a:lnTo>
                <a:lnTo>
                  <a:pt x="489301" y="949458"/>
                </a:lnTo>
                <a:lnTo>
                  <a:pt x="470463" y="992314"/>
                </a:lnTo>
                <a:lnTo>
                  <a:pt x="451938" y="1035753"/>
                </a:lnTo>
                <a:lnTo>
                  <a:pt x="433727" y="1079768"/>
                </a:lnTo>
                <a:lnTo>
                  <a:pt x="415837" y="1124350"/>
                </a:lnTo>
                <a:lnTo>
                  <a:pt x="398269" y="1169494"/>
                </a:lnTo>
                <a:lnTo>
                  <a:pt x="381028" y="1215191"/>
                </a:lnTo>
                <a:lnTo>
                  <a:pt x="364117" y="1261433"/>
                </a:lnTo>
                <a:lnTo>
                  <a:pt x="347541" y="1308214"/>
                </a:lnTo>
                <a:lnTo>
                  <a:pt x="331302" y="1355526"/>
                </a:lnTo>
                <a:lnTo>
                  <a:pt x="315404" y="1403361"/>
                </a:lnTo>
                <a:lnTo>
                  <a:pt x="299851" y="1451711"/>
                </a:lnTo>
                <a:lnTo>
                  <a:pt x="284646" y="1500571"/>
                </a:lnTo>
                <a:lnTo>
                  <a:pt x="269793" y="1549931"/>
                </a:lnTo>
                <a:lnTo>
                  <a:pt x="255297" y="1599784"/>
                </a:lnTo>
                <a:lnTo>
                  <a:pt x="241159" y="1650124"/>
                </a:lnTo>
                <a:lnTo>
                  <a:pt x="227385" y="1700942"/>
                </a:lnTo>
                <a:lnTo>
                  <a:pt x="213977" y="1752231"/>
                </a:lnTo>
                <a:lnTo>
                  <a:pt x="200939" y="1803984"/>
                </a:lnTo>
                <a:lnTo>
                  <a:pt x="188276" y="1856193"/>
                </a:lnTo>
                <a:lnTo>
                  <a:pt x="175990" y="1908850"/>
                </a:lnTo>
                <a:lnTo>
                  <a:pt x="164085" y="1961949"/>
                </a:lnTo>
                <a:lnTo>
                  <a:pt x="152564" y="2015481"/>
                </a:lnTo>
                <a:lnTo>
                  <a:pt x="141433" y="2069439"/>
                </a:lnTo>
                <a:lnTo>
                  <a:pt x="130693" y="2123816"/>
                </a:lnTo>
                <a:lnTo>
                  <a:pt x="120349" y="2178604"/>
                </a:lnTo>
                <a:lnTo>
                  <a:pt x="110404" y="2233796"/>
                </a:lnTo>
                <a:lnTo>
                  <a:pt x="100863" y="2289385"/>
                </a:lnTo>
                <a:lnTo>
                  <a:pt x="91727" y="2345362"/>
                </a:lnTo>
                <a:lnTo>
                  <a:pt x="83002" y="2401720"/>
                </a:lnTo>
                <a:lnTo>
                  <a:pt x="74691" y="2458453"/>
                </a:lnTo>
                <a:lnTo>
                  <a:pt x="66798" y="2515551"/>
                </a:lnTo>
                <a:lnTo>
                  <a:pt x="59325" y="2573009"/>
                </a:lnTo>
                <a:lnTo>
                  <a:pt x="52277" y="2630818"/>
                </a:lnTo>
                <a:lnTo>
                  <a:pt x="45658" y="2688971"/>
                </a:lnTo>
                <a:lnTo>
                  <a:pt x="39471" y="2747461"/>
                </a:lnTo>
                <a:lnTo>
                  <a:pt x="33719" y="2806279"/>
                </a:lnTo>
                <a:lnTo>
                  <a:pt x="28406" y="2865419"/>
                </a:lnTo>
                <a:lnTo>
                  <a:pt x="23537" y="2924873"/>
                </a:lnTo>
                <a:lnTo>
                  <a:pt x="19114" y="2984634"/>
                </a:lnTo>
                <a:lnTo>
                  <a:pt x="15141" y="3044694"/>
                </a:lnTo>
                <a:lnTo>
                  <a:pt x="11622" y="3105046"/>
                </a:lnTo>
                <a:lnTo>
                  <a:pt x="8560" y="3165681"/>
                </a:lnTo>
                <a:lnTo>
                  <a:pt x="5959" y="3226594"/>
                </a:lnTo>
                <a:lnTo>
                  <a:pt x="3824" y="3287775"/>
                </a:lnTo>
                <a:lnTo>
                  <a:pt x="2156" y="3349219"/>
                </a:lnTo>
                <a:lnTo>
                  <a:pt x="960" y="3410916"/>
                </a:lnTo>
                <a:lnTo>
                  <a:pt x="240" y="3472861"/>
                </a:lnTo>
                <a:lnTo>
                  <a:pt x="0" y="3535044"/>
                </a:lnTo>
                <a:lnTo>
                  <a:pt x="235" y="3596605"/>
                </a:lnTo>
                <a:lnTo>
                  <a:pt x="941" y="3657932"/>
                </a:lnTo>
                <a:lnTo>
                  <a:pt x="2113" y="3719017"/>
                </a:lnTo>
                <a:lnTo>
                  <a:pt x="3747" y="3779852"/>
                </a:lnTo>
                <a:lnTo>
                  <a:pt x="5840" y="3840432"/>
                </a:lnTo>
                <a:lnTo>
                  <a:pt x="8389" y="3900749"/>
                </a:lnTo>
                <a:lnTo>
                  <a:pt x="11389" y="3960794"/>
                </a:lnTo>
                <a:lnTo>
                  <a:pt x="14839" y="4020562"/>
                </a:lnTo>
                <a:lnTo>
                  <a:pt x="18733" y="4080045"/>
                </a:lnTo>
                <a:lnTo>
                  <a:pt x="23068" y="4139235"/>
                </a:lnTo>
                <a:lnTo>
                  <a:pt x="27841" y="4198126"/>
                </a:lnTo>
                <a:lnTo>
                  <a:pt x="33049" y="4256710"/>
                </a:lnTo>
                <a:lnTo>
                  <a:pt x="38688" y="4314979"/>
                </a:lnTo>
                <a:lnTo>
                  <a:pt x="44754" y="4372928"/>
                </a:lnTo>
                <a:lnTo>
                  <a:pt x="51243" y="4430547"/>
                </a:lnTo>
                <a:lnTo>
                  <a:pt x="58153" y="4487831"/>
                </a:lnTo>
                <a:lnTo>
                  <a:pt x="65480" y="4544772"/>
                </a:lnTo>
                <a:lnTo>
                  <a:pt x="73220" y="4601362"/>
                </a:lnTo>
                <a:lnTo>
                  <a:pt x="81369" y="4657594"/>
                </a:lnTo>
                <a:lnTo>
                  <a:pt x="89925" y="4713462"/>
                </a:lnTo>
                <a:lnTo>
                  <a:pt x="98883" y="4768958"/>
                </a:lnTo>
                <a:lnTo>
                  <a:pt x="108240" y="4824074"/>
                </a:lnTo>
                <a:lnTo>
                  <a:pt x="117994" y="4878803"/>
                </a:lnTo>
                <a:lnTo>
                  <a:pt x="128139" y="4933139"/>
                </a:lnTo>
                <a:lnTo>
                  <a:pt x="138672" y="4987074"/>
                </a:lnTo>
                <a:lnTo>
                  <a:pt x="149591" y="5040600"/>
                </a:lnTo>
                <a:lnTo>
                  <a:pt x="160891" y="5093711"/>
                </a:lnTo>
                <a:lnTo>
                  <a:pt x="172569" y="5146398"/>
                </a:lnTo>
                <a:lnTo>
                  <a:pt x="184622" y="5198656"/>
                </a:lnTo>
                <a:lnTo>
                  <a:pt x="197045" y="5250476"/>
                </a:lnTo>
                <a:lnTo>
                  <a:pt x="209836" y="5301852"/>
                </a:lnTo>
                <a:lnTo>
                  <a:pt x="222991" y="5352776"/>
                </a:lnTo>
                <a:lnTo>
                  <a:pt x="236506" y="5403240"/>
                </a:lnTo>
                <a:lnTo>
                  <a:pt x="250378" y="5453238"/>
                </a:lnTo>
                <a:lnTo>
                  <a:pt x="264603" y="5502763"/>
                </a:lnTo>
                <a:lnTo>
                  <a:pt x="279178" y="5551807"/>
                </a:lnTo>
                <a:lnTo>
                  <a:pt x="294100" y="5600363"/>
                </a:lnTo>
                <a:lnTo>
                  <a:pt x="309364" y="5648423"/>
                </a:lnTo>
                <a:lnTo>
                  <a:pt x="324967" y="5695981"/>
                </a:lnTo>
                <a:lnTo>
                  <a:pt x="340906" y="5743029"/>
                </a:lnTo>
                <a:lnTo>
                  <a:pt x="357177" y="5789560"/>
                </a:lnTo>
                <a:lnTo>
                  <a:pt x="373777" y="5835566"/>
                </a:lnTo>
                <a:lnTo>
                  <a:pt x="390702" y="5881041"/>
                </a:lnTo>
                <a:lnTo>
                  <a:pt x="407948" y="5925977"/>
                </a:lnTo>
                <a:lnTo>
                  <a:pt x="425513" y="5970367"/>
                </a:lnTo>
                <a:lnTo>
                  <a:pt x="443392" y="6014203"/>
                </a:lnTo>
                <a:lnTo>
                  <a:pt x="461582" y="6057479"/>
                </a:lnTo>
                <a:lnTo>
                  <a:pt x="480079" y="6100187"/>
                </a:lnTo>
                <a:lnTo>
                  <a:pt x="498881" y="6142320"/>
                </a:lnTo>
                <a:lnTo>
                  <a:pt x="517983" y="6183871"/>
                </a:lnTo>
                <a:lnTo>
                  <a:pt x="537382" y="6224832"/>
                </a:lnTo>
                <a:lnTo>
                  <a:pt x="557074" y="6265197"/>
                </a:lnTo>
                <a:lnTo>
                  <a:pt x="577056" y="6304957"/>
                </a:lnTo>
                <a:lnTo>
                  <a:pt x="597325" y="6344106"/>
                </a:lnTo>
                <a:lnTo>
                  <a:pt x="617876" y="6382636"/>
                </a:lnTo>
                <a:lnTo>
                  <a:pt x="638707" y="6420540"/>
                </a:lnTo>
                <a:lnTo>
                  <a:pt x="659813" y="6457812"/>
                </a:lnTo>
                <a:lnTo>
                  <a:pt x="681192" y="6494443"/>
                </a:lnTo>
                <a:lnTo>
                  <a:pt x="702839" y="6530426"/>
                </a:lnTo>
                <a:lnTo>
                  <a:pt x="724752" y="6565755"/>
                </a:lnTo>
                <a:lnTo>
                  <a:pt x="746926" y="6600421"/>
                </a:lnTo>
                <a:lnTo>
                  <a:pt x="769358" y="6634418"/>
                </a:lnTo>
                <a:lnTo>
                  <a:pt x="792046" y="6667739"/>
                </a:lnTo>
                <a:lnTo>
                  <a:pt x="814984" y="6700376"/>
                </a:lnTo>
                <a:lnTo>
                  <a:pt x="838170" y="6732322"/>
                </a:lnTo>
                <a:lnTo>
                  <a:pt x="861599" y="6763569"/>
                </a:lnTo>
                <a:lnTo>
                  <a:pt x="885270" y="6794111"/>
                </a:lnTo>
                <a:lnTo>
                  <a:pt x="909177" y="6823940"/>
                </a:lnTo>
                <a:lnTo>
                  <a:pt x="957689" y="6881430"/>
                </a:lnTo>
                <a:lnTo>
                  <a:pt x="1007106" y="6935983"/>
                </a:lnTo>
                <a:lnTo>
                  <a:pt x="1057402" y="6987539"/>
                </a:lnTo>
                <a:lnTo>
                  <a:pt x="6743700" y="6987539"/>
                </a:lnTo>
                <a:lnTo>
                  <a:pt x="6743700" y="0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4014767" y="8462"/>
            <a:ext cx="1021345" cy="6845554"/>
          </a:xfrm>
          <a:custGeom>
            <a:avLst/>
            <a:gdLst/>
            <a:ahLst/>
            <a:cxnLst/>
            <a:rect l="l" t="t" r="r" b="b"/>
            <a:pathLst>
              <a:path w="1388745" h="6985000">
                <a:moveTo>
                  <a:pt x="1388364" y="0"/>
                </a:moveTo>
                <a:lnTo>
                  <a:pt x="1122426" y="0"/>
                </a:lnTo>
                <a:lnTo>
                  <a:pt x="1096854" y="25400"/>
                </a:lnTo>
                <a:lnTo>
                  <a:pt x="1071485" y="38100"/>
                </a:lnTo>
                <a:lnTo>
                  <a:pt x="1021362" y="88900"/>
                </a:lnTo>
                <a:lnTo>
                  <a:pt x="972087" y="139700"/>
                </a:lnTo>
                <a:lnTo>
                  <a:pt x="947776" y="177800"/>
                </a:lnTo>
                <a:lnTo>
                  <a:pt x="899825" y="228600"/>
                </a:lnTo>
                <a:lnTo>
                  <a:pt x="876191" y="254000"/>
                </a:lnTo>
                <a:lnTo>
                  <a:pt x="852791" y="292100"/>
                </a:lnTo>
                <a:lnTo>
                  <a:pt x="829627" y="317500"/>
                </a:lnTo>
                <a:lnTo>
                  <a:pt x="806703" y="355600"/>
                </a:lnTo>
                <a:lnTo>
                  <a:pt x="784022" y="381000"/>
                </a:lnTo>
                <a:lnTo>
                  <a:pt x="761588" y="419100"/>
                </a:lnTo>
                <a:lnTo>
                  <a:pt x="739405" y="457200"/>
                </a:lnTo>
                <a:lnTo>
                  <a:pt x="717476" y="482600"/>
                </a:lnTo>
                <a:lnTo>
                  <a:pt x="695805" y="520699"/>
                </a:lnTo>
                <a:lnTo>
                  <a:pt x="674394" y="558799"/>
                </a:lnTo>
                <a:lnTo>
                  <a:pt x="653249" y="596899"/>
                </a:lnTo>
                <a:lnTo>
                  <a:pt x="632371" y="634999"/>
                </a:lnTo>
                <a:lnTo>
                  <a:pt x="611766" y="673099"/>
                </a:lnTo>
                <a:lnTo>
                  <a:pt x="591435" y="711199"/>
                </a:lnTo>
                <a:lnTo>
                  <a:pt x="571383" y="749299"/>
                </a:lnTo>
                <a:lnTo>
                  <a:pt x="551614" y="787399"/>
                </a:lnTo>
                <a:lnTo>
                  <a:pt x="532130" y="825499"/>
                </a:lnTo>
                <a:lnTo>
                  <a:pt x="512935" y="863599"/>
                </a:lnTo>
                <a:lnTo>
                  <a:pt x="494034" y="914399"/>
                </a:lnTo>
                <a:lnTo>
                  <a:pt x="475428" y="952499"/>
                </a:lnTo>
                <a:lnTo>
                  <a:pt x="457123" y="990599"/>
                </a:lnTo>
                <a:lnTo>
                  <a:pt x="439121" y="1041399"/>
                </a:lnTo>
                <a:lnTo>
                  <a:pt x="421426" y="1079499"/>
                </a:lnTo>
                <a:lnTo>
                  <a:pt x="404042" y="1130299"/>
                </a:lnTo>
                <a:lnTo>
                  <a:pt x="386971" y="1168399"/>
                </a:lnTo>
                <a:lnTo>
                  <a:pt x="370218" y="1219199"/>
                </a:lnTo>
                <a:lnTo>
                  <a:pt x="353786" y="1269999"/>
                </a:lnTo>
                <a:lnTo>
                  <a:pt x="337679" y="1308099"/>
                </a:lnTo>
                <a:lnTo>
                  <a:pt x="321900" y="1358899"/>
                </a:lnTo>
                <a:lnTo>
                  <a:pt x="306452" y="1409699"/>
                </a:lnTo>
                <a:lnTo>
                  <a:pt x="291339" y="1460499"/>
                </a:lnTo>
                <a:lnTo>
                  <a:pt x="276565" y="1498599"/>
                </a:lnTo>
                <a:lnTo>
                  <a:pt x="262134" y="1549399"/>
                </a:lnTo>
                <a:lnTo>
                  <a:pt x="248048" y="1600199"/>
                </a:lnTo>
                <a:lnTo>
                  <a:pt x="234311" y="1650999"/>
                </a:lnTo>
                <a:lnTo>
                  <a:pt x="220927" y="1701799"/>
                </a:lnTo>
                <a:lnTo>
                  <a:pt x="207900" y="1752599"/>
                </a:lnTo>
                <a:lnTo>
                  <a:pt x="195232" y="1803399"/>
                </a:lnTo>
                <a:lnTo>
                  <a:pt x="182927" y="1854199"/>
                </a:lnTo>
                <a:lnTo>
                  <a:pt x="170990" y="1917699"/>
                </a:lnTo>
                <a:lnTo>
                  <a:pt x="159423" y="1968499"/>
                </a:lnTo>
                <a:lnTo>
                  <a:pt x="148229" y="2019299"/>
                </a:lnTo>
                <a:lnTo>
                  <a:pt x="137414" y="2070099"/>
                </a:lnTo>
                <a:lnTo>
                  <a:pt x="126979" y="2133599"/>
                </a:lnTo>
                <a:lnTo>
                  <a:pt x="116928" y="2184399"/>
                </a:lnTo>
                <a:lnTo>
                  <a:pt x="107266" y="2235199"/>
                </a:lnTo>
                <a:lnTo>
                  <a:pt x="97995" y="2298699"/>
                </a:lnTo>
                <a:lnTo>
                  <a:pt x="89120" y="2349499"/>
                </a:lnTo>
                <a:lnTo>
                  <a:pt x="80642" y="2400299"/>
                </a:lnTo>
                <a:lnTo>
                  <a:pt x="72567" y="2463799"/>
                </a:lnTo>
                <a:lnTo>
                  <a:pt x="64898" y="2514599"/>
                </a:lnTo>
                <a:lnTo>
                  <a:pt x="57638" y="2578099"/>
                </a:lnTo>
                <a:lnTo>
                  <a:pt x="50790" y="2628899"/>
                </a:lnTo>
                <a:lnTo>
                  <a:pt x="44359" y="2692399"/>
                </a:lnTo>
                <a:lnTo>
                  <a:pt x="38348" y="2755899"/>
                </a:lnTo>
                <a:lnTo>
                  <a:pt x="32760" y="2806699"/>
                </a:lnTo>
                <a:lnTo>
                  <a:pt x="27598" y="2870199"/>
                </a:lnTo>
                <a:lnTo>
                  <a:pt x="22867" y="2933699"/>
                </a:lnTo>
                <a:lnTo>
                  <a:pt x="18570" y="2984499"/>
                </a:lnTo>
                <a:lnTo>
                  <a:pt x="14710" y="3047999"/>
                </a:lnTo>
                <a:lnTo>
                  <a:pt x="11291" y="3111499"/>
                </a:lnTo>
                <a:lnTo>
                  <a:pt x="8316" y="3174999"/>
                </a:lnTo>
                <a:lnTo>
                  <a:pt x="5790" y="3225799"/>
                </a:lnTo>
                <a:lnTo>
                  <a:pt x="3715" y="3289299"/>
                </a:lnTo>
                <a:lnTo>
                  <a:pt x="2095" y="3352799"/>
                </a:lnTo>
                <a:lnTo>
                  <a:pt x="933" y="3416299"/>
                </a:lnTo>
                <a:lnTo>
                  <a:pt x="233" y="3479799"/>
                </a:lnTo>
                <a:lnTo>
                  <a:pt x="0" y="3543299"/>
                </a:lnTo>
                <a:lnTo>
                  <a:pt x="229" y="3594099"/>
                </a:lnTo>
                <a:lnTo>
                  <a:pt x="914" y="3657599"/>
                </a:lnTo>
                <a:lnTo>
                  <a:pt x="2053" y="3721099"/>
                </a:lnTo>
                <a:lnTo>
                  <a:pt x="3641" y="3784600"/>
                </a:lnTo>
                <a:lnTo>
                  <a:pt x="5675" y="3848100"/>
                </a:lnTo>
                <a:lnTo>
                  <a:pt x="8152" y="3898900"/>
                </a:lnTo>
                <a:lnTo>
                  <a:pt x="11068" y="3962400"/>
                </a:lnTo>
                <a:lnTo>
                  <a:pt x="14420" y="4025900"/>
                </a:lnTo>
                <a:lnTo>
                  <a:pt x="18204" y="4089400"/>
                </a:lnTo>
                <a:lnTo>
                  <a:pt x="22417" y="4140200"/>
                </a:lnTo>
                <a:lnTo>
                  <a:pt x="27055" y="4203700"/>
                </a:lnTo>
                <a:lnTo>
                  <a:pt x="32116" y="4254500"/>
                </a:lnTo>
                <a:lnTo>
                  <a:pt x="37595" y="4318000"/>
                </a:lnTo>
                <a:lnTo>
                  <a:pt x="43490" y="4381500"/>
                </a:lnTo>
                <a:lnTo>
                  <a:pt x="49796" y="4432300"/>
                </a:lnTo>
                <a:lnTo>
                  <a:pt x="56511" y="4495800"/>
                </a:lnTo>
                <a:lnTo>
                  <a:pt x="63631" y="4546600"/>
                </a:lnTo>
                <a:lnTo>
                  <a:pt x="71152" y="4610100"/>
                </a:lnTo>
                <a:lnTo>
                  <a:pt x="79072" y="4660900"/>
                </a:lnTo>
                <a:lnTo>
                  <a:pt x="87386" y="4711700"/>
                </a:lnTo>
                <a:lnTo>
                  <a:pt x="96091" y="4775200"/>
                </a:lnTo>
                <a:lnTo>
                  <a:pt x="105185" y="4826000"/>
                </a:lnTo>
                <a:lnTo>
                  <a:pt x="114662" y="4876800"/>
                </a:lnTo>
                <a:lnTo>
                  <a:pt x="124521" y="4940300"/>
                </a:lnTo>
                <a:lnTo>
                  <a:pt x="134757" y="4991100"/>
                </a:lnTo>
                <a:lnTo>
                  <a:pt x="145368" y="5041900"/>
                </a:lnTo>
                <a:lnTo>
                  <a:pt x="156349" y="5092700"/>
                </a:lnTo>
                <a:lnTo>
                  <a:pt x="167697" y="5156200"/>
                </a:lnTo>
                <a:lnTo>
                  <a:pt x="179410" y="5207000"/>
                </a:lnTo>
                <a:lnTo>
                  <a:pt x="191482" y="5257800"/>
                </a:lnTo>
                <a:lnTo>
                  <a:pt x="203912" y="5308600"/>
                </a:lnTo>
                <a:lnTo>
                  <a:pt x="216696" y="5359400"/>
                </a:lnTo>
                <a:lnTo>
                  <a:pt x="229829" y="5410200"/>
                </a:lnTo>
                <a:lnTo>
                  <a:pt x="243310" y="5461000"/>
                </a:lnTo>
                <a:lnTo>
                  <a:pt x="257133" y="5511800"/>
                </a:lnTo>
                <a:lnTo>
                  <a:pt x="271297" y="5549900"/>
                </a:lnTo>
                <a:lnTo>
                  <a:pt x="285797" y="5600700"/>
                </a:lnTo>
                <a:lnTo>
                  <a:pt x="300630" y="5651500"/>
                </a:lnTo>
                <a:lnTo>
                  <a:pt x="315793" y="5702300"/>
                </a:lnTo>
                <a:lnTo>
                  <a:pt x="331282" y="5753100"/>
                </a:lnTo>
                <a:lnTo>
                  <a:pt x="347094" y="5791200"/>
                </a:lnTo>
                <a:lnTo>
                  <a:pt x="363225" y="5842000"/>
                </a:lnTo>
                <a:lnTo>
                  <a:pt x="379672" y="5880100"/>
                </a:lnTo>
                <a:lnTo>
                  <a:pt x="396432" y="5930900"/>
                </a:lnTo>
                <a:lnTo>
                  <a:pt x="413501" y="5969000"/>
                </a:lnTo>
                <a:lnTo>
                  <a:pt x="430875" y="6019800"/>
                </a:lnTo>
                <a:lnTo>
                  <a:pt x="448552" y="6057900"/>
                </a:lnTo>
                <a:lnTo>
                  <a:pt x="466527" y="6108700"/>
                </a:lnTo>
                <a:lnTo>
                  <a:pt x="484798" y="6146800"/>
                </a:lnTo>
                <a:lnTo>
                  <a:pt x="503361" y="6184899"/>
                </a:lnTo>
                <a:lnTo>
                  <a:pt x="522212" y="6222999"/>
                </a:lnTo>
                <a:lnTo>
                  <a:pt x="541349" y="6273799"/>
                </a:lnTo>
                <a:lnTo>
                  <a:pt x="560767" y="6311899"/>
                </a:lnTo>
                <a:lnTo>
                  <a:pt x="580463" y="6349999"/>
                </a:lnTo>
                <a:lnTo>
                  <a:pt x="600435" y="6388099"/>
                </a:lnTo>
                <a:lnTo>
                  <a:pt x="620677" y="6426199"/>
                </a:lnTo>
                <a:lnTo>
                  <a:pt x="641188" y="6464299"/>
                </a:lnTo>
                <a:lnTo>
                  <a:pt x="661963" y="6502399"/>
                </a:lnTo>
                <a:lnTo>
                  <a:pt x="683000" y="6540500"/>
                </a:lnTo>
                <a:lnTo>
                  <a:pt x="704294" y="6565900"/>
                </a:lnTo>
                <a:lnTo>
                  <a:pt x="725843" y="6604000"/>
                </a:lnTo>
                <a:lnTo>
                  <a:pt x="747642" y="6642100"/>
                </a:lnTo>
                <a:lnTo>
                  <a:pt x="769689" y="6667500"/>
                </a:lnTo>
                <a:lnTo>
                  <a:pt x="791980" y="6705600"/>
                </a:lnTo>
                <a:lnTo>
                  <a:pt x="814511" y="6731000"/>
                </a:lnTo>
                <a:lnTo>
                  <a:pt x="837280" y="6769100"/>
                </a:lnTo>
                <a:lnTo>
                  <a:pt x="860282" y="6794500"/>
                </a:lnTo>
                <a:lnTo>
                  <a:pt x="883515" y="6832600"/>
                </a:lnTo>
                <a:lnTo>
                  <a:pt x="906974" y="6858000"/>
                </a:lnTo>
                <a:lnTo>
                  <a:pt x="930658" y="6883400"/>
                </a:lnTo>
                <a:lnTo>
                  <a:pt x="978681" y="6934200"/>
                </a:lnTo>
                <a:lnTo>
                  <a:pt x="1003014" y="6972300"/>
                </a:lnTo>
                <a:lnTo>
                  <a:pt x="1027557" y="6985000"/>
                </a:lnTo>
                <a:lnTo>
                  <a:pt x="1291209" y="6985000"/>
                </a:lnTo>
                <a:lnTo>
                  <a:pt x="1266071" y="6972300"/>
                </a:lnTo>
                <a:lnTo>
                  <a:pt x="1241148" y="6934200"/>
                </a:lnTo>
                <a:lnTo>
                  <a:pt x="1191961" y="6883400"/>
                </a:lnTo>
                <a:lnTo>
                  <a:pt x="1143674" y="6832600"/>
                </a:lnTo>
                <a:lnTo>
                  <a:pt x="1119878" y="6794500"/>
                </a:lnTo>
                <a:lnTo>
                  <a:pt x="1096317" y="6769100"/>
                </a:lnTo>
                <a:lnTo>
                  <a:pt x="1072996" y="6731000"/>
                </a:lnTo>
                <a:lnTo>
                  <a:pt x="1049917" y="6705600"/>
                </a:lnTo>
                <a:lnTo>
                  <a:pt x="1027085" y="6667500"/>
                </a:lnTo>
                <a:lnTo>
                  <a:pt x="1004503" y="6642100"/>
                </a:lnTo>
                <a:lnTo>
                  <a:pt x="982174" y="6604000"/>
                </a:lnTo>
                <a:lnTo>
                  <a:pt x="960101" y="6565900"/>
                </a:lnTo>
                <a:lnTo>
                  <a:pt x="938290" y="6540500"/>
                </a:lnTo>
                <a:lnTo>
                  <a:pt x="916742" y="6502399"/>
                </a:lnTo>
                <a:lnTo>
                  <a:pt x="895462" y="6464299"/>
                </a:lnTo>
                <a:lnTo>
                  <a:pt x="874452" y="6426199"/>
                </a:lnTo>
                <a:lnTo>
                  <a:pt x="853717" y="6388099"/>
                </a:lnTo>
                <a:lnTo>
                  <a:pt x="833260" y="6349999"/>
                </a:lnTo>
                <a:lnTo>
                  <a:pt x="813084" y="6311899"/>
                </a:lnTo>
                <a:lnTo>
                  <a:pt x="793193" y="6273799"/>
                </a:lnTo>
                <a:lnTo>
                  <a:pt x="773591" y="6222999"/>
                </a:lnTo>
                <a:lnTo>
                  <a:pt x="754281" y="6184899"/>
                </a:lnTo>
                <a:lnTo>
                  <a:pt x="735266" y="6146800"/>
                </a:lnTo>
                <a:lnTo>
                  <a:pt x="716550" y="6108700"/>
                </a:lnTo>
                <a:lnTo>
                  <a:pt x="698137" y="6057900"/>
                </a:lnTo>
                <a:lnTo>
                  <a:pt x="680030" y="6019800"/>
                </a:lnTo>
                <a:lnTo>
                  <a:pt x="662232" y="5969000"/>
                </a:lnTo>
                <a:lnTo>
                  <a:pt x="644747" y="5930900"/>
                </a:lnTo>
                <a:lnTo>
                  <a:pt x="627579" y="5880100"/>
                </a:lnTo>
                <a:lnTo>
                  <a:pt x="610731" y="5842000"/>
                </a:lnTo>
                <a:lnTo>
                  <a:pt x="594207" y="5791200"/>
                </a:lnTo>
                <a:lnTo>
                  <a:pt x="578010" y="5753100"/>
                </a:lnTo>
                <a:lnTo>
                  <a:pt x="562143" y="5702300"/>
                </a:lnTo>
                <a:lnTo>
                  <a:pt x="546610" y="5651500"/>
                </a:lnTo>
                <a:lnTo>
                  <a:pt x="531415" y="5600700"/>
                </a:lnTo>
                <a:lnTo>
                  <a:pt x="516561" y="5549900"/>
                </a:lnTo>
                <a:lnTo>
                  <a:pt x="502052" y="5511800"/>
                </a:lnTo>
                <a:lnTo>
                  <a:pt x="487891" y="5461000"/>
                </a:lnTo>
                <a:lnTo>
                  <a:pt x="474081" y="5410200"/>
                </a:lnTo>
                <a:lnTo>
                  <a:pt x="460627" y="5359400"/>
                </a:lnTo>
                <a:lnTo>
                  <a:pt x="447532" y="5308600"/>
                </a:lnTo>
                <a:lnTo>
                  <a:pt x="434798" y="5257800"/>
                </a:lnTo>
                <a:lnTo>
                  <a:pt x="422431" y="5207000"/>
                </a:lnTo>
                <a:lnTo>
                  <a:pt x="410432" y="5156200"/>
                </a:lnTo>
                <a:lnTo>
                  <a:pt x="398806" y="5092700"/>
                </a:lnTo>
                <a:lnTo>
                  <a:pt x="387557" y="5041900"/>
                </a:lnTo>
                <a:lnTo>
                  <a:pt x="376687" y="4991100"/>
                </a:lnTo>
                <a:lnTo>
                  <a:pt x="366201" y="4940300"/>
                </a:lnTo>
                <a:lnTo>
                  <a:pt x="356101" y="4876800"/>
                </a:lnTo>
                <a:lnTo>
                  <a:pt x="346392" y="4826000"/>
                </a:lnTo>
                <a:lnTo>
                  <a:pt x="337076" y="4775200"/>
                </a:lnTo>
                <a:lnTo>
                  <a:pt x="328158" y="4711700"/>
                </a:lnTo>
                <a:lnTo>
                  <a:pt x="319640" y="4660900"/>
                </a:lnTo>
                <a:lnTo>
                  <a:pt x="311527" y="4610100"/>
                </a:lnTo>
                <a:lnTo>
                  <a:pt x="303822" y="4546600"/>
                </a:lnTo>
                <a:lnTo>
                  <a:pt x="296528" y="4495800"/>
                </a:lnTo>
                <a:lnTo>
                  <a:pt x="289649" y="4432300"/>
                </a:lnTo>
                <a:lnTo>
                  <a:pt x="283188" y="4381500"/>
                </a:lnTo>
                <a:lnTo>
                  <a:pt x="277149" y="4318000"/>
                </a:lnTo>
                <a:lnTo>
                  <a:pt x="271536" y="4254500"/>
                </a:lnTo>
                <a:lnTo>
                  <a:pt x="266351" y="4203700"/>
                </a:lnTo>
                <a:lnTo>
                  <a:pt x="261599" y="4140200"/>
                </a:lnTo>
                <a:lnTo>
                  <a:pt x="257283" y="4089400"/>
                </a:lnTo>
                <a:lnTo>
                  <a:pt x="253406" y="4025900"/>
                </a:lnTo>
                <a:lnTo>
                  <a:pt x="249972" y="3962400"/>
                </a:lnTo>
                <a:lnTo>
                  <a:pt x="246985" y="3898900"/>
                </a:lnTo>
                <a:lnTo>
                  <a:pt x="244447" y="3848100"/>
                </a:lnTo>
                <a:lnTo>
                  <a:pt x="242363" y="3784600"/>
                </a:lnTo>
                <a:lnTo>
                  <a:pt x="240736" y="3721099"/>
                </a:lnTo>
                <a:lnTo>
                  <a:pt x="239570" y="3657599"/>
                </a:lnTo>
                <a:lnTo>
                  <a:pt x="238867" y="3594099"/>
                </a:lnTo>
                <a:lnTo>
                  <a:pt x="238633" y="3543299"/>
                </a:lnTo>
                <a:lnTo>
                  <a:pt x="238872" y="3479799"/>
                </a:lnTo>
                <a:lnTo>
                  <a:pt x="239589" y="3416299"/>
                </a:lnTo>
                <a:lnTo>
                  <a:pt x="240779" y="3352799"/>
                </a:lnTo>
                <a:lnTo>
                  <a:pt x="242438" y="3289299"/>
                </a:lnTo>
                <a:lnTo>
                  <a:pt x="244564" y="3225799"/>
                </a:lnTo>
                <a:lnTo>
                  <a:pt x="247152" y="3174999"/>
                </a:lnTo>
                <a:lnTo>
                  <a:pt x="250199" y="3111499"/>
                </a:lnTo>
                <a:lnTo>
                  <a:pt x="253702" y="3047999"/>
                </a:lnTo>
                <a:lnTo>
                  <a:pt x="257655" y="2984499"/>
                </a:lnTo>
                <a:lnTo>
                  <a:pt x="262057" y="2933699"/>
                </a:lnTo>
                <a:lnTo>
                  <a:pt x="266904" y="2870199"/>
                </a:lnTo>
                <a:lnTo>
                  <a:pt x="272191" y="2806699"/>
                </a:lnTo>
                <a:lnTo>
                  <a:pt x="277916" y="2755899"/>
                </a:lnTo>
                <a:lnTo>
                  <a:pt x="284074" y="2692399"/>
                </a:lnTo>
                <a:lnTo>
                  <a:pt x="290661" y="2628899"/>
                </a:lnTo>
                <a:lnTo>
                  <a:pt x="297676" y="2578099"/>
                </a:lnTo>
                <a:lnTo>
                  <a:pt x="305113" y="2514599"/>
                </a:lnTo>
                <a:lnTo>
                  <a:pt x="312969" y="2463799"/>
                </a:lnTo>
                <a:lnTo>
                  <a:pt x="321241" y="2400299"/>
                </a:lnTo>
                <a:lnTo>
                  <a:pt x="329924" y="2349499"/>
                </a:lnTo>
                <a:lnTo>
                  <a:pt x="339016" y="2298699"/>
                </a:lnTo>
                <a:lnTo>
                  <a:pt x="348513" y="2235199"/>
                </a:lnTo>
                <a:lnTo>
                  <a:pt x="358411" y="2184399"/>
                </a:lnTo>
                <a:lnTo>
                  <a:pt x="368706" y="2133599"/>
                </a:lnTo>
                <a:lnTo>
                  <a:pt x="379395" y="2070099"/>
                </a:lnTo>
                <a:lnTo>
                  <a:pt x="390474" y="2019299"/>
                </a:lnTo>
                <a:lnTo>
                  <a:pt x="401940" y="1968499"/>
                </a:lnTo>
                <a:lnTo>
                  <a:pt x="413789" y="1917699"/>
                </a:lnTo>
                <a:lnTo>
                  <a:pt x="426017" y="1854199"/>
                </a:lnTo>
                <a:lnTo>
                  <a:pt x="438622" y="1803399"/>
                </a:lnTo>
                <a:lnTo>
                  <a:pt x="451598" y="1752599"/>
                </a:lnTo>
                <a:lnTo>
                  <a:pt x="464943" y="1701799"/>
                </a:lnTo>
                <a:lnTo>
                  <a:pt x="478653" y="1650999"/>
                </a:lnTo>
                <a:lnTo>
                  <a:pt x="492724" y="1600199"/>
                </a:lnTo>
                <a:lnTo>
                  <a:pt x="507153" y="1549399"/>
                </a:lnTo>
                <a:lnTo>
                  <a:pt x="521936" y="1498599"/>
                </a:lnTo>
                <a:lnTo>
                  <a:pt x="537069" y="1460499"/>
                </a:lnTo>
                <a:lnTo>
                  <a:pt x="552550" y="1409699"/>
                </a:lnTo>
                <a:lnTo>
                  <a:pt x="568373" y="1358899"/>
                </a:lnTo>
                <a:lnTo>
                  <a:pt x="584537" y="1308099"/>
                </a:lnTo>
                <a:lnTo>
                  <a:pt x="601036" y="1269999"/>
                </a:lnTo>
                <a:lnTo>
                  <a:pt x="617868" y="1219199"/>
                </a:lnTo>
                <a:lnTo>
                  <a:pt x="635029" y="1168399"/>
                </a:lnTo>
                <a:lnTo>
                  <a:pt x="652515" y="1130299"/>
                </a:lnTo>
                <a:lnTo>
                  <a:pt x="670322" y="1079499"/>
                </a:lnTo>
                <a:lnTo>
                  <a:pt x="688448" y="1041399"/>
                </a:lnTo>
                <a:lnTo>
                  <a:pt x="706888" y="990599"/>
                </a:lnTo>
                <a:lnTo>
                  <a:pt x="725639" y="952499"/>
                </a:lnTo>
                <a:lnTo>
                  <a:pt x="744697" y="914399"/>
                </a:lnTo>
                <a:lnTo>
                  <a:pt x="764058" y="863599"/>
                </a:lnTo>
                <a:lnTo>
                  <a:pt x="783719" y="825499"/>
                </a:lnTo>
                <a:lnTo>
                  <a:pt x="803677" y="787399"/>
                </a:lnTo>
                <a:lnTo>
                  <a:pt x="823928" y="749299"/>
                </a:lnTo>
                <a:lnTo>
                  <a:pt x="844467" y="711199"/>
                </a:lnTo>
                <a:lnTo>
                  <a:pt x="865292" y="673099"/>
                </a:lnTo>
                <a:lnTo>
                  <a:pt x="886399" y="634999"/>
                </a:lnTo>
                <a:lnTo>
                  <a:pt x="907785" y="596899"/>
                </a:lnTo>
                <a:lnTo>
                  <a:pt x="929444" y="558799"/>
                </a:lnTo>
                <a:lnTo>
                  <a:pt x="951375" y="520699"/>
                </a:lnTo>
                <a:lnTo>
                  <a:pt x="973574" y="482600"/>
                </a:lnTo>
                <a:lnTo>
                  <a:pt x="996036" y="457200"/>
                </a:lnTo>
                <a:lnTo>
                  <a:pt x="1018758" y="419100"/>
                </a:lnTo>
                <a:lnTo>
                  <a:pt x="1041737" y="381000"/>
                </a:lnTo>
                <a:lnTo>
                  <a:pt x="1064969" y="355600"/>
                </a:lnTo>
                <a:lnTo>
                  <a:pt x="1088451" y="317500"/>
                </a:lnTo>
                <a:lnTo>
                  <a:pt x="1112178" y="292100"/>
                </a:lnTo>
                <a:lnTo>
                  <a:pt x="1136147" y="254000"/>
                </a:lnTo>
                <a:lnTo>
                  <a:pt x="1160355" y="228600"/>
                </a:lnTo>
                <a:lnTo>
                  <a:pt x="1209472" y="177800"/>
                </a:lnTo>
                <a:lnTo>
                  <a:pt x="1234373" y="139700"/>
                </a:lnTo>
                <a:lnTo>
                  <a:pt x="1284846" y="88900"/>
                </a:lnTo>
                <a:lnTo>
                  <a:pt x="1336185" y="38100"/>
                </a:lnTo>
                <a:lnTo>
                  <a:pt x="1362171" y="25400"/>
                </a:lnTo>
                <a:lnTo>
                  <a:pt x="1388364" y="0"/>
                </a:lnTo>
                <a:close/>
              </a:path>
            </a:pathLst>
          </a:custGeom>
          <a:solidFill>
            <a:srgbClr val="001F50">
              <a:alpha val="34901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782668" y="1026334"/>
            <a:ext cx="2377533" cy="27954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5070577" y="672108"/>
            <a:ext cx="399011" cy="70048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650599" y="4469274"/>
            <a:ext cx="1518520" cy="27755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883401" y="4314938"/>
            <a:ext cx="411339" cy="61535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791169" y="5602400"/>
            <a:ext cx="2498675" cy="28300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088510" y="5435120"/>
            <a:ext cx="363144" cy="65418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650600" y="2163443"/>
            <a:ext cx="3018733" cy="27967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783647" y="2019313"/>
            <a:ext cx="611966" cy="54216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594279" y="3295449"/>
            <a:ext cx="2950924" cy="28303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764630" y="3249693"/>
            <a:ext cx="141503" cy="400154"/>
          </a:xfrm>
          <a:custGeom>
            <a:avLst/>
            <a:gdLst/>
            <a:ahLst/>
            <a:cxnLst/>
            <a:rect l="l" t="t" r="r" b="b"/>
            <a:pathLst>
              <a:path w="192404" h="408304">
                <a:moveTo>
                  <a:pt x="128193" y="0"/>
                </a:moveTo>
                <a:lnTo>
                  <a:pt x="64733" y="2778"/>
                </a:lnTo>
                <a:lnTo>
                  <a:pt x="21700" y="14224"/>
                </a:lnTo>
                <a:lnTo>
                  <a:pt x="9006" y="66101"/>
                </a:lnTo>
                <a:lnTo>
                  <a:pt x="4317" y="116649"/>
                </a:lnTo>
                <a:lnTo>
                  <a:pt x="1128" y="170126"/>
                </a:lnTo>
                <a:lnTo>
                  <a:pt x="83" y="213770"/>
                </a:lnTo>
                <a:lnTo>
                  <a:pt x="0" y="221821"/>
                </a:lnTo>
                <a:lnTo>
                  <a:pt x="806" y="263993"/>
                </a:lnTo>
                <a:lnTo>
                  <a:pt x="3364" y="306752"/>
                </a:lnTo>
                <a:lnTo>
                  <a:pt x="7613" y="347083"/>
                </a:lnTo>
                <a:lnTo>
                  <a:pt x="15751" y="390951"/>
                </a:lnTo>
                <a:lnTo>
                  <a:pt x="64804" y="406403"/>
                </a:lnTo>
                <a:lnTo>
                  <a:pt x="97963" y="408193"/>
                </a:lnTo>
                <a:lnTo>
                  <a:pt x="131551" y="407793"/>
                </a:lnTo>
                <a:lnTo>
                  <a:pt x="171564" y="402976"/>
                </a:lnTo>
                <a:lnTo>
                  <a:pt x="186211" y="363807"/>
                </a:lnTo>
                <a:lnTo>
                  <a:pt x="147906" y="363807"/>
                </a:lnTo>
                <a:lnTo>
                  <a:pt x="147144" y="362537"/>
                </a:lnTo>
                <a:lnTo>
                  <a:pt x="48465" y="362537"/>
                </a:lnTo>
                <a:lnTo>
                  <a:pt x="42877" y="361267"/>
                </a:lnTo>
                <a:lnTo>
                  <a:pt x="29288" y="361267"/>
                </a:lnTo>
                <a:lnTo>
                  <a:pt x="27002" y="358600"/>
                </a:lnTo>
                <a:lnTo>
                  <a:pt x="27002" y="334089"/>
                </a:lnTo>
                <a:lnTo>
                  <a:pt x="29288" y="330279"/>
                </a:lnTo>
                <a:lnTo>
                  <a:pt x="188872" y="330279"/>
                </a:lnTo>
                <a:lnTo>
                  <a:pt x="189705" y="318690"/>
                </a:lnTo>
                <a:lnTo>
                  <a:pt x="189997" y="312245"/>
                </a:lnTo>
                <a:lnTo>
                  <a:pt x="149049" y="312245"/>
                </a:lnTo>
                <a:lnTo>
                  <a:pt x="147832" y="310848"/>
                </a:lnTo>
                <a:lnTo>
                  <a:pt x="30431" y="310848"/>
                </a:lnTo>
                <a:lnTo>
                  <a:pt x="27002" y="307038"/>
                </a:lnTo>
                <a:lnTo>
                  <a:pt x="27002" y="282527"/>
                </a:lnTo>
                <a:lnTo>
                  <a:pt x="30431" y="278590"/>
                </a:lnTo>
                <a:lnTo>
                  <a:pt x="191423" y="278590"/>
                </a:lnTo>
                <a:lnTo>
                  <a:pt x="191956" y="245014"/>
                </a:lnTo>
                <a:lnTo>
                  <a:pt x="125494" y="245014"/>
                </a:lnTo>
                <a:lnTo>
                  <a:pt x="97392" y="244935"/>
                </a:lnTo>
                <a:lnTo>
                  <a:pt x="35003" y="237315"/>
                </a:lnTo>
                <a:lnTo>
                  <a:pt x="22573" y="182512"/>
                </a:lnTo>
                <a:lnTo>
                  <a:pt x="21184" y="134064"/>
                </a:lnTo>
                <a:lnTo>
                  <a:pt x="21195" y="127587"/>
                </a:lnTo>
                <a:lnTo>
                  <a:pt x="22573" y="79750"/>
                </a:lnTo>
                <a:lnTo>
                  <a:pt x="27002" y="41227"/>
                </a:lnTo>
                <a:lnTo>
                  <a:pt x="69700" y="21869"/>
                </a:lnTo>
                <a:lnTo>
                  <a:pt x="97249" y="20065"/>
                </a:lnTo>
                <a:lnTo>
                  <a:pt x="179644" y="20065"/>
                </a:lnTo>
                <a:lnTo>
                  <a:pt x="179529" y="19256"/>
                </a:lnTo>
                <a:lnTo>
                  <a:pt x="177318" y="13011"/>
                </a:lnTo>
                <a:lnTo>
                  <a:pt x="172893" y="7969"/>
                </a:lnTo>
                <a:lnTo>
                  <a:pt x="166992" y="4379"/>
                </a:lnTo>
                <a:lnTo>
                  <a:pt x="160352" y="2492"/>
                </a:lnTo>
                <a:lnTo>
                  <a:pt x="128193" y="0"/>
                </a:lnTo>
                <a:close/>
              </a:path>
              <a:path w="192404" h="408304">
                <a:moveTo>
                  <a:pt x="188872" y="330279"/>
                </a:moveTo>
                <a:lnTo>
                  <a:pt x="37162" y="330279"/>
                </a:lnTo>
                <a:lnTo>
                  <a:pt x="42877" y="331549"/>
                </a:lnTo>
                <a:lnTo>
                  <a:pt x="169369" y="331549"/>
                </a:lnTo>
                <a:lnTo>
                  <a:pt x="171655" y="335486"/>
                </a:lnTo>
                <a:lnTo>
                  <a:pt x="171655" y="359997"/>
                </a:lnTo>
                <a:lnTo>
                  <a:pt x="169369" y="362537"/>
                </a:lnTo>
                <a:lnTo>
                  <a:pt x="150192" y="362537"/>
                </a:lnTo>
                <a:lnTo>
                  <a:pt x="147906" y="363807"/>
                </a:lnTo>
                <a:lnTo>
                  <a:pt x="186211" y="363807"/>
                </a:lnTo>
                <a:lnTo>
                  <a:pt x="187206" y="353448"/>
                </a:lnTo>
                <a:lnTo>
                  <a:pt x="188872" y="330279"/>
                </a:lnTo>
                <a:close/>
              </a:path>
              <a:path w="192404" h="408304">
                <a:moveTo>
                  <a:pt x="68912" y="331549"/>
                </a:moveTo>
                <a:lnTo>
                  <a:pt x="50751" y="331549"/>
                </a:lnTo>
                <a:lnTo>
                  <a:pt x="54180" y="334089"/>
                </a:lnTo>
                <a:lnTo>
                  <a:pt x="54180" y="358600"/>
                </a:lnTo>
                <a:lnTo>
                  <a:pt x="51894" y="361267"/>
                </a:lnTo>
                <a:lnTo>
                  <a:pt x="48465" y="362537"/>
                </a:lnTo>
                <a:lnTo>
                  <a:pt x="68912" y="362537"/>
                </a:lnTo>
                <a:lnTo>
                  <a:pt x="66626" y="359997"/>
                </a:lnTo>
                <a:lnTo>
                  <a:pt x="66626" y="344503"/>
                </a:lnTo>
                <a:lnTo>
                  <a:pt x="65483" y="338026"/>
                </a:lnTo>
                <a:lnTo>
                  <a:pt x="65483" y="334089"/>
                </a:lnTo>
                <a:lnTo>
                  <a:pt x="68912" y="331549"/>
                </a:lnTo>
                <a:close/>
              </a:path>
              <a:path w="192404" h="408304">
                <a:moveTo>
                  <a:pt x="108409" y="331549"/>
                </a:moveTo>
                <a:lnTo>
                  <a:pt x="91391" y="331549"/>
                </a:lnTo>
                <a:lnTo>
                  <a:pt x="93677" y="334089"/>
                </a:lnTo>
                <a:lnTo>
                  <a:pt x="93677" y="359997"/>
                </a:lnTo>
                <a:lnTo>
                  <a:pt x="91391" y="362537"/>
                </a:lnTo>
                <a:lnTo>
                  <a:pt x="108409" y="362537"/>
                </a:lnTo>
                <a:lnTo>
                  <a:pt x="106123" y="359997"/>
                </a:lnTo>
                <a:lnTo>
                  <a:pt x="106123" y="335486"/>
                </a:lnTo>
                <a:lnTo>
                  <a:pt x="108409" y="331549"/>
                </a:lnTo>
                <a:close/>
              </a:path>
              <a:path w="192404" h="408304">
                <a:moveTo>
                  <a:pt x="161495" y="331549"/>
                </a:moveTo>
                <a:lnTo>
                  <a:pt x="131015" y="331549"/>
                </a:lnTo>
                <a:lnTo>
                  <a:pt x="133301" y="335486"/>
                </a:lnTo>
                <a:lnTo>
                  <a:pt x="133301" y="359997"/>
                </a:lnTo>
                <a:lnTo>
                  <a:pt x="131015" y="362537"/>
                </a:lnTo>
                <a:lnTo>
                  <a:pt x="147144" y="362537"/>
                </a:lnTo>
                <a:lnTo>
                  <a:pt x="145620" y="359997"/>
                </a:lnTo>
                <a:lnTo>
                  <a:pt x="145620" y="335486"/>
                </a:lnTo>
                <a:lnTo>
                  <a:pt x="147906" y="332819"/>
                </a:lnTo>
                <a:lnTo>
                  <a:pt x="155780" y="332819"/>
                </a:lnTo>
                <a:lnTo>
                  <a:pt x="161495" y="331549"/>
                </a:lnTo>
                <a:close/>
              </a:path>
              <a:path w="192404" h="408304">
                <a:moveTo>
                  <a:pt x="191401" y="279987"/>
                </a:moveTo>
                <a:lnTo>
                  <a:pt x="170512" y="279987"/>
                </a:lnTo>
                <a:lnTo>
                  <a:pt x="172798" y="283797"/>
                </a:lnTo>
                <a:lnTo>
                  <a:pt x="172798" y="308308"/>
                </a:lnTo>
                <a:lnTo>
                  <a:pt x="170512" y="312245"/>
                </a:lnTo>
                <a:lnTo>
                  <a:pt x="189997" y="312245"/>
                </a:lnTo>
                <a:lnTo>
                  <a:pt x="191287" y="283797"/>
                </a:lnTo>
                <a:lnTo>
                  <a:pt x="191401" y="279987"/>
                </a:lnTo>
                <a:close/>
              </a:path>
              <a:path w="192404" h="408304">
                <a:moveTo>
                  <a:pt x="91391" y="278590"/>
                </a:moveTo>
                <a:lnTo>
                  <a:pt x="51894" y="278590"/>
                </a:lnTo>
                <a:lnTo>
                  <a:pt x="54180" y="281257"/>
                </a:lnTo>
                <a:lnTo>
                  <a:pt x="54180" y="307038"/>
                </a:lnTo>
                <a:lnTo>
                  <a:pt x="51894" y="310848"/>
                </a:lnTo>
                <a:lnTo>
                  <a:pt x="68912" y="310848"/>
                </a:lnTo>
                <a:lnTo>
                  <a:pt x="66626" y="308308"/>
                </a:lnTo>
                <a:lnTo>
                  <a:pt x="66626" y="282527"/>
                </a:lnTo>
                <a:lnTo>
                  <a:pt x="68912" y="279987"/>
                </a:lnTo>
                <a:lnTo>
                  <a:pt x="88089" y="279987"/>
                </a:lnTo>
                <a:lnTo>
                  <a:pt x="91391" y="278590"/>
                </a:lnTo>
                <a:close/>
              </a:path>
              <a:path w="192404" h="408304">
                <a:moveTo>
                  <a:pt x="191423" y="278590"/>
                </a:moveTo>
                <a:lnTo>
                  <a:pt x="91391" y="278590"/>
                </a:lnTo>
                <a:lnTo>
                  <a:pt x="93677" y="282527"/>
                </a:lnTo>
                <a:lnTo>
                  <a:pt x="93677" y="308308"/>
                </a:lnTo>
                <a:lnTo>
                  <a:pt x="91391" y="310848"/>
                </a:lnTo>
                <a:lnTo>
                  <a:pt x="109552" y="310848"/>
                </a:lnTo>
                <a:lnTo>
                  <a:pt x="106123" y="308308"/>
                </a:lnTo>
                <a:lnTo>
                  <a:pt x="106123" y="282527"/>
                </a:lnTo>
                <a:lnTo>
                  <a:pt x="109552" y="279987"/>
                </a:lnTo>
                <a:lnTo>
                  <a:pt x="191401" y="279987"/>
                </a:lnTo>
                <a:lnTo>
                  <a:pt x="191423" y="278590"/>
                </a:lnTo>
                <a:close/>
              </a:path>
              <a:path w="192404" h="408304">
                <a:moveTo>
                  <a:pt x="149049" y="279987"/>
                </a:moveTo>
                <a:lnTo>
                  <a:pt x="131015" y="279987"/>
                </a:lnTo>
                <a:lnTo>
                  <a:pt x="134317" y="282527"/>
                </a:lnTo>
                <a:lnTo>
                  <a:pt x="134317" y="308308"/>
                </a:lnTo>
                <a:lnTo>
                  <a:pt x="131015" y="310848"/>
                </a:lnTo>
                <a:lnTo>
                  <a:pt x="147832" y="310848"/>
                </a:lnTo>
                <a:lnTo>
                  <a:pt x="145620" y="308308"/>
                </a:lnTo>
                <a:lnTo>
                  <a:pt x="145620" y="299291"/>
                </a:lnTo>
                <a:lnTo>
                  <a:pt x="146763" y="292814"/>
                </a:lnTo>
                <a:lnTo>
                  <a:pt x="145620" y="286337"/>
                </a:lnTo>
                <a:lnTo>
                  <a:pt x="145620" y="283797"/>
                </a:lnTo>
                <a:lnTo>
                  <a:pt x="149049" y="279987"/>
                </a:lnTo>
                <a:close/>
              </a:path>
              <a:path w="192404" h="408304">
                <a:moveTo>
                  <a:pt x="166831" y="236240"/>
                </a:moveTo>
                <a:lnTo>
                  <a:pt x="160352" y="241252"/>
                </a:lnTo>
                <a:lnTo>
                  <a:pt x="153621" y="242522"/>
                </a:lnTo>
                <a:lnTo>
                  <a:pt x="125494" y="245014"/>
                </a:lnTo>
                <a:lnTo>
                  <a:pt x="191956" y="245014"/>
                </a:lnTo>
                <a:lnTo>
                  <a:pt x="191975" y="243792"/>
                </a:lnTo>
                <a:lnTo>
                  <a:pt x="190832" y="243792"/>
                </a:lnTo>
                <a:lnTo>
                  <a:pt x="190804" y="241252"/>
                </a:lnTo>
                <a:lnTo>
                  <a:pt x="164924" y="241252"/>
                </a:lnTo>
                <a:lnTo>
                  <a:pt x="166831" y="236240"/>
                </a:lnTo>
                <a:close/>
              </a:path>
              <a:path w="192404" h="408304">
                <a:moveTo>
                  <a:pt x="179644" y="20065"/>
                </a:moveTo>
                <a:lnTo>
                  <a:pt x="97249" y="20065"/>
                </a:lnTo>
                <a:lnTo>
                  <a:pt x="125012" y="20429"/>
                </a:lnTo>
                <a:lnTo>
                  <a:pt x="152478" y="23066"/>
                </a:lnTo>
                <a:lnTo>
                  <a:pt x="160352" y="23066"/>
                </a:lnTo>
                <a:lnTo>
                  <a:pt x="168226" y="30813"/>
                </a:lnTo>
                <a:lnTo>
                  <a:pt x="173084" y="78390"/>
                </a:lnTo>
                <a:lnTo>
                  <a:pt x="174955" y="127587"/>
                </a:lnTo>
                <a:lnTo>
                  <a:pt x="175019" y="141029"/>
                </a:lnTo>
                <a:lnTo>
                  <a:pt x="174834" y="160791"/>
                </a:lnTo>
                <a:lnTo>
                  <a:pt x="172191" y="213770"/>
                </a:lnTo>
                <a:lnTo>
                  <a:pt x="166831" y="236240"/>
                </a:lnTo>
                <a:lnTo>
                  <a:pt x="164924" y="241252"/>
                </a:lnTo>
                <a:lnTo>
                  <a:pt x="190804" y="241252"/>
                </a:lnTo>
                <a:lnTo>
                  <a:pt x="190475" y="211490"/>
                </a:lnTo>
                <a:lnTo>
                  <a:pt x="189616" y="170126"/>
                </a:lnTo>
                <a:lnTo>
                  <a:pt x="188546" y="127587"/>
                </a:lnTo>
                <a:lnTo>
                  <a:pt x="184942" y="66659"/>
                </a:lnTo>
                <a:lnTo>
                  <a:pt x="182563" y="40540"/>
                </a:lnTo>
                <a:lnTo>
                  <a:pt x="179644" y="2006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940562" y="3166379"/>
            <a:ext cx="224163" cy="509683"/>
          </a:xfrm>
          <a:custGeom>
            <a:avLst/>
            <a:gdLst/>
            <a:ahLst/>
            <a:cxnLst/>
            <a:rect l="l" t="t" r="r" b="b"/>
            <a:pathLst>
              <a:path w="304800" h="520064">
                <a:moveTo>
                  <a:pt x="297814" y="0"/>
                </a:moveTo>
                <a:lnTo>
                  <a:pt x="6984" y="0"/>
                </a:lnTo>
                <a:lnTo>
                  <a:pt x="0" y="8889"/>
                </a:lnTo>
                <a:lnTo>
                  <a:pt x="0" y="510793"/>
                </a:lnTo>
                <a:lnTo>
                  <a:pt x="6984" y="519683"/>
                </a:lnTo>
                <a:lnTo>
                  <a:pt x="297814" y="519683"/>
                </a:lnTo>
                <a:lnTo>
                  <a:pt x="304800" y="510793"/>
                </a:lnTo>
                <a:lnTo>
                  <a:pt x="304800" y="508634"/>
                </a:lnTo>
                <a:lnTo>
                  <a:pt x="144144" y="508634"/>
                </a:lnTo>
                <a:lnTo>
                  <a:pt x="138810" y="501903"/>
                </a:lnTo>
                <a:lnTo>
                  <a:pt x="138810" y="485139"/>
                </a:lnTo>
                <a:lnTo>
                  <a:pt x="144144" y="478408"/>
                </a:lnTo>
                <a:lnTo>
                  <a:pt x="304800" y="478408"/>
                </a:lnTo>
                <a:lnTo>
                  <a:pt x="304800" y="463550"/>
                </a:lnTo>
                <a:lnTo>
                  <a:pt x="38861" y="463550"/>
                </a:lnTo>
                <a:lnTo>
                  <a:pt x="38861" y="40766"/>
                </a:lnTo>
                <a:lnTo>
                  <a:pt x="304800" y="40766"/>
                </a:lnTo>
                <a:lnTo>
                  <a:pt x="304800" y="8889"/>
                </a:lnTo>
                <a:lnTo>
                  <a:pt x="297814" y="0"/>
                </a:lnTo>
                <a:close/>
              </a:path>
              <a:path w="304800" h="520064">
                <a:moveTo>
                  <a:pt x="304800" y="478408"/>
                </a:moveTo>
                <a:lnTo>
                  <a:pt x="157352" y="478408"/>
                </a:lnTo>
                <a:lnTo>
                  <a:pt x="162686" y="485139"/>
                </a:lnTo>
                <a:lnTo>
                  <a:pt x="162686" y="501903"/>
                </a:lnTo>
                <a:lnTo>
                  <a:pt x="157352" y="508634"/>
                </a:lnTo>
                <a:lnTo>
                  <a:pt x="304800" y="508634"/>
                </a:lnTo>
                <a:lnTo>
                  <a:pt x="304800" y="478408"/>
                </a:lnTo>
                <a:close/>
              </a:path>
              <a:path w="304800" h="520064">
                <a:moveTo>
                  <a:pt x="304800" y="40766"/>
                </a:moveTo>
                <a:lnTo>
                  <a:pt x="267842" y="40766"/>
                </a:lnTo>
                <a:lnTo>
                  <a:pt x="267842" y="463550"/>
                </a:lnTo>
                <a:lnTo>
                  <a:pt x="304800" y="463550"/>
                </a:lnTo>
                <a:lnTo>
                  <a:pt x="304800" y="407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199470" y="3376973"/>
            <a:ext cx="114417" cy="282535"/>
          </a:xfrm>
          <a:custGeom>
            <a:avLst/>
            <a:gdLst/>
            <a:ahLst/>
            <a:cxnLst/>
            <a:rect l="l" t="t" r="r" b="b"/>
            <a:pathLst>
              <a:path w="155575" h="288289">
                <a:moveTo>
                  <a:pt x="151892" y="0"/>
                </a:moveTo>
                <a:lnTo>
                  <a:pt x="3556" y="0"/>
                </a:lnTo>
                <a:lnTo>
                  <a:pt x="0" y="4953"/>
                </a:lnTo>
                <a:lnTo>
                  <a:pt x="0" y="283083"/>
                </a:lnTo>
                <a:lnTo>
                  <a:pt x="3556" y="288036"/>
                </a:lnTo>
                <a:lnTo>
                  <a:pt x="151892" y="288036"/>
                </a:lnTo>
                <a:lnTo>
                  <a:pt x="155448" y="283083"/>
                </a:lnTo>
                <a:lnTo>
                  <a:pt x="155448" y="281940"/>
                </a:lnTo>
                <a:lnTo>
                  <a:pt x="73533" y="281940"/>
                </a:lnTo>
                <a:lnTo>
                  <a:pt x="70739" y="278130"/>
                </a:lnTo>
                <a:lnTo>
                  <a:pt x="70739" y="268986"/>
                </a:lnTo>
                <a:lnTo>
                  <a:pt x="73533" y="265175"/>
                </a:lnTo>
                <a:lnTo>
                  <a:pt x="155448" y="265175"/>
                </a:lnTo>
                <a:lnTo>
                  <a:pt x="155448" y="256921"/>
                </a:lnTo>
                <a:lnTo>
                  <a:pt x="19812" y="256921"/>
                </a:lnTo>
                <a:lnTo>
                  <a:pt x="19812" y="22606"/>
                </a:lnTo>
                <a:lnTo>
                  <a:pt x="155448" y="22606"/>
                </a:lnTo>
                <a:lnTo>
                  <a:pt x="155448" y="4953"/>
                </a:lnTo>
                <a:lnTo>
                  <a:pt x="151892" y="0"/>
                </a:lnTo>
                <a:close/>
              </a:path>
              <a:path w="155575" h="288289">
                <a:moveTo>
                  <a:pt x="155448" y="265175"/>
                </a:moveTo>
                <a:lnTo>
                  <a:pt x="80264" y="265175"/>
                </a:lnTo>
                <a:lnTo>
                  <a:pt x="82931" y="268986"/>
                </a:lnTo>
                <a:lnTo>
                  <a:pt x="82931" y="278130"/>
                </a:lnTo>
                <a:lnTo>
                  <a:pt x="80264" y="281940"/>
                </a:lnTo>
                <a:lnTo>
                  <a:pt x="155448" y="281940"/>
                </a:lnTo>
                <a:lnTo>
                  <a:pt x="155448" y="265175"/>
                </a:lnTo>
                <a:close/>
              </a:path>
              <a:path w="155575" h="288289">
                <a:moveTo>
                  <a:pt x="155448" y="22606"/>
                </a:moveTo>
                <a:lnTo>
                  <a:pt x="136652" y="22606"/>
                </a:lnTo>
                <a:lnTo>
                  <a:pt x="136652" y="256921"/>
                </a:lnTo>
                <a:lnTo>
                  <a:pt x="155448" y="256921"/>
                </a:lnTo>
                <a:lnTo>
                  <a:pt x="155448" y="2260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48574" y="1998403"/>
            <a:ext cx="2389676" cy="76408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26596" y="2885587"/>
            <a:ext cx="2320867" cy="768195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00117" y="3733440"/>
            <a:ext cx="3121270" cy="80752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Box 4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Public Cloud Storage with Azure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9" name="object 4"/>
          <p:cNvSpPr/>
          <p:nvPr/>
        </p:nvSpPr>
        <p:spPr>
          <a:xfrm>
            <a:off x="-36512" y="1988840"/>
            <a:ext cx="9180512" cy="648072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TextBox 9"/>
          <p:cNvSpPr txBox="1"/>
          <p:nvPr/>
        </p:nvSpPr>
        <p:spPr>
          <a:xfrm>
            <a:off x="-36512" y="2052137"/>
            <a:ext cx="25202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Storage</a:t>
            </a:r>
            <a:endParaRPr lang="en-IN" sz="2400" dirty="0" smtClean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0" y="1052736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Segoe UI Light" pitchFamily="34" charset="0"/>
                <a:cs typeface="Arial" pitchFamily="34" charset="0"/>
              </a:rPr>
              <a:t>Supports For Hybrid Clou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483768" y="2052137"/>
            <a:ext cx="34563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Data Protection</a:t>
            </a:r>
            <a:endParaRPr lang="en-IN" sz="2400" dirty="0" smtClean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796136" y="2060848"/>
            <a:ext cx="33123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Disaster Recovery</a:t>
            </a:r>
            <a:endParaRPr lang="en-IN" sz="24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15" name="Title 3"/>
          <p:cNvSpPr txBox="1">
            <a:spLocks/>
          </p:cNvSpPr>
          <p:nvPr/>
        </p:nvSpPr>
        <p:spPr>
          <a:xfrm>
            <a:off x="0" y="2636912"/>
            <a:ext cx="2987824" cy="24652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Blobs, Disks, Tables, Files, &amp;  Queues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Data transfer options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Strong consistency</a:t>
            </a:r>
          </a:p>
        </p:txBody>
      </p:sp>
      <p:sp>
        <p:nvSpPr>
          <p:cNvPr id="16" name="Title 3"/>
          <p:cNvSpPr txBox="1">
            <a:spLocks/>
          </p:cNvSpPr>
          <p:nvPr/>
        </p:nvSpPr>
        <p:spPr>
          <a:xfrm>
            <a:off x="2987824" y="2636912"/>
            <a:ext cx="2987824" cy="24652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Redundant storage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Access control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Simplified compliance</a:t>
            </a:r>
          </a:p>
        </p:txBody>
      </p:sp>
      <p:sp>
        <p:nvSpPr>
          <p:cNvPr id="18" name="Title 3"/>
          <p:cNvSpPr txBox="1">
            <a:spLocks/>
          </p:cNvSpPr>
          <p:nvPr/>
        </p:nvSpPr>
        <p:spPr>
          <a:xfrm>
            <a:off x="6192688" y="2636912"/>
            <a:ext cx="2987824" cy="24652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Azure Site Recovery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Read Access Geo-  Redundant Storage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Cloud-based business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continuity solutions</a:t>
            </a: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0" y="0"/>
            <a:ext cx="9144000" cy="112474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Box 4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Azure Storage Service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620688"/>
            <a:ext cx="25202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err="1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Bolbs</a:t>
            </a:r>
            <a:endParaRPr lang="en-IN" sz="2800" dirty="0" smtClean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83768" y="620688"/>
            <a:ext cx="34563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Tables</a:t>
            </a:r>
            <a:endParaRPr lang="en-IN" sz="2800" dirty="0" smtClean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796136" y="620688"/>
            <a:ext cx="33123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Queues</a:t>
            </a:r>
            <a:endParaRPr lang="en-IN" sz="28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15" name="Title 3"/>
          <p:cNvSpPr txBox="1">
            <a:spLocks/>
          </p:cNvSpPr>
          <p:nvPr/>
        </p:nvSpPr>
        <p:spPr>
          <a:xfrm>
            <a:off x="0" y="1124744"/>
            <a:ext cx="2987824" cy="21602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Highly Scalable, REST based cloud object store 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Block Blobs – Sequential file IO 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Page Blobs – Random write Pattern Data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Append </a:t>
            </a:r>
            <a:r>
              <a:rPr lang="en-US" sz="2000" b="1" dirty="0" err="1" smtClean="0">
                <a:latin typeface="Segoe UI Light" pitchFamily="34" charset="0"/>
              </a:rPr>
              <a:t>Bolbs</a:t>
            </a:r>
            <a:r>
              <a:rPr lang="en-US" sz="2000" b="1" dirty="0" smtClean="0">
                <a:latin typeface="Segoe UI Light" pitchFamily="34" charset="0"/>
              </a:rPr>
              <a:t> - </a:t>
            </a:r>
          </a:p>
        </p:txBody>
      </p:sp>
      <p:sp>
        <p:nvSpPr>
          <p:cNvPr id="16" name="Title 3"/>
          <p:cNvSpPr txBox="1">
            <a:spLocks/>
          </p:cNvSpPr>
          <p:nvPr/>
        </p:nvSpPr>
        <p:spPr>
          <a:xfrm>
            <a:off x="2987824" y="1124744"/>
            <a:ext cx="2987824" cy="23762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Massive Auto Scaling No SQL Store.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Dynamic scaling based on load .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Scale to PB of table data.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Fast Key/Value Look Up</a:t>
            </a:r>
          </a:p>
        </p:txBody>
      </p:sp>
      <p:sp>
        <p:nvSpPr>
          <p:cNvPr id="18" name="Title 3"/>
          <p:cNvSpPr txBox="1">
            <a:spLocks/>
          </p:cNvSpPr>
          <p:nvPr/>
        </p:nvSpPr>
        <p:spPr>
          <a:xfrm>
            <a:off x="6192688" y="1124744"/>
            <a:ext cx="2987824" cy="14401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Reliable queues at scale for cloud services 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Message visibility time outs.</a:t>
            </a:r>
            <a:endParaRPr lang="en-IN" sz="2000" b="1" dirty="0" smtClean="0">
              <a:latin typeface="Segoe UI Light" pitchFamily="34" charset="0"/>
            </a:endParaRPr>
          </a:p>
        </p:txBody>
      </p:sp>
      <p:sp>
        <p:nvSpPr>
          <p:cNvPr id="17" name="object 4"/>
          <p:cNvSpPr/>
          <p:nvPr/>
        </p:nvSpPr>
        <p:spPr>
          <a:xfrm>
            <a:off x="-36512" y="3429000"/>
            <a:ext cx="9180512" cy="548680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TextBox 18"/>
          <p:cNvSpPr txBox="1"/>
          <p:nvPr/>
        </p:nvSpPr>
        <p:spPr>
          <a:xfrm>
            <a:off x="0" y="3454460"/>
            <a:ext cx="39239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Disks</a:t>
            </a:r>
            <a:endParaRPr lang="en-IN" sz="2800" dirty="0" smtClean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220072" y="3473624"/>
            <a:ext cx="39239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Files</a:t>
            </a:r>
            <a:endParaRPr lang="en-IN" sz="2800" dirty="0" smtClean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21" name="Title 3"/>
          <p:cNvSpPr txBox="1">
            <a:spLocks/>
          </p:cNvSpPr>
          <p:nvPr/>
        </p:nvSpPr>
        <p:spPr>
          <a:xfrm>
            <a:off x="-36512" y="3933056"/>
            <a:ext cx="4608512" cy="21602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Persistent disks for Azure </a:t>
            </a:r>
            <a:r>
              <a:rPr lang="en-US" sz="2000" b="1" dirty="0" err="1" smtClean="0">
                <a:latin typeface="Segoe UI Light" pitchFamily="34" charset="0"/>
              </a:rPr>
              <a:t>IaaS</a:t>
            </a:r>
            <a:r>
              <a:rPr lang="en-US" sz="2000" b="1" dirty="0" smtClean="0">
                <a:latin typeface="Segoe UI Light" pitchFamily="34" charset="0"/>
              </a:rPr>
              <a:t> VM’s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 Built on Page </a:t>
            </a:r>
            <a:r>
              <a:rPr lang="en-US" sz="2000" b="1" dirty="0" err="1" smtClean="0">
                <a:latin typeface="Segoe UI Light" pitchFamily="34" charset="0"/>
              </a:rPr>
              <a:t>Bolbs</a:t>
            </a: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Premium storage based disks: SSD based, high IOPS , Low latency 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US" sz="2000" b="1" dirty="0" smtClean="0">
                <a:latin typeface="Segoe UI Light" pitchFamily="34" charset="0"/>
              </a:rPr>
              <a:t>Managed disks</a:t>
            </a:r>
          </a:p>
        </p:txBody>
      </p:sp>
      <p:sp>
        <p:nvSpPr>
          <p:cNvPr id="22" name="Title 3"/>
          <p:cNvSpPr txBox="1">
            <a:spLocks/>
          </p:cNvSpPr>
          <p:nvPr/>
        </p:nvSpPr>
        <p:spPr>
          <a:xfrm>
            <a:off x="4572000" y="3933056"/>
            <a:ext cx="4536504" cy="23762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Fully managed Files shares in the cloud SMB </a:t>
            </a:r>
            <a:r>
              <a:rPr lang="en-IN" sz="2000" b="1" dirty="0" err="1" smtClean="0">
                <a:latin typeface="Segoe UI Light" pitchFamily="34" charset="0"/>
              </a:rPr>
              <a:t>protocal</a:t>
            </a:r>
            <a:r>
              <a:rPr lang="en-IN" sz="2000" b="1" dirty="0" smtClean="0">
                <a:latin typeface="Segoe UI Light" pitchFamily="34" charset="0"/>
              </a:rPr>
              <a:t>.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Map to File share 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</a:pPr>
            <a:r>
              <a:rPr lang="en-IN" sz="2000" b="1" dirty="0" smtClean="0">
                <a:latin typeface="Segoe UI Light" pitchFamily="34" charset="0"/>
              </a:rPr>
              <a:t>Lift and Shift  Legacy Apps</a:t>
            </a:r>
          </a:p>
        </p:txBody>
      </p:sp>
      <p:sp>
        <p:nvSpPr>
          <p:cNvPr id="23" name="Footer Placeholder 2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0" y="2636912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Migrating Applications to Azure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TextBox 5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Azure Queue Storage Concept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115617" y="2564904"/>
            <a:ext cx="7344815" cy="4079480"/>
            <a:chOff x="816831" y="1820239"/>
            <a:chExt cx="10173629" cy="4536114"/>
          </a:xfrm>
        </p:grpSpPr>
        <p:sp>
          <p:nvSpPr>
            <p:cNvPr id="9" name="Rounded Rectangle 65"/>
            <p:cNvSpPr/>
            <p:nvPr/>
          </p:nvSpPr>
          <p:spPr>
            <a:xfrm>
              <a:off x="6277934" y="2438492"/>
              <a:ext cx="3216404" cy="39178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tIns="274320"/>
            <a:lstStyle/>
            <a:p>
              <a:pPr algn="ctr" defTabSz="1555685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 smtClean="0">
                  <a:solidFill>
                    <a:srgbClr val="595959">
                      <a:alpha val="98824"/>
                    </a:srgbClr>
                  </a:solidFill>
                  <a:latin typeface="Segoe UI Light" pitchFamily="34" charset="0"/>
                </a:rPr>
                <a:t>Messages</a:t>
              </a:r>
              <a:endParaRPr lang="en-US" sz="2000" dirty="0">
                <a:solidFill>
                  <a:srgbClr val="595959">
                    <a:alpha val="98824"/>
                  </a:srgbClr>
                </a:solidFill>
                <a:latin typeface="Segoe UI Light" pitchFamily="34" charset="0"/>
              </a:endParaRPr>
            </a:p>
          </p:txBody>
        </p:sp>
        <p:sp>
          <p:nvSpPr>
            <p:cNvPr id="10" name="Rounded Rectangle 68"/>
            <p:cNvSpPr/>
            <p:nvPr/>
          </p:nvSpPr>
          <p:spPr>
            <a:xfrm>
              <a:off x="3704629" y="2438493"/>
              <a:ext cx="2444678" cy="39178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tIns="274320"/>
            <a:lstStyle/>
            <a:p>
              <a:pPr algn="ctr" defTabSz="1555685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 smtClean="0">
                  <a:solidFill>
                    <a:srgbClr val="595959">
                      <a:alpha val="98824"/>
                    </a:srgbClr>
                  </a:solidFill>
                  <a:latin typeface="Segoe UI Light" pitchFamily="34" charset="0"/>
                </a:rPr>
                <a:t>Queue</a:t>
              </a:r>
              <a:endParaRPr lang="en-US" sz="2800" dirty="0">
                <a:solidFill>
                  <a:srgbClr val="595959">
                    <a:alpha val="98824"/>
                  </a:srgbClr>
                </a:solidFill>
                <a:latin typeface="Segoe UI Light" pitchFamily="34" charset="0"/>
              </a:endParaRPr>
            </a:p>
          </p:txBody>
        </p:sp>
        <p:sp>
          <p:nvSpPr>
            <p:cNvPr id="11" name="Rounded Rectangle 71"/>
            <p:cNvSpPr/>
            <p:nvPr/>
          </p:nvSpPr>
          <p:spPr>
            <a:xfrm>
              <a:off x="898550" y="2519019"/>
              <a:ext cx="2361146" cy="38373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tIns="274320"/>
            <a:lstStyle/>
            <a:p>
              <a:pPr algn="ctr" defTabSz="1555685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rgbClr val="595959">
                      <a:alpha val="98824"/>
                    </a:srgbClr>
                  </a:solidFill>
                  <a:latin typeface="Segoe UI Light" pitchFamily="34" charset="0"/>
                </a:rPr>
                <a:t>Account</a:t>
              </a:r>
              <a:endParaRPr lang="en-US" sz="3100" dirty="0">
                <a:solidFill>
                  <a:srgbClr val="595959">
                    <a:alpha val="98824"/>
                  </a:srgbClr>
                </a:solidFill>
                <a:latin typeface="Segoe UI Light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816831" y="1820239"/>
              <a:ext cx="10173629" cy="45720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vert="horz" wrap="square" lIns="91432" tIns="45716" rIns="91432" bIns="45716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61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>
                  <a:solidFill>
                    <a:srgbClr val="FFFFFF">
                      <a:alpha val="99000"/>
                    </a:srgbClr>
                  </a:solidFill>
                  <a:latin typeface="Consolas" pitchFamily="49" charset="0"/>
                  <a:cs typeface="Consolas" pitchFamily="49" charset="0"/>
                </a:rPr>
                <a:t>http://&lt;account</a:t>
              </a:r>
              <a:r>
                <a:rPr lang="en-US" sz="2000" dirty="0" smtClean="0">
                  <a:solidFill>
                    <a:srgbClr val="FFFFFF">
                      <a:alpha val="99000"/>
                    </a:srgbClr>
                  </a:solidFill>
                  <a:latin typeface="Consolas" pitchFamily="49" charset="0"/>
                  <a:cs typeface="Consolas" pitchFamily="49" charset="0"/>
                </a:rPr>
                <a:t>&gt;.</a:t>
              </a:r>
              <a:r>
                <a:rPr lang="en-US" sz="2000" b="1" dirty="0" smtClean="0">
                  <a:solidFill>
                    <a:srgbClr val="FFFFFF">
                      <a:alpha val="99000"/>
                    </a:srgbClr>
                  </a:solidFill>
                  <a:latin typeface="Consolas" pitchFamily="49" charset="0"/>
                  <a:cs typeface="Consolas" pitchFamily="49" charset="0"/>
                </a:rPr>
                <a:t>queue</a:t>
              </a:r>
              <a:r>
                <a:rPr lang="en-US" sz="2000" dirty="0" smtClean="0">
                  <a:solidFill>
                    <a:srgbClr val="FFFFFF">
                      <a:alpha val="99000"/>
                    </a:srgbClr>
                  </a:solidFill>
                  <a:latin typeface="Consolas" pitchFamily="49" charset="0"/>
                  <a:cs typeface="Consolas" pitchFamily="49" charset="0"/>
                </a:rPr>
                <a:t>.core.windows.net/&lt;queue&gt;</a:t>
              </a:r>
              <a:endParaRPr lang="en-US" sz="2000" dirty="0">
                <a:solidFill>
                  <a:srgbClr val="FFFFFF">
                    <a:alpha val="99000"/>
                  </a:srgbClr>
                </a:solidFill>
                <a:latin typeface="Consolas" pitchFamily="49" charset="0"/>
                <a:cs typeface="Consolas" pitchFamily="49" charset="0"/>
              </a:endParaRPr>
            </a:p>
          </p:txBody>
        </p:sp>
        <p:cxnSp>
          <p:nvCxnSpPr>
            <p:cNvPr id="14" name="Straight Connector 13"/>
            <p:cNvCxnSpPr/>
            <p:nvPr/>
          </p:nvCxnSpPr>
          <p:spPr>
            <a:xfrm>
              <a:off x="2976302" y="4806492"/>
              <a:ext cx="1537854" cy="1018309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2965912" y="3902482"/>
              <a:ext cx="1496291" cy="104948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15"/>
            <p:cNvSpPr/>
            <p:nvPr/>
          </p:nvSpPr>
          <p:spPr>
            <a:xfrm>
              <a:off x="1637051" y="4485927"/>
              <a:ext cx="1485956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 err="1" smtClean="0">
                  <a:solidFill>
                    <a:prstClr val="white">
                      <a:alpha val="99000"/>
                    </a:prstClr>
                  </a:solidFill>
                </a:rPr>
                <a:t>akmet</a:t>
              </a:r>
              <a:endParaRPr lang="en-US" sz="2000" dirty="0">
                <a:solidFill>
                  <a:prstClr val="white">
                    <a:alpha val="99000"/>
                  </a:prstClr>
                </a:solidFill>
              </a:endParaRPr>
            </a:p>
          </p:txBody>
        </p:sp>
        <p:cxnSp>
          <p:nvCxnSpPr>
            <p:cNvPr id="17" name="Straight Connector 16"/>
            <p:cNvCxnSpPr>
              <a:stCxn id="28" idx="3"/>
            </p:cNvCxnSpPr>
            <p:nvPr/>
          </p:nvCxnSpPr>
          <p:spPr>
            <a:xfrm flipV="1">
              <a:off x="5637976" y="5689719"/>
              <a:ext cx="1373699" cy="16909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>
              <a:stCxn id="26" idx="3"/>
            </p:cNvCxnSpPr>
            <p:nvPr/>
          </p:nvCxnSpPr>
          <p:spPr>
            <a:xfrm>
              <a:off x="5637973" y="4011819"/>
              <a:ext cx="1545730" cy="618028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stCxn id="26" idx="3"/>
              <a:endCxn id="22" idx="1"/>
            </p:cNvCxnSpPr>
            <p:nvPr/>
          </p:nvCxnSpPr>
          <p:spPr>
            <a:xfrm flipV="1">
              <a:off x="5637973" y="3446854"/>
              <a:ext cx="1472550" cy="564965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1"/>
            <p:cNvSpPr/>
            <p:nvPr/>
          </p:nvSpPr>
          <p:spPr>
            <a:xfrm>
              <a:off x="7110522" y="3073558"/>
              <a:ext cx="1585884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 smtClean="0">
                  <a:solidFill>
                    <a:prstClr val="white">
                      <a:alpha val="99000"/>
                    </a:prstClr>
                  </a:solidFill>
                </a:rPr>
                <a:t>msg1</a:t>
              </a:r>
              <a:endParaRPr lang="en-US" sz="2000" dirty="0">
                <a:solidFill>
                  <a:prstClr val="white">
                    <a:alpha val="99000"/>
                  </a:prstClr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6994292" y="4171921"/>
              <a:ext cx="1585886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 smtClean="0">
                  <a:solidFill>
                    <a:prstClr val="white">
                      <a:alpha val="99000"/>
                    </a:prstClr>
                  </a:solidFill>
                </a:rPr>
                <a:t>msg2</a:t>
              </a:r>
              <a:endParaRPr lang="en-US" sz="2000" dirty="0">
                <a:solidFill>
                  <a:prstClr val="white">
                    <a:alpha val="99000"/>
                  </a:prstClr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4200563" y="3638523"/>
              <a:ext cx="1437410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>
                  <a:solidFill>
                    <a:prstClr val="white">
                      <a:alpha val="99000"/>
                    </a:prstClr>
                  </a:solidFill>
                </a:rPr>
                <a:t>images</a:t>
              </a:r>
            </a:p>
          </p:txBody>
        </p:sp>
        <p:sp>
          <p:nvSpPr>
            <p:cNvPr id="27" name="Rounded Rectangle 97"/>
            <p:cNvSpPr/>
            <p:nvPr/>
          </p:nvSpPr>
          <p:spPr>
            <a:xfrm>
              <a:off x="6994292" y="5333332"/>
              <a:ext cx="1585884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 smtClean="0">
                  <a:solidFill>
                    <a:prstClr val="white">
                      <a:alpha val="99000"/>
                    </a:prstClr>
                  </a:solidFill>
                </a:rPr>
                <a:t>ms3</a:t>
              </a:r>
              <a:endParaRPr lang="en-US" sz="2000" dirty="0">
                <a:solidFill>
                  <a:prstClr val="white">
                    <a:alpha val="99000"/>
                  </a:prstClr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4200564" y="5333332"/>
              <a:ext cx="1437411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>
                  <a:solidFill>
                    <a:prstClr val="white">
                      <a:alpha val="99000"/>
                    </a:prstClr>
                  </a:solidFill>
                </a:rPr>
                <a:t>videos</a:t>
              </a:r>
            </a:p>
          </p:txBody>
        </p:sp>
      </p:grpSp>
      <p:sp>
        <p:nvSpPr>
          <p:cNvPr id="29" name="Title 3"/>
          <p:cNvSpPr txBox="1">
            <a:spLocks/>
          </p:cNvSpPr>
          <p:nvPr/>
        </p:nvSpPr>
        <p:spPr>
          <a:xfrm>
            <a:off x="0" y="836712"/>
            <a:ext cx="9144000" cy="11521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/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Queue  provide  a method of storing messages that can be accessed from any number of clients 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Queue methods  Insert , De-Queue , Peek and also view last cached message count.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Windows Azure Service Bus  is a managed message infrastructure.</a:t>
            </a:r>
          </a:p>
        </p:txBody>
      </p:sp>
      <p:sp>
        <p:nvSpPr>
          <p:cNvPr id="23" name="Footer Placeholder 2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0" y="2636912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Migrating Applications to Azure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TextBox 5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Azure Blob Storage Concept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grpSp>
        <p:nvGrpSpPr>
          <p:cNvPr id="2" name="Group 6"/>
          <p:cNvGrpSpPr/>
          <p:nvPr/>
        </p:nvGrpSpPr>
        <p:grpSpPr>
          <a:xfrm>
            <a:off x="179513" y="2661888"/>
            <a:ext cx="8964487" cy="4079480"/>
            <a:chOff x="816831" y="1820239"/>
            <a:chExt cx="10173630" cy="4536114"/>
          </a:xfrm>
        </p:grpSpPr>
        <p:sp>
          <p:nvSpPr>
            <p:cNvPr id="9" name="Rounded Rectangle 65"/>
            <p:cNvSpPr/>
            <p:nvPr/>
          </p:nvSpPr>
          <p:spPr>
            <a:xfrm>
              <a:off x="6277934" y="2438492"/>
              <a:ext cx="2200710" cy="391785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tIns="274320"/>
            <a:lstStyle/>
            <a:p>
              <a:pPr algn="l" defTabSz="1555685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rgbClr val="595959">
                      <a:alpha val="98824"/>
                    </a:srgbClr>
                  </a:solidFill>
                  <a:latin typeface="Segoe UI Light" pitchFamily="34" charset="0"/>
                </a:rPr>
                <a:t>Blob</a:t>
              </a:r>
            </a:p>
          </p:txBody>
        </p:sp>
        <p:sp>
          <p:nvSpPr>
            <p:cNvPr id="10" name="Rounded Rectangle 68"/>
            <p:cNvSpPr/>
            <p:nvPr/>
          </p:nvSpPr>
          <p:spPr>
            <a:xfrm>
              <a:off x="3704629" y="2438493"/>
              <a:ext cx="2444678" cy="39178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tIns="274320"/>
            <a:lstStyle/>
            <a:p>
              <a:pPr algn="l" defTabSz="1555685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rgbClr val="595959">
                      <a:alpha val="98824"/>
                    </a:srgbClr>
                  </a:solidFill>
                  <a:latin typeface="Segoe UI Light" pitchFamily="34" charset="0"/>
                </a:rPr>
                <a:t>Container</a:t>
              </a:r>
            </a:p>
          </p:txBody>
        </p:sp>
        <p:sp>
          <p:nvSpPr>
            <p:cNvPr id="11" name="Rounded Rectangle 71"/>
            <p:cNvSpPr/>
            <p:nvPr/>
          </p:nvSpPr>
          <p:spPr>
            <a:xfrm>
              <a:off x="898550" y="2519019"/>
              <a:ext cx="2361146" cy="38373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tIns="274320"/>
            <a:lstStyle/>
            <a:p>
              <a:pPr algn="l" defTabSz="1555685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rgbClr val="595959">
                      <a:alpha val="98824"/>
                    </a:srgbClr>
                  </a:solidFill>
                  <a:latin typeface="Segoe UI Light" pitchFamily="34" charset="0"/>
                </a:rPr>
                <a:t>Account</a:t>
              </a:r>
              <a:endParaRPr lang="en-US" sz="3100" dirty="0">
                <a:solidFill>
                  <a:srgbClr val="595959">
                    <a:alpha val="98824"/>
                  </a:srgbClr>
                </a:solidFill>
                <a:latin typeface="Segoe UI Light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816831" y="1820239"/>
              <a:ext cx="10173629" cy="45720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vert="horz" wrap="square" lIns="91432" tIns="45716" rIns="91432" bIns="45716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61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>
                  <a:solidFill>
                    <a:srgbClr val="FFFFFF">
                      <a:alpha val="99000"/>
                    </a:srgbClr>
                  </a:solidFill>
                  <a:latin typeface="Consolas" pitchFamily="49" charset="0"/>
                  <a:cs typeface="Consolas" pitchFamily="49" charset="0"/>
                </a:rPr>
                <a:t>http://&lt;account&gt;.</a:t>
              </a:r>
              <a:r>
                <a:rPr lang="en-US" sz="2000" b="1" dirty="0">
                  <a:solidFill>
                    <a:srgbClr val="FFFFFF">
                      <a:alpha val="99000"/>
                    </a:srgbClr>
                  </a:solidFill>
                  <a:latin typeface="Consolas" pitchFamily="49" charset="0"/>
                  <a:cs typeface="Consolas" pitchFamily="49" charset="0"/>
                </a:rPr>
                <a:t>blob</a:t>
              </a:r>
              <a:r>
                <a:rPr lang="en-US" sz="2000" dirty="0">
                  <a:solidFill>
                    <a:srgbClr val="FFFFFF">
                      <a:alpha val="99000"/>
                    </a:srgbClr>
                  </a:solidFill>
                  <a:latin typeface="Consolas" pitchFamily="49" charset="0"/>
                  <a:cs typeface="Consolas" pitchFamily="49" charset="0"/>
                </a:rPr>
                <a:t>.core.windows.net/&lt;container&gt;/&lt;blobname&gt;</a:t>
              </a:r>
            </a:p>
          </p:txBody>
        </p:sp>
        <p:sp>
          <p:nvSpPr>
            <p:cNvPr id="13" name="Rounded Rectangle 104"/>
            <p:cNvSpPr/>
            <p:nvPr/>
          </p:nvSpPr>
          <p:spPr>
            <a:xfrm>
              <a:off x="8609712" y="2438493"/>
              <a:ext cx="2380749" cy="391624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tIns="274320"/>
            <a:lstStyle/>
            <a:p>
              <a:pPr algn="l" defTabSz="1555685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rgbClr val="595959">
                      <a:alpha val="98824"/>
                    </a:srgbClr>
                  </a:solidFill>
                  <a:latin typeface="Segoe UI Light" pitchFamily="34" charset="0"/>
                </a:rPr>
                <a:t>Pages/ Blocks</a:t>
              </a:r>
            </a:p>
          </p:txBody>
        </p:sp>
        <p:cxnSp>
          <p:nvCxnSpPr>
            <p:cNvPr id="14" name="Straight Connector 13"/>
            <p:cNvCxnSpPr/>
            <p:nvPr/>
          </p:nvCxnSpPr>
          <p:spPr>
            <a:xfrm>
              <a:off x="2976302" y="4806492"/>
              <a:ext cx="1537854" cy="1018309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2965912" y="3902482"/>
              <a:ext cx="1496291" cy="1049482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15"/>
            <p:cNvSpPr/>
            <p:nvPr/>
          </p:nvSpPr>
          <p:spPr>
            <a:xfrm>
              <a:off x="1637051" y="4485927"/>
              <a:ext cx="1485956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 err="1" smtClean="0">
                  <a:solidFill>
                    <a:prstClr val="white">
                      <a:alpha val="99000"/>
                    </a:prstClr>
                  </a:solidFill>
                </a:rPr>
                <a:t>akmet</a:t>
              </a:r>
              <a:endParaRPr lang="en-US" sz="2000" dirty="0">
                <a:solidFill>
                  <a:prstClr val="white">
                    <a:alpha val="99000"/>
                  </a:prstClr>
                </a:solidFill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>
            <a:xfrm>
              <a:off x="5574029" y="5689718"/>
              <a:ext cx="10287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5501294" y="3964828"/>
              <a:ext cx="1273463" cy="665019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endCxn id="22" idx="1"/>
            </p:cNvCxnSpPr>
            <p:nvPr/>
          </p:nvCxnSpPr>
          <p:spPr>
            <a:xfrm flipV="1">
              <a:off x="5501293" y="3500944"/>
              <a:ext cx="1084055" cy="598966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8005503" y="4494764"/>
              <a:ext cx="1589809" cy="904008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>
              <a:endCxn id="23" idx="1"/>
            </p:cNvCxnSpPr>
            <p:nvPr/>
          </p:nvCxnSpPr>
          <p:spPr>
            <a:xfrm flipV="1">
              <a:off x="7995111" y="3992348"/>
              <a:ext cx="1011020" cy="66867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1"/>
            <p:cNvSpPr/>
            <p:nvPr/>
          </p:nvSpPr>
          <p:spPr>
            <a:xfrm>
              <a:off x="6585347" y="3127648"/>
              <a:ext cx="1585884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>
                  <a:solidFill>
                    <a:prstClr val="white">
                      <a:alpha val="99000"/>
                    </a:prstClr>
                  </a:solidFill>
                </a:rPr>
                <a:t>PIC01.JPG</a:t>
              </a:r>
            </a:p>
          </p:txBody>
        </p:sp>
        <p:sp>
          <p:nvSpPr>
            <p:cNvPr id="23" name="Rounded Rectangle 18"/>
            <p:cNvSpPr/>
            <p:nvPr/>
          </p:nvSpPr>
          <p:spPr>
            <a:xfrm>
              <a:off x="9006132" y="3640919"/>
              <a:ext cx="1585469" cy="702858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>
                  <a:solidFill>
                    <a:prstClr val="white">
                      <a:alpha val="99000"/>
                    </a:prstClr>
                  </a:solidFill>
                </a:rPr>
                <a:t>Block/Page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9005922" y="4776149"/>
              <a:ext cx="1585886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>
                  <a:solidFill>
                    <a:prstClr val="white">
                      <a:alpha val="99000"/>
                    </a:prstClr>
                  </a:solidFill>
                </a:rPr>
                <a:t>Block/Page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6585346" y="4171921"/>
              <a:ext cx="1585886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>
                  <a:solidFill>
                    <a:prstClr val="white">
                      <a:alpha val="99000"/>
                    </a:prstClr>
                  </a:solidFill>
                </a:rPr>
                <a:t>PIC02.JPG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4200563" y="3638523"/>
              <a:ext cx="1437410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>
                  <a:solidFill>
                    <a:prstClr val="white">
                      <a:alpha val="99000"/>
                    </a:prstClr>
                  </a:solidFill>
                </a:rPr>
                <a:t>images</a:t>
              </a:r>
            </a:p>
          </p:txBody>
        </p:sp>
        <p:sp>
          <p:nvSpPr>
            <p:cNvPr id="27" name="Rounded Rectangle 97"/>
            <p:cNvSpPr/>
            <p:nvPr/>
          </p:nvSpPr>
          <p:spPr>
            <a:xfrm>
              <a:off x="6585347" y="5333332"/>
              <a:ext cx="1585884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>
                  <a:solidFill>
                    <a:prstClr val="white">
                      <a:alpha val="99000"/>
                    </a:prstClr>
                  </a:solidFill>
                </a:rPr>
                <a:t>VID1.AVI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4200564" y="5333332"/>
              <a:ext cx="1437411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>
                  <a:solidFill>
                    <a:prstClr val="white">
                      <a:alpha val="99000"/>
                    </a:prstClr>
                  </a:solidFill>
                </a:rPr>
                <a:t>videos</a:t>
              </a:r>
            </a:p>
          </p:txBody>
        </p:sp>
      </p:grpSp>
      <p:sp>
        <p:nvSpPr>
          <p:cNvPr id="29" name="Title 3"/>
          <p:cNvSpPr txBox="1">
            <a:spLocks/>
          </p:cNvSpPr>
          <p:nvPr/>
        </p:nvSpPr>
        <p:spPr>
          <a:xfrm>
            <a:off x="0" y="908720"/>
            <a:ext cx="9144000" cy="11521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/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All storage Blobs are associated with http URL. Stores Unstructured  text  , binary data or files , Exposed publicly. Used to store files like VHD ,Videos, images and log text files.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REST API  methods to access  </a:t>
            </a:r>
            <a:r>
              <a:rPr lang="en-US" sz="2000" b="1" dirty="0" err="1" smtClean="0">
                <a:latin typeface="Segoe UI Light" pitchFamily="34" charset="0"/>
              </a:rPr>
              <a:t>bolbs</a:t>
            </a:r>
            <a:r>
              <a:rPr lang="en-US" sz="2000" b="1" dirty="0" smtClean="0">
                <a:latin typeface="Segoe UI Light" pitchFamily="34" charset="0"/>
              </a:rPr>
              <a:t> : GET BOLB , POST , PUT , DELETE .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SAS token enabled .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CDN </a:t>
            </a:r>
          </a:p>
        </p:txBody>
      </p:sp>
      <p:sp>
        <p:nvSpPr>
          <p:cNvPr id="30" name="Footer Placeholder 2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0" y="2636912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Migrating Applications to Azure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TextBox 5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Table Storage Concept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755576" y="1446213"/>
            <a:ext cx="7279188" cy="4297681"/>
            <a:chOff x="520701" y="1446213"/>
            <a:chExt cx="7279188" cy="4297681"/>
          </a:xfrm>
        </p:grpSpPr>
        <p:grpSp>
          <p:nvGrpSpPr>
            <p:cNvPr id="30" name="Group 4"/>
            <p:cNvGrpSpPr/>
            <p:nvPr/>
          </p:nvGrpSpPr>
          <p:grpSpPr>
            <a:xfrm>
              <a:off x="5599179" y="1446213"/>
              <a:ext cx="2200710" cy="4297680"/>
              <a:chOff x="5685541" y="393698"/>
              <a:chExt cx="2303725" cy="4297680"/>
            </a:xfrm>
          </p:grpSpPr>
          <p:sp>
            <p:nvSpPr>
              <p:cNvPr id="50" name="Rounded Rectangle 65"/>
              <p:cNvSpPr/>
              <p:nvPr/>
            </p:nvSpPr>
            <p:spPr>
              <a:xfrm>
                <a:off x="5685541" y="393698"/>
                <a:ext cx="2303725" cy="429768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</p:sp>
          <p:sp>
            <p:nvSpPr>
              <p:cNvPr id="51" name="Rounded Rectangle 4"/>
              <p:cNvSpPr/>
              <p:nvPr/>
            </p:nvSpPr>
            <p:spPr>
              <a:xfrm>
                <a:off x="5685541" y="393698"/>
                <a:ext cx="2303725" cy="144018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1440" tIns="248920" rIns="248920" bIns="248920" numCol="1" spcCol="1270" anchor="t" anchorCtr="0">
                <a:noAutofit/>
              </a:bodyPr>
              <a:lstStyle/>
              <a:p>
                <a:pPr algn="l" defTabSz="1555685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800" dirty="0">
                    <a:solidFill>
                      <a:srgbClr val="595959">
                        <a:alpha val="98824"/>
                      </a:srgbClr>
                    </a:solidFill>
                    <a:latin typeface="Segoe UI Light" pitchFamily="34" charset="0"/>
                  </a:rPr>
                  <a:t>Entity</a:t>
                </a:r>
              </a:p>
            </p:txBody>
          </p:sp>
        </p:grpSp>
        <p:grpSp>
          <p:nvGrpSpPr>
            <p:cNvPr id="31" name="Group 5"/>
            <p:cNvGrpSpPr/>
            <p:nvPr/>
          </p:nvGrpSpPr>
          <p:grpSpPr>
            <a:xfrm>
              <a:off x="3010474" y="1446214"/>
              <a:ext cx="2460078" cy="4297680"/>
              <a:chOff x="2983350" y="355599"/>
              <a:chExt cx="2318237" cy="4297680"/>
            </a:xfrm>
          </p:grpSpPr>
          <p:sp>
            <p:nvSpPr>
              <p:cNvPr id="48" name="Rounded Rectangle 68"/>
              <p:cNvSpPr/>
              <p:nvPr/>
            </p:nvSpPr>
            <p:spPr>
              <a:xfrm>
                <a:off x="2997862" y="355599"/>
                <a:ext cx="2303725" cy="429768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</p:sp>
          <p:sp>
            <p:nvSpPr>
              <p:cNvPr id="49" name="Rounded Rectangle 6"/>
              <p:cNvSpPr/>
              <p:nvPr/>
            </p:nvSpPr>
            <p:spPr>
              <a:xfrm>
                <a:off x="2983350" y="355599"/>
                <a:ext cx="2299995" cy="144018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1440" tIns="248920" rIns="248920" bIns="248920" numCol="1" spcCol="1270" anchor="t" anchorCtr="0">
                <a:noAutofit/>
              </a:bodyPr>
              <a:lstStyle/>
              <a:p>
                <a:pPr algn="l" defTabSz="1555685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800" dirty="0">
                    <a:solidFill>
                      <a:srgbClr val="595959">
                        <a:alpha val="98824"/>
                      </a:srgbClr>
                    </a:solidFill>
                    <a:latin typeface="Segoe UI Light" pitchFamily="34" charset="0"/>
                  </a:rPr>
                  <a:t>Table</a:t>
                </a:r>
              </a:p>
            </p:txBody>
          </p:sp>
        </p:grpSp>
        <p:grpSp>
          <p:nvGrpSpPr>
            <p:cNvPr id="32" name="Group 6"/>
            <p:cNvGrpSpPr/>
            <p:nvPr/>
          </p:nvGrpSpPr>
          <p:grpSpPr>
            <a:xfrm>
              <a:off x="520701" y="1446214"/>
              <a:ext cx="2361146" cy="4297680"/>
              <a:chOff x="222249" y="355599"/>
              <a:chExt cx="2303725" cy="4297680"/>
            </a:xfrm>
          </p:grpSpPr>
          <p:sp>
            <p:nvSpPr>
              <p:cNvPr id="46" name="Rounded Rectangle 71"/>
              <p:cNvSpPr/>
              <p:nvPr/>
            </p:nvSpPr>
            <p:spPr>
              <a:xfrm>
                <a:off x="222249" y="355599"/>
                <a:ext cx="2303725" cy="429768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</p:sp>
          <p:sp>
            <p:nvSpPr>
              <p:cNvPr id="47" name="Rounded Rectangle 8"/>
              <p:cNvSpPr/>
              <p:nvPr/>
            </p:nvSpPr>
            <p:spPr>
              <a:xfrm>
                <a:off x="222249" y="355599"/>
                <a:ext cx="2303725" cy="144018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1440" tIns="248920" rIns="248920" bIns="248920" numCol="1" spcCol="1270" anchor="t" anchorCtr="0">
                <a:noAutofit/>
              </a:bodyPr>
              <a:lstStyle/>
              <a:p>
                <a:pPr algn="l" defTabSz="1555685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800" dirty="0">
                    <a:solidFill>
                      <a:srgbClr val="595959">
                        <a:alpha val="98824"/>
                      </a:srgbClr>
                    </a:solidFill>
                    <a:latin typeface="Segoe UI Light" pitchFamily="34" charset="0"/>
                  </a:rPr>
                  <a:t>Account</a:t>
                </a:r>
                <a:endParaRPr lang="en-US" sz="3100" dirty="0">
                  <a:solidFill>
                    <a:srgbClr val="595959">
                      <a:alpha val="98824"/>
                    </a:srgbClr>
                  </a:solidFill>
                  <a:latin typeface="Segoe UI Light" pitchFamily="34" charset="0"/>
                </a:endParaRPr>
              </a:p>
            </p:txBody>
          </p:sp>
        </p:grpSp>
        <p:cxnSp>
          <p:nvCxnSpPr>
            <p:cNvPr id="33" name="Straight Connector 32"/>
            <p:cNvCxnSpPr/>
            <p:nvPr/>
          </p:nvCxnSpPr>
          <p:spPr>
            <a:xfrm>
              <a:off x="2262875" y="3867665"/>
              <a:ext cx="1482811" cy="1087394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flipV="1">
              <a:off x="2337016" y="3039763"/>
              <a:ext cx="1322173" cy="1000897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Rectangle 34"/>
            <p:cNvSpPr/>
            <p:nvPr/>
          </p:nvSpPr>
          <p:spPr>
            <a:xfrm>
              <a:off x="958296" y="3602527"/>
              <a:ext cx="1485956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 err="1" smtClean="0">
                  <a:solidFill>
                    <a:prstClr val="white">
                      <a:alpha val="99000"/>
                    </a:prstClr>
                  </a:solidFill>
                </a:rPr>
                <a:t>akmet</a:t>
              </a:r>
              <a:endParaRPr lang="en-US" sz="2000" dirty="0">
                <a:solidFill>
                  <a:prstClr val="white">
                    <a:alpha val="99000"/>
                  </a:prstClr>
                </a:solidFill>
              </a:endParaRPr>
            </a:p>
          </p:txBody>
        </p:sp>
        <p:cxnSp>
          <p:nvCxnSpPr>
            <p:cNvPr id="36" name="Straight Connector 35"/>
            <p:cNvCxnSpPr/>
            <p:nvPr/>
          </p:nvCxnSpPr>
          <p:spPr>
            <a:xfrm>
              <a:off x="4808367" y="3101546"/>
              <a:ext cx="1287635" cy="49427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 flipV="1">
              <a:off x="4845437" y="2656705"/>
              <a:ext cx="1250564" cy="531339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/>
            <p:cNvSpPr/>
            <p:nvPr/>
          </p:nvSpPr>
          <p:spPr>
            <a:xfrm>
              <a:off x="5906592" y="2360613"/>
              <a:ext cx="1585884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dirty="0">
                  <a:solidFill>
                    <a:prstClr val="white">
                      <a:alpha val="99000"/>
                    </a:prstClr>
                  </a:solidFill>
                </a:rPr>
                <a:t>Name =…</a:t>
              </a:r>
            </a:p>
            <a:p>
              <a:pPr algn="l" rtl="0"/>
              <a:r>
                <a:rPr lang="en-US" dirty="0">
                  <a:solidFill>
                    <a:prstClr val="white">
                      <a:alpha val="99000"/>
                    </a:prstClr>
                  </a:solidFill>
                </a:rPr>
                <a:t>Email = …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5906591" y="3188556"/>
              <a:ext cx="1585886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dirty="0">
                  <a:solidFill>
                    <a:prstClr val="white">
                      <a:alpha val="99000"/>
                    </a:prstClr>
                  </a:solidFill>
                </a:rPr>
                <a:t>Name =…</a:t>
              </a:r>
            </a:p>
            <a:p>
              <a:pPr algn="l" rtl="0"/>
              <a:r>
                <a:rPr lang="en-US" dirty="0" err="1">
                  <a:solidFill>
                    <a:prstClr val="white">
                      <a:alpha val="99000"/>
                    </a:prstClr>
                  </a:solidFill>
                </a:rPr>
                <a:t>EMailAdd</a:t>
              </a:r>
              <a:r>
                <a:rPr lang="en-US" dirty="0">
                  <a:solidFill>
                    <a:prstClr val="white">
                      <a:alpha val="99000"/>
                    </a:prstClr>
                  </a:solidFill>
                </a:rPr>
                <a:t>= 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521808" y="2774584"/>
              <a:ext cx="1437410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>
                  <a:solidFill>
                    <a:prstClr val="white">
                      <a:alpha val="99000"/>
                    </a:prstClr>
                  </a:solidFill>
                </a:rPr>
                <a:t>customers</a:t>
              </a:r>
            </a:p>
          </p:txBody>
        </p:sp>
        <p:cxnSp>
          <p:nvCxnSpPr>
            <p:cNvPr id="41" name="Straight Connector 40"/>
            <p:cNvCxnSpPr/>
            <p:nvPr/>
          </p:nvCxnSpPr>
          <p:spPr>
            <a:xfrm>
              <a:off x="4808367" y="4769708"/>
              <a:ext cx="1287635" cy="49427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 flipV="1">
              <a:off x="4845437" y="4324867"/>
              <a:ext cx="1250564" cy="531339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Rounded Rectangle 97"/>
            <p:cNvSpPr/>
            <p:nvPr/>
          </p:nvSpPr>
          <p:spPr>
            <a:xfrm>
              <a:off x="5906592" y="4844441"/>
              <a:ext cx="1585884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dirty="0">
                  <a:solidFill>
                    <a:prstClr val="white">
                      <a:alpha val="99000"/>
                    </a:prstClr>
                  </a:solidFill>
                </a:rPr>
                <a:t>Photo ID =…</a:t>
              </a:r>
            </a:p>
            <a:p>
              <a:pPr algn="l" rtl="0"/>
              <a:r>
                <a:rPr lang="en-US" dirty="0">
                  <a:solidFill>
                    <a:prstClr val="white">
                      <a:alpha val="99000"/>
                    </a:prstClr>
                  </a:solidFill>
                </a:rPr>
                <a:t>Date =…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521809" y="4430470"/>
              <a:ext cx="1437411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sz="2000" dirty="0">
                  <a:solidFill>
                    <a:prstClr val="white">
                      <a:alpha val="99000"/>
                    </a:prstClr>
                  </a:solidFill>
                </a:rPr>
                <a:t>photos</a:t>
              </a:r>
            </a:p>
          </p:txBody>
        </p:sp>
        <p:sp>
          <p:nvSpPr>
            <p:cNvPr id="45" name="Rounded Rectangle 97"/>
            <p:cNvSpPr/>
            <p:nvPr/>
          </p:nvSpPr>
          <p:spPr>
            <a:xfrm>
              <a:off x="5906592" y="4016499"/>
              <a:ext cx="1585884" cy="74659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 rtl="0"/>
              <a:r>
                <a:rPr lang="en-US" dirty="0">
                  <a:solidFill>
                    <a:prstClr val="white">
                      <a:alpha val="99000"/>
                    </a:prstClr>
                  </a:solidFill>
                </a:rPr>
                <a:t>Photo ID =…</a:t>
              </a:r>
            </a:p>
            <a:p>
              <a:pPr algn="l" rtl="0"/>
              <a:r>
                <a:rPr lang="en-US" dirty="0">
                  <a:solidFill>
                    <a:prstClr val="white">
                      <a:alpha val="99000"/>
                    </a:prstClr>
                  </a:solidFill>
                </a:rPr>
                <a:t>Date =…</a:t>
              </a:r>
            </a:p>
          </p:txBody>
        </p:sp>
      </p:grpSp>
      <p:sp>
        <p:nvSpPr>
          <p:cNvPr id="28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2182230" y="3438209"/>
            <a:ext cx="1242239" cy="970548"/>
          </a:xfrm>
          <a:prstGeom prst="rect">
            <a:avLst/>
          </a:prstGeom>
          <a:solidFill>
            <a:srgbClr val="001F50"/>
          </a:solidFill>
        </p:spPr>
        <p:txBody>
          <a:bodyPr vert="horz" wrap="square" lIns="0" tIns="107722" rIns="0" bIns="0" rtlCol="0">
            <a:spAutoFit/>
          </a:bodyPr>
          <a:lstStyle/>
          <a:p>
            <a:pPr marL="140666">
              <a:spcBef>
                <a:spcPts val="848"/>
              </a:spcBef>
            </a:pPr>
            <a:r>
              <a:rPr sz="2000" b="1" spc="-259" dirty="0" smtClean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Blobs</a:t>
            </a:r>
            <a:endParaRPr sz="2000" b="1" dirty="0" smtClean="0">
              <a:latin typeface="Segoe UI Light" pitchFamily="34" charset="0"/>
              <a:cs typeface="Arial Black"/>
            </a:endParaRPr>
          </a:p>
          <a:p>
            <a:pPr marL="140666" marR="267213">
              <a:spcBef>
                <a:spcPts val="21"/>
              </a:spcBef>
            </a:pPr>
            <a:r>
              <a:rPr sz="1200" spc="-103" dirty="0" smtClean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Highly </a:t>
            </a:r>
            <a:r>
              <a:rPr sz="1200" spc="-140" dirty="0" smtClean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scalable,  </a:t>
            </a:r>
            <a:r>
              <a:rPr sz="1200" spc="-198" dirty="0" smtClean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REST </a:t>
            </a:r>
            <a:r>
              <a:rPr sz="1200" spc="-132" dirty="0" smtClean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based </a:t>
            </a:r>
            <a:r>
              <a:rPr sz="1200" spc="-115" dirty="0" smtClean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cloud  </a:t>
            </a:r>
            <a:r>
              <a:rPr sz="1200" spc="-119" dirty="0" smtClean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object</a:t>
            </a:r>
            <a:r>
              <a:rPr sz="1200" spc="-82" dirty="0" smtClean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 </a:t>
            </a:r>
            <a:r>
              <a:rPr sz="1200" spc="-124" dirty="0" smtClean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store</a:t>
            </a:r>
            <a:endParaRPr sz="1200" dirty="0">
              <a:latin typeface="Segoe UI Light" pitchFamily="34" charset="0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182230" y="5299204"/>
            <a:ext cx="1242239" cy="1216241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107199" rIns="0" bIns="0" rtlCol="0">
            <a:spAutoFit/>
          </a:bodyPr>
          <a:lstStyle/>
          <a:p>
            <a:pPr marL="140666">
              <a:spcBef>
                <a:spcPts val="844"/>
              </a:spcBef>
            </a:pPr>
            <a:r>
              <a:rPr sz="2000" b="1" spc="-284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Tables</a:t>
            </a:r>
            <a:endParaRPr sz="2000" b="1" dirty="0">
              <a:latin typeface="Segoe UI Light" pitchFamily="34" charset="0"/>
              <a:cs typeface="Arial Black"/>
            </a:endParaRPr>
          </a:p>
          <a:p>
            <a:pPr marL="140666" marR="227994">
              <a:spcBef>
                <a:spcPts val="16"/>
              </a:spcBef>
            </a:pPr>
            <a:r>
              <a:rPr sz="1300" spc="-177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Key </a:t>
            </a:r>
            <a:r>
              <a:rPr sz="1300" spc="-132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Value, </a:t>
            </a:r>
            <a:r>
              <a:rPr sz="1300" spc="-94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high  </a:t>
            </a:r>
            <a:r>
              <a:rPr sz="1300" spc="-152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scale, </a:t>
            </a:r>
            <a:r>
              <a:rPr sz="1300" spc="-111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auto-scaling  </a:t>
            </a:r>
            <a:r>
              <a:rPr sz="1300" spc="-128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NoSQL</a:t>
            </a:r>
            <a:r>
              <a:rPr sz="1300" spc="-82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 </a:t>
            </a:r>
            <a:r>
              <a:rPr sz="1300" spc="-124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store</a:t>
            </a:r>
            <a:endParaRPr sz="1300" dirty="0">
              <a:latin typeface="Segoe UI Light" pitchFamily="34" charset="0"/>
              <a:cs typeface="Arial Black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182230" y="1481626"/>
            <a:ext cx="1242239" cy="1193616"/>
          </a:xfrm>
          <a:custGeom>
            <a:avLst/>
            <a:gdLst/>
            <a:ahLst/>
            <a:cxnLst/>
            <a:rect l="l" t="t" r="r" b="b"/>
            <a:pathLst>
              <a:path w="1689100" h="1217930">
                <a:moveTo>
                  <a:pt x="0" y="1217676"/>
                </a:moveTo>
                <a:lnTo>
                  <a:pt x="1688592" y="1217676"/>
                </a:lnTo>
                <a:lnTo>
                  <a:pt x="1688592" y="0"/>
                </a:lnTo>
                <a:lnTo>
                  <a:pt x="0" y="0"/>
                </a:lnTo>
                <a:lnTo>
                  <a:pt x="0" y="1217676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328591" y="1685997"/>
            <a:ext cx="482045" cy="22453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318223" y="2008609"/>
            <a:ext cx="767199" cy="11226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313647" y="2186220"/>
            <a:ext cx="846496" cy="14736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318223" y="2371299"/>
            <a:ext cx="437212" cy="10803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509279" y="1481626"/>
            <a:ext cx="1323965" cy="1192371"/>
          </a:xfrm>
          <a:custGeom>
            <a:avLst/>
            <a:gdLst/>
            <a:ahLst/>
            <a:cxnLst/>
            <a:rect l="l" t="t" r="r" b="b"/>
            <a:pathLst>
              <a:path w="1800225" h="1216660">
                <a:moveTo>
                  <a:pt x="0" y="1216152"/>
                </a:moveTo>
                <a:lnTo>
                  <a:pt x="1799844" y="1216152"/>
                </a:lnTo>
                <a:lnTo>
                  <a:pt x="1799844" y="0"/>
                </a:lnTo>
                <a:lnTo>
                  <a:pt x="0" y="0"/>
                </a:lnTo>
                <a:lnTo>
                  <a:pt x="0" y="1216152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659187" y="1696950"/>
            <a:ext cx="465886" cy="26162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647232" y="2074575"/>
            <a:ext cx="826789" cy="17051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647232" y="2283675"/>
            <a:ext cx="960260" cy="13143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641255" y="2492776"/>
            <a:ext cx="323915" cy="13143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3509279" y="3438209"/>
            <a:ext cx="1494769" cy="910577"/>
          </a:xfrm>
          <a:prstGeom prst="rect">
            <a:avLst/>
          </a:prstGeom>
          <a:solidFill>
            <a:srgbClr val="001F50"/>
          </a:solidFill>
        </p:spPr>
        <p:txBody>
          <a:bodyPr vert="horz" wrap="square" lIns="0" tIns="109291" rIns="0" bIns="0" rtlCol="0">
            <a:spAutoFit/>
          </a:bodyPr>
          <a:lstStyle/>
          <a:p>
            <a:pPr marL="141189" marR="518739">
              <a:spcBef>
                <a:spcPts val="861"/>
              </a:spcBef>
            </a:pPr>
            <a:r>
              <a:rPr sz="2000" b="1" spc="-189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Data </a:t>
            </a:r>
            <a:r>
              <a:rPr sz="2000" b="1" spc="-251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Lake </a:t>
            </a:r>
            <a:r>
              <a:rPr sz="1500" spc="-251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 </a:t>
            </a:r>
            <a:r>
              <a:rPr sz="1600" spc="-185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Store</a:t>
            </a:r>
            <a:endParaRPr sz="1600" dirty="0">
              <a:latin typeface="Segoe UI Light" pitchFamily="34" charset="0"/>
              <a:cs typeface="Arial Black"/>
            </a:endParaRPr>
          </a:p>
          <a:p>
            <a:pPr marL="141189">
              <a:spcBef>
                <a:spcPts val="12"/>
              </a:spcBef>
            </a:pPr>
            <a:r>
              <a:rPr sz="1600" spc="-165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HDFS </a:t>
            </a:r>
            <a:r>
              <a:rPr sz="1600" spc="-198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as </a:t>
            </a:r>
            <a:r>
              <a:rPr sz="1600" spc="-181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a</a:t>
            </a:r>
            <a:r>
              <a:rPr sz="1600" spc="-259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 </a:t>
            </a:r>
            <a:r>
              <a:rPr sz="1600" spc="-168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service</a:t>
            </a:r>
            <a:endParaRPr sz="1600" dirty="0">
              <a:latin typeface="Segoe UI Light" pitchFamily="34" charset="0"/>
              <a:cs typeface="Arial Black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509279" y="5299204"/>
            <a:ext cx="1323965" cy="1063409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108245" rIns="0" bIns="0" rtlCol="0">
            <a:spAutoFit/>
          </a:bodyPr>
          <a:lstStyle/>
          <a:p>
            <a:pPr marL="141189">
              <a:spcBef>
                <a:spcPts val="852"/>
              </a:spcBef>
            </a:pPr>
            <a:r>
              <a:rPr sz="2000" b="1" spc="-209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Cosmos</a:t>
            </a:r>
            <a:r>
              <a:rPr sz="2000" b="1" spc="-115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 </a:t>
            </a:r>
            <a:r>
              <a:rPr sz="2000" b="1" spc="-214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DB</a:t>
            </a:r>
            <a:endParaRPr sz="2000" b="1" dirty="0">
              <a:latin typeface="Segoe UI Light" pitchFamily="34" charset="0"/>
              <a:cs typeface="Arial Black"/>
            </a:endParaRPr>
          </a:p>
          <a:p>
            <a:pPr marL="141189" marR="180408">
              <a:spcBef>
                <a:spcPts val="12"/>
              </a:spcBef>
            </a:pPr>
            <a:r>
              <a:rPr sz="1400" spc="-148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NoSQL </a:t>
            </a:r>
            <a:r>
              <a:rPr sz="1400" spc="-140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document  </a:t>
            </a:r>
            <a:r>
              <a:rPr sz="1400" spc="-152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database</a:t>
            </a:r>
            <a:r>
              <a:rPr sz="1400" spc="-111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 </a:t>
            </a:r>
            <a:r>
              <a:rPr sz="1400" spc="-165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service</a:t>
            </a:r>
            <a:endParaRPr sz="1400" dirty="0">
              <a:latin typeface="Segoe UI Light" pitchFamily="34" charset="0"/>
              <a:cs typeface="Arial Black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4941683" y="5299204"/>
            <a:ext cx="1328168" cy="1192371"/>
          </a:xfrm>
          <a:custGeom>
            <a:avLst/>
            <a:gdLst/>
            <a:ahLst/>
            <a:cxnLst/>
            <a:rect l="l" t="t" r="r" b="b"/>
            <a:pathLst>
              <a:path w="1805940" h="1216659">
                <a:moveTo>
                  <a:pt x="0" y="1216152"/>
                </a:moveTo>
                <a:lnTo>
                  <a:pt x="1805939" y="1216152"/>
                </a:lnTo>
                <a:lnTo>
                  <a:pt x="1805939" y="0"/>
                </a:lnTo>
                <a:lnTo>
                  <a:pt x="0" y="0"/>
                </a:lnTo>
                <a:lnTo>
                  <a:pt x="0" y="1216152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5059462" y="5415803"/>
            <a:ext cx="1045629" cy="980056"/>
          </a:xfrm>
          <a:prstGeom prst="rect">
            <a:avLst/>
          </a:prstGeom>
        </p:spPr>
        <p:txBody>
          <a:bodyPr vert="horz" wrap="square" lIns="0" tIns="10458" rIns="0" bIns="0" rtlCol="0">
            <a:spAutoFit/>
          </a:bodyPr>
          <a:lstStyle/>
          <a:p>
            <a:pPr marL="10458">
              <a:spcBef>
                <a:spcPts val="82"/>
              </a:spcBef>
            </a:pPr>
            <a:r>
              <a:rPr sz="1500" b="1" spc="-173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Azure </a:t>
            </a:r>
            <a:r>
              <a:rPr sz="1500" b="1" spc="-235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SQL</a:t>
            </a:r>
            <a:r>
              <a:rPr sz="1500" b="1" spc="-78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 </a:t>
            </a:r>
            <a:r>
              <a:rPr sz="1500" b="1" spc="-214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DB</a:t>
            </a:r>
            <a:endParaRPr sz="1500" b="1" dirty="0">
              <a:latin typeface="Segoe UI Light" pitchFamily="34" charset="0"/>
              <a:cs typeface="Arial Black"/>
            </a:endParaRPr>
          </a:p>
          <a:p>
            <a:pPr marL="10458" marR="172042" algn="just">
              <a:spcBef>
                <a:spcPts val="12"/>
              </a:spcBef>
            </a:pPr>
            <a:r>
              <a:rPr sz="1200" spc="-140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Fully managed  </a:t>
            </a:r>
            <a:r>
              <a:rPr sz="1200" spc="-136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d</a:t>
            </a:r>
            <a:r>
              <a:rPr sz="1200" spc="-132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a</a:t>
            </a:r>
            <a:r>
              <a:rPr sz="1200" spc="-124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t</a:t>
            </a:r>
            <a:r>
              <a:rPr sz="1200" spc="-177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a</a:t>
            </a:r>
            <a:r>
              <a:rPr sz="1200" spc="-136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b</a:t>
            </a:r>
            <a:r>
              <a:rPr sz="1200" spc="-132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a</a:t>
            </a:r>
            <a:r>
              <a:rPr sz="1200" spc="-214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s</a:t>
            </a:r>
            <a:r>
              <a:rPr sz="1200" spc="-165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e</a:t>
            </a:r>
            <a:r>
              <a:rPr sz="1200" spc="78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-</a:t>
            </a:r>
            <a:r>
              <a:rPr sz="1200" spc="-202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a</a:t>
            </a:r>
            <a:r>
              <a:rPr sz="1200" spc="-189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s</a:t>
            </a:r>
            <a:r>
              <a:rPr sz="1200" spc="78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-</a:t>
            </a:r>
            <a:r>
              <a:rPr sz="1200" spc="-189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a</a:t>
            </a:r>
            <a:r>
              <a:rPr sz="1200" spc="78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-  </a:t>
            </a:r>
            <a:r>
              <a:rPr sz="1200" spc="-165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service </a:t>
            </a:r>
            <a:r>
              <a:rPr sz="1200" spc="-111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built </a:t>
            </a:r>
            <a:r>
              <a:rPr sz="1200" spc="-103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on  </a:t>
            </a:r>
            <a:r>
              <a:rPr sz="1200" spc="-181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SQL</a:t>
            </a:r>
            <a:endParaRPr sz="1200" dirty="0">
              <a:latin typeface="Segoe UI Light" pitchFamily="34" charset="0"/>
              <a:cs typeface="Arial Black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238183" y="2012343"/>
            <a:ext cx="1585573" cy="29473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43544" y="3873836"/>
            <a:ext cx="1780091" cy="22465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38182" y="5713883"/>
            <a:ext cx="1002842" cy="22462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45515" y="6048457"/>
            <a:ext cx="425275" cy="21266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6366241" y="5299204"/>
            <a:ext cx="1328168" cy="1094187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108245" rIns="0" bIns="0" rtlCol="0">
            <a:spAutoFit/>
          </a:bodyPr>
          <a:lstStyle/>
          <a:p>
            <a:pPr marL="142235" marR="401082">
              <a:spcBef>
                <a:spcPts val="852"/>
              </a:spcBef>
            </a:pPr>
            <a:r>
              <a:rPr sz="1600" b="1" spc="-235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SQL </a:t>
            </a:r>
            <a:r>
              <a:rPr sz="1600" b="1" spc="-189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Data </a:t>
            </a:r>
            <a:r>
              <a:rPr sz="1600" spc="-189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 </a:t>
            </a:r>
            <a:r>
              <a:rPr sz="1600" spc="-206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W</a:t>
            </a:r>
            <a:r>
              <a:rPr sz="1600" spc="-144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ar</a:t>
            </a:r>
            <a:r>
              <a:rPr sz="1600" spc="-222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e</a:t>
            </a:r>
            <a:r>
              <a:rPr sz="1600" spc="-181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hou</a:t>
            </a:r>
            <a:r>
              <a:rPr sz="1600" spc="-161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s</a:t>
            </a:r>
            <a:r>
              <a:rPr sz="1600" spc="-214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e</a:t>
            </a:r>
            <a:endParaRPr sz="1600" dirty="0">
              <a:latin typeface="Segoe UI Light" pitchFamily="34" charset="0"/>
              <a:cs typeface="Arial Black"/>
            </a:endParaRPr>
          </a:p>
          <a:p>
            <a:pPr marL="142235">
              <a:spcBef>
                <a:spcPts val="12"/>
              </a:spcBef>
            </a:pPr>
            <a:r>
              <a:rPr sz="1600" spc="-177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Elastic </a:t>
            </a:r>
            <a:r>
              <a:rPr sz="1600" spc="-82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DW </a:t>
            </a:r>
            <a:r>
              <a:rPr sz="1600" spc="-198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as</a:t>
            </a:r>
            <a:r>
              <a:rPr sz="1600" spc="-161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 </a:t>
            </a:r>
            <a:r>
              <a:rPr sz="1600" spc="-181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a</a:t>
            </a:r>
            <a:endParaRPr sz="1600" dirty="0">
              <a:latin typeface="Segoe UI Light" pitchFamily="34" charset="0"/>
              <a:cs typeface="Arial Black"/>
            </a:endParaRPr>
          </a:p>
          <a:p>
            <a:pPr marL="142235"/>
            <a:r>
              <a:rPr sz="1600" spc="-168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service</a:t>
            </a:r>
            <a:endParaRPr sz="1600" dirty="0">
              <a:latin typeface="Segoe UI Light" pitchFamily="34" charset="0"/>
              <a:cs typeface="Arial Black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7787438" y="5284268"/>
            <a:ext cx="1328168" cy="1193616"/>
          </a:xfrm>
          <a:custGeom>
            <a:avLst/>
            <a:gdLst/>
            <a:ahLst/>
            <a:cxnLst/>
            <a:rect l="l" t="t" r="r" b="b"/>
            <a:pathLst>
              <a:path w="1805940" h="1217929">
                <a:moveTo>
                  <a:pt x="0" y="1217676"/>
                </a:moveTo>
                <a:lnTo>
                  <a:pt x="1805940" y="1217676"/>
                </a:lnTo>
                <a:lnTo>
                  <a:pt x="1805940" y="0"/>
                </a:lnTo>
                <a:lnTo>
                  <a:pt x="0" y="0"/>
                </a:lnTo>
                <a:lnTo>
                  <a:pt x="0" y="1217676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7904937" y="5401166"/>
            <a:ext cx="870034" cy="795390"/>
          </a:xfrm>
          <a:prstGeom prst="rect">
            <a:avLst/>
          </a:prstGeom>
        </p:spPr>
        <p:txBody>
          <a:bodyPr vert="horz" wrap="square" lIns="0" tIns="10458" rIns="0" bIns="0" rtlCol="0">
            <a:spAutoFit/>
          </a:bodyPr>
          <a:lstStyle/>
          <a:p>
            <a:pPr marL="10458">
              <a:spcBef>
                <a:spcPts val="82"/>
              </a:spcBef>
            </a:pPr>
            <a:r>
              <a:rPr sz="1500" b="1" spc="-194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MySQL</a:t>
            </a:r>
            <a:endParaRPr sz="1500" b="1" dirty="0">
              <a:latin typeface="Segoe UI Light" pitchFamily="34" charset="0"/>
              <a:cs typeface="Arial Black"/>
            </a:endParaRPr>
          </a:p>
          <a:p>
            <a:pPr marL="10458" marR="4183">
              <a:spcBef>
                <a:spcPts val="12"/>
              </a:spcBef>
            </a:pPr>
            <a:r>
              <a:rPr sz="1200" spc="-128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Managed </a:t>
            </a:r>
            <a:r>
              <a:rPr sz="1200" spc="-165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DB  </a:t>
            </a:r>
            <a:r>
              <a:rPr sz="1200" spc="-168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service </a:t>
            </a:r>
            <a:r>
              <a:rPr sz="1200" spc="-94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for </a:t>
            </a:r>
            <a:r>
              <a:rPr sz="1200" spc="-119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app  </a:t>
            </a:r>
            <a:r>
              <a:rPr sz="1200" spc="-136" dirty="0">
                <a:solidFill>
                  <a:srgbClr val="FFFFFF"/>
                </a:solidFill>
                <a:latin typeface="Segoe UI Light" pitchFamily="34" charset="0"/>
                <a:cs typeface="Arial Black"/>
              </a:rPr>
              <a:t>developers</a:t>
            </a:r>
            <a:endParaRPr sz="1200" dirty="0">
              <a:latin typeface="Segoe UI Light" pitchFamily="34" charset="0"/>
              <a:cs typeface="Arial Black"/>
            </a:endParaRPr>
          </a:p>
        </p:txBody>
      </p:sp>
      <p:sp>
        <p:nvSpPr>
          <p:cNvPr id="26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TextBox 26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Azure Storage and Data Service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28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 txBox="1">
            <a:spLocks/>
          </p:cNvSpPr>
          <p:nvPr/>
        </p:nvSpPr>
        <p:spPr>
          <a:xfrm>
            <a:off x="0" y="764704"/>
            <a:ext cx="3851920" cy="45365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20000"/>
              </a:spcBef>
            </a:pPr>
            <a:r>
              <a:rPr lang="en-US" sz="2100" dirty="0" smtClean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itchFamily="34" charset="0"/>
              </a:rPr>
              <a:t>The </a:t>
            </a:r>
            <a:r>
              <a:rPr lang="en-US" sz="2100" dirty="0" err="1" smtClean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itchFamily="34" charset="0"/>
              </a:rPr>
              <a:t>Autoscale</a:t>
            </a:r>
            <a:r>
              <a:rPr lang="en-US" sz="2100" dirty="0" smtClean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itchFamily="34" charset="0"/>
              </a:rPr>
              <a:t> Service for </a:t>
            </a:r>
            <a:r>
              <a:rPr lang="en-US" sz="2100" dirty="0" err="1" smtClean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itchFamily="34" charset="0"/>
              </a:rPr>
              <a:t>IaaS</a:t>
            </a:r>
            <a:r>
              <a:rPr lang="en-US" sz="2100" dirty="0" smtClean="0">
                <a:gradFill>
                  <a:gsLst>
                    <a:gs pos="125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 Light" pitchFamily="34" charset="0"/>
              </a:rPr>
              <a:t> supports auto scaling VMs which are in the same Availability Set only</a:t>
            </a:r>
          </a:p>
          <a:p>
            <a:pPr marL="742950" lvl="1" indent="-285750">
              <a:spcBef>
                <a:spcPct val="20000"/>
              </a:spcBef>
              <a:buFont typeface="Arial" pitchFamily="34" charset="0"/>
              <a:buChar char="–"/>
            </a:pPr>
            <a:r>
              <a:rPr lang="en-US" sz="2000" dirty="0" smtClean="0">
                <a:solidFill>
                  <a:prstClr val="black"/>
                </a:solidFill>
                <a:latin typeface="Segoe UI Light" pitchFamily="34" charset="0"/>
              </a:rPr>
              <a:t>Configurable only via Azure Portal, APIs or via Management Client</a:t>
            </a:r>
          </a:p>
          <a:p>
            <a:pPr marL="742950" lvl="1" indent="-285750">
              <a:spcBef>
                <a:spcPct val="20000"/>
              </a:spcBef>
              <a:buFont typeface="Arial" pitchFamily="34" charset="0"/>
              <a:buChar char="–"/>
            </a:pPr>
            <a:r>
              <a:rPr lang="en-US" sz="2000" dirty="0" smtClean="0">
                <a:solidFill>
                  <a:prstClr val="black"/>
                </a:solidFill>
                <a:latin typeface="Segoe UI Light" pitchFamily="34" charset="0"/>
              </a:rPr>
              <a:t>Supported for Standard VM sizes only</a:t>
            </a:r>
          </a:p>
          <a:p>
            <a:pPr marL="742950" lvl="1" indent="-285750">
              <a:spcBef>
                <a:spcPct val="20000"/>
              </a:spcBef>
              <a:buFont typeface="Arial" pitchFamily="34" charset="0"/>
              <a:buChar char="–"/>
            </a:pPr>
            <a:r>
              <a:rPr lang="en-US" sz="2000" dirty="0" smtClean="0">
                <a:solidFill>
                  <a:prstClr val="black"/>
                </a:solidFill>
                <a:latin typeface="Segoe UI Light" pitchFamily="34" charset="0"/>
              </a:rPr>
              <a:t>Customer still pays for storage even when VM is stopped by </a:t>
            </a:r>
            <a:r>
              <a:rPr lang="en-US" sz="2000" dirty="0" err="1" smtClean="0">
                <a:solidFill>
                  <a:prstClr val="black"/>
                </a:solidFill>
                <a:latin typeface="Segoe UI Light" pitchFamily="34" charset="0"/>
              </a:rPr>
              <a:t>autoscale</a:t>
            </a:r>
            <a:r>
              <a:rPr lang="en-US" sz="2000" dirty="0" smtClean="0">
                <a:solidFill>
                  <a:prstClr val="black"/>
                </a:solidFill>
                <a:latin typeface="Segoe UI Light" pitchFamily="34" charset="0"/>
              </a:rPr>
              <a:t> service</a:t>
            </a:r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Box 4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Azure Storage Replication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/>
          <p:nvPr/>
        </p:nvSpPr>
        <p:spPr>
          <a:xfrm>
            <a:off x="946156" y="1202577"/>
            <a:ext cx="3025833" cy="520909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909179" y="1283647"/>
            <a:ext cx="3373643" cy="512641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TextBox 7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On –Premises Network Vs Azure VNET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764704"/>
            <a:ext cx="9144000" cy="3312368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sz="2000" dirty="0" smtClean="0">
                <a:latin typeface="Segoe UI Light" pitchFamily="34" charset="0"/>
              </a:rPr>
              <a:t>Azure as a platform is a collection of services that you can use to host your applications and workloads in a cloud.	</a:t>
            </a:r>
            <a:endParaRPr lang="en-IN" sz="2000" dirty="0" smtClean="0">
              <a:latin typeface="Segoe UI Light" pitchFamily="34" charset="0"/>
            </a:endParaRPr>
          </a:p>
          <a:p>
            <a:r>
              <a:rPr lang="en-IN" sz="2000" dirty="0" smtClean="0">
                <a:latin typeface="Segoe UI Light" pitchFamily="34" charset="0"/>
              </a:rPr>
              <a:t>Azure is enabling compelling new business models for Microsoft partners </a:t>
            </a:r>
          </a:p>
          <a:p>
            <a:r>
              <a:rPr lang="en-IN" sz="2000" dirty="0" smtClean="0">
                <a:latin typeface="Segoe UI Light" pitchFamily="34" charset="0"/>
              </a:rPr>
              <a:t>Reduced capital expense, Fast time to market, Elastic scale.</a:t>
            </a:r>
          </a:p>
          <a:p>
            <a:r>
              <a:rPr lang="en-IN" sz="2000" dirty="0" smtClean="0">
                <a:latin typeface="Segoe UI Light" pitchFamily="34" charset="0"/>
              </a:rPr>
              <a:t>Global availability , Consumption-based billing.</a:t>
            </a:r>
            <a:endParaRPr lang="en-US" sz="2000" dirty="0" smtClean="0">
              <a:latin typeface="Segoe UI Light" pitchFamily="34" charset="0"/>
            </a:endParaRPr>
          </a:p>
          <a:p>
            <a:pPr algn="l" rtl="0"/>
            <a:r>
              <a:rPr lang="en-US" sz="2000" dirty="0" smtClean="0">
                <a:latin typeface="Segoe UI Light" pitchFamily="34" charset="0"/>
              </a:rPr>
              <a:t>Rapidly </a:t>
            </a:r>
            <a:r>
              <a:rPr lang="en-US" sz="2000" dirty="0">
                <a:latin typeface="Segoe UI Light" pitchFamily="34" charset="0"/>
              </a:rPr>
              <a:t>setup environments to drive business priorities</a:t>
            </a:r>
          </a:p>
          <a:p>
            <a:pPr algn="l" rtl="0"/>
            <a:r>
              <a:rPr lang="en-US" sz="2000" dirty="0">
                <a:latin typeface="Segoe UI Light" pitchFamily="34" charset="0"/>
              </a:rPr>
              <a:t>Scale to meet peak demands </a:t>
            </a:r>
          </a:p>
          <a:p>
            <a:pPr algn="l" rtl="0"/>
            <a:r>
              <a:rPr lang="en-US" sz="2000" dirty="0">
                <a:latin typeface="Segoe UI Light" pitchFamily="34" charset="0"/>
              </a:rPr>
              <a:t>Increase daily activities, efficiency and reduced cost</a:t>
            </a:r>
            <a:r>
              <a:rPr lang="en-US" sz="2000" dirty="0" smtClean="0">
                <a:latin typeface="Segoe UI Light" pitchFamily="34" charset="0"/>
              </a:rPr>
              <a:t>.</a:t>
            </a:r>
            <a:endParaRPr lang="en-US" sz="2000" dirty="0">
              <a:latin typeface="Segoe UI Light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73034" y="5373216"/>
            <a:ext cx="5675230" cy="1512168"/>
          </a:xfrm>
          <a:prstGeom prst="rect">
            <a:avLst/>
          </a:prstGeom>
        </p:spPr>
      </p:pic>
      <p:sp>
        <p:nvSpPr>
          <p:cNvPr id="5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TextBox 5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Why Azure Cloud?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4009487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0" y="2420887"/>
            <a:ext cx="9144000" cy="1296145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TextBox 7"/>
          <p:cNvSpPr txBox="1"/>
          <p:nvPr/>
        </p:nvSpPr>
        <p:spPr>
          <a:xfrm>
            <a:off x="0" y="2772217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Microsoft Azure Web App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/>
          <p:cNvSpPr/>
          <p:nvPr/>
        </p:nvSpPr>
        <p:spPr>
          <a:xfrm>
            <a:off x="0" y="-27384"/>
            <a:ext cx="9144000" cy="648072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/>
          <p:cNvSpPr txBox="1"/>
          <p:nvPr/>
        </p:nvSpPr>
        <p:spPr>
          <a:xfrm>
            <a:off x="0" y="-27384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Microsoft Azure  Web App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" name="Title 3"/>
          <p:cNvSpPr txBox="1">
            <a:spLocks/>
          </p:cNvSpPr>
          <p:nvPr/>
        </p:nvSpPr>
        <p:spPr>
          <a:xfrm>
            <a:off x="0" y="764704"/>
            <a:ext cx="9144000" cy="6093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/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Login to : </a:t>
            </a:r>
            <a:r>
              <a:rPr lang="en-US" sz="2000" b="1" dirty="0" smtClean="0">
                <a:latin typeface="Segoe UI Light" pitchFamily="34" charset="0"/>
                <a:hlinkClick r:id="rId3"/>
              </a:rPr>
              <a:t>https://portal.azure.com</a:t>
            </a: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 </a:t>
            </a:r>
          </a:p>
          <a:p>
            <a:pPr lvl="0">
              <a:spcBef>
                <a:spcPct val="0"/>
              </a:spcBef>
            </a:pPr>
            <a:r>
              <a:rPr lang="en-US" sz="2600" b="1" dirty="0" smtClean="0">
                <a:solidFill>
                  <a:schemeClr val="accent3"/>
                </a:solidFill>
                <a:latin typeface="Segoe UI Light" pitchFamily="34" charset="0"/>
              </a:rPr>
              <a:t>Azure Web Apps 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 -  simple scalable web sites  in Azure ,is a low friction </a:t>
            </a:r>
            <a:r>
              <a:rPr lang="en-US" sz="2000" b="1" dirty="0" err="1" smtClean="0">
                <a:latin typeface="Segoe UI Light" pitchFamily="34" charset="0"/>
              </a:rPr>
              <a:t>PaaS</a:t>
            </a:r>
            <a:r>
              <a:rPr lang="en-US" sz="2000" b="1" dirty="0" smtClean="0">
                <a:latin typeface="Segoe UI Light" pitchFamily="34" charset="0"/>
              </a:rPr>
              <a:t> offering to host your web application. 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 - develop and deploy using  Microsoft visual Studio  with  many programming languages (  </a:t>
            </a:r>
            <a:r>
              <a:rPr lang="en-US" sz="2000" b="1" dirty="0" err="1" smtClean="0">
                <a:latin typeface="Segoe UI Light" pitchFamily="34" charset="0"/>
              </a:rPr>
              <a:t>.Net</a:t>
            </a:r>
            <a:r>
              <a:rPr lang="en-US" sz="2000" b="1" dirty="0" smtClean="0">
                <a:latin typeface="Segoe UI Light" pitchFamily="34" charset="0"/>
              </a:rPr>
              <a:t>, JAVA, PHP, Node.js and python)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- Other tool – </a:t>
            </a:r>
            <a:r>
              <a:rPr lang="en-US" sz="2000" b="1" dirty="0" err="1" smtClean="0">
                <a:latin typeface="Segoe UI Light" pitchFamily="34" charset="0"/>
              </a:rPr>
              <a:t>Git</a:t>
            </a:r>
            <a:r>
              <a:rPr lang="en-US" sz="2000" b="1" dirty="0" smtClean="0">
                <a:latin typeface="Segoe UI Light" pitchFamily="34" charset="0"/>
              </a:rPr>
              <a:t> , </a:t>
            </a:r>
            <a:r>
              <a:rPr lang="en-US" sz="2000" b="1" dirty="0" err="1" smtClean="0">
                <a:latin typeface="Segoe UI Light" pitchFamily="34" charset="0"/>
              </a:rPr>
              <a:t>Kudo</a:t>
            </a: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  <a:buFontTx/>
              <a:buChar char="-"/>
            </a:pPr>
            <a:r>
              <a:rPr lang="en-US" sz="2000" b="1" dirty="0" smtClean="0">
                <a:latin typeface="Segoe UI Light" pitchFamily="34" charset="0"/>
              </a:rPr>
              <a:t>Configure Advance – Always On , custom domain and Auto scale using portal.</a:t>
            </a:r>
          </a:p>
          <a:p>
            <a:pPr lvl="0">
              <a:spcBef>
                <a:spcPct val="0"/>
              </a:spcBef>
              <a:buFontTx/>
              <a:buChar char="-"/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  <a:buFontTx/>
              <a:buChar char="-"/>
            </a:pPr>
            <a:r>
              <a:rPr lang="en-US" sz="2000" b="1" dirty="0" smtClean="0">
                <a:latin typeface="Segoe UI Light" pitchFamily="34" charset="0"/>
              </a:rPr>
              <a:t>Think – Solving Business Problems </a:t>
            </a:r>
          </a:p>
          <a:p>
            <a:pPr lvl="0">
              <a:spcBef>
                <a:spcPct val="0"/>
              </a:spcBef>
              <a:buFontTx/>
              <a:buChar char="-"/>
            </a:pPr>
            <a:r>
              <a:rPr lang="en-US" sz="2000" b="1" dirty="0" smtClean="0">
                <a:latin typeface="Segoe UI Light" pitchFamily="34" charset="0"/>
              </a:rPr>
              <a:t>Flexibility , Scalability </a:t>
            </a:r>
          </a:p>
          <a:p>
            <a:pPr lvl="0">
              <a:spcBef>
                <a:spcPct val="0"/>
              </a:spcBef>
              <a:buFontTx/>
              <a:buChar char="-"/>
            </a:pPr>
            <a:endParaRPr lang="en-US" sz="2000" b="1" dirty="0" smtClean="0">
              <a:latin typeface="Segoe UI Light" pitchFamily="34" charset="0"/>
            </a:endParaRPr>
          </a:p>
          <a:p>
            <a:pPr>
              <a:spcBef>
                <a:spcPct val="0"/>
              </a:spcBef>
            </a:pPr>
            <a:r>
              <a:rPr lang="en-US" sz="2600" b="1" dirty="0" smtClean="0">
                <a:solidFill>
                  <a:schemeClr val="accent3"/>
                </a:solidFill>
                <a:latin typeface="Segoe UI Light" pitchFamily="34" charset="0"/>
              </a:rPr>
              <a:t>Web App Tier</a:t>
            </a:r>
          </a:p>
          <a:p>
            <a:pPr>
              <a:spcBef>
                <a:spcPct val="0"/>
              </a:spcBef>
              <a:buFontTx/>
              <a:buChar char="-"/>
            </a:pPr>
            <a:r>
              <a:rPr lang="en-US" sz="2000" b="1" dirty="0" smtClean="0">
                <a:latin typeface="Segoe UI Light" pitchFamily="34" charset="0"/>
              </a:rPr>
              <a:t>Free, Shared , Basic and standard</a:t>
            </a:r>
          </a:p>
          <a:p>
            <a:pPr>
              <a:spcBef>
                <a:spcPct val="0"/>
              </a:spcBef>
              <a:buFontTx/>
              <a:buChar char="-"/>
            </a:pPr>
            <a:endParaRPr lang="en-US" sz="2000" b="1" dirty="0" smtClean="0">
              <a:latin typeface="Segoe UI Light" pitchFamily="34" charset="0"/>
            </a:endParaRPr>
          </a:p>
          <a:p>
            <a:pPr>
              <a:spcBef>
                <a:spcPct val="0"/>
              </a:spcBef>
            </a:pPr>
            <a:r>
              <a:rPr lang="en-US" sz="2600" b="1" dirty="0" smtClean="0">
                <a:solidFill>
                  <a:schemeClr val="accent3"/>
                </a:solidFill>
                <a:latin typeface="Segoe UI Light" pitchFamily="34" charset="0"/>
              </a:rPr>
              <a:t>App Service Plan</a:t>
            </a:r>
            <a:endParaRPr lang="en-US" sz="2000" b="1" dirty="0" smtClean="0">
              <a:latin typeface="Segoe UI Light" pitchFamily="34" charset="0"/>
            </a:endParaRPr>
          </a:p>
          <a:p>
            <a:pPr>
              <a:spcBef>
                <a:spcPct val="0"/>
              </a:spcBef>
              <a:buFontTx/>
              <a:buChar char="-"/>
            </a:pPr>
            <a:r>
              <a:rPr lang="en-US" sz="2000" b="1" dirty="0" smtClean="0">
                <a:latin typeface="Segoe UI Light" pitchFamily="34" charset="0"/>
              </a:rPr>
              <a:t>Logically group Web Apps within  a subscription.</a:t>
            </a:r>
          </a:p>
          <a:p>
            <a:pPr>
              <a:spcBef>
                <a:spcPct val="0"/>
              </a:spcBef>
              <a:buFontTx/>
              <a:buChar char="-"/>
            </a:pPr>
            <a:r>
              <a:rPr lang="en-US" sz="2000" b="1" dirty="0" smtClean="0">
                <a:latin typeface="Segoe UI Light" pitchFamily="34" charset="0"/>
              </a:rPr>
              <a:t>Used to assign a tier to a group of Web App Instances capacity can be shared among them. </a:t>
            </a:r>
          </a:p>
          <a:p>
            <a:pPr>
              <a:spcBef>
                <a:spcPct val="0"/>
              </a:spcBef>
              <a:buFontTx/>
              <a:buChar char="-"/>
            </a:pPr>
            <a:r>
              <a:rPr lang="en-US" sz="2000" b="1" dirty="0" smtClean="0">
                <a:latin typeface="Segoe UI Light" pitchFamily="34" charset="0"/>
              </a:rPr>
              <a:t>Associated with a pricing tier.</a:t>
            </a:r>
          </a:p>
          <a:p>
            <a:pPr>
              <a:spcBef>
                <a:spcPct val="0"/>
              </a:spcBef>
              <a:buFontTx/>
              <a:buChar char="-"/>
            </a:pPr>
            <a:endParaRPr lang="en-US" sz="2000" b="1" dirty="0" smtClean="0">
              <a:latin typeface="Segoe UI Light" pitchFamily="34" charset="0"/>
            </a:endParaRPr>
          </a:p>
          <a:p>
            <a:pPr>
              <a:spcBef>
                <a:spcPct val="0"/>
              </a:spcBef>
            </a:pPr>
            <a:r>
              <a:rPr lang="en-US" sz="2600" b="1" dirty="0" smtClean="0">
                <a:solidFill>
                  <a:schemeClr val="accent3"/>
                </a:solidFill>
                <a:latin typeface="Segoe UI Light" pitchFamily="34" charset="0"/>
              </a:rPr>
              <a:t>Auto scale Web Apps – Scale Out</a:t>
            </a:r>
          </a:p>
          <a:p>
            <a:pPr lvl="0">
              <a:spcBef>
                <a:spcPct val="0"/>
              </a:spcBef>
              <a:buFontTx/>
              <a:buChar char="-"/>
            </a:pPr>
            <a:r>
              <a:rPr lang="en-US" sz="2200" b="1" dirty="0" smtClean="0">
                <a:solidFill>
                  <a:prstClr val="black"/>
                </a:solidFill>
                <a:latin typeface="Segoe UI Light" pitchFamily="34" charset="0"/>
              </a:rPr>
              <a:t>means increasing the number of  instances of  the application </a:t>
            </a:r>
          </a:p>
          <a:p>
            <a:pPr lvl="0">
              <a:spcBef>
                <a:spcPct val="0"/>
              </a:spcBef>
              <a:buFontTx/>
              <a:buChar char="-"/>
            </a:pPr>
            <a:r>
              <a:rPr lang="en-US" sz="2200" b="1" dirty="0" smtClean="0">
                <a:solidFill>
                  <a:prstClr val="black"/>
                </a:solidFill>
                <a:latin typeface="Segoe UI Light" pitchFamily="34" charset="0"/>
              </a:rPr>
              <a:t>On and Off  Workloads –  </a:t>
            </a:r>
            <a:r>
              <a:rPr lang="en-US" sz="2200" b="1" dirty="0" err="1" smtClean="0">
                <a:solidFill>
                  <a:prstClr val="black"/>
                </a:solidFill>
                <a:latin typeface="Segoe UI Light" pitchFamily="34" charset="0"/>
              </a:rPr>
              <a:t>e.g</a:t>
            </a:r>
            <a:r>
              <a:rPr lang="en-US" sz="2200" b="1" dirty="0" smtClean="0">
                <a:solidFill>
                  <a:prstClr val="black"/>
                </a:solidFill>
                <a:latin typeface="Segoe UI Light" pitchFamily="34" charset="0"/>
              </a:rPr>
              <a:t> Batch jobs</a:t>
            </a:r>
          </a:p>
          <a:p>
            <a:pPr lvl="0">
              <a:spcBef>
                <a:spcPct val="0"/>
              </a:spcBef>
              <a:buFontTx/>
              <a:buChar char="-"/>
            </a:pPr>
            <a:r>
              <a:rPr lang="en-US" sz="2200" b="1" dirty="0" smtClean="0">
                <a:solidFill>
                  <a:prstClr val="black"/>
                </a:solidFill>
                <a:latin typeface="Segoe UI Light" pitchFamily="34" charset="0"/>
              </a:rPr>
              <a:t>Growing Fast</a:t>
            </a:r>
          </a:p>
          <a:p>
            <a:pPr lvl="0">
              <a:spcBef>
                <a:spcPct val="0"/>
              </a:spcBef>
              <a:buFontTx/>
              <a:buChar char="-"/>
            </a:pPr>
            <a:r>
              <a:rPr lang="en-US" sz="2200" b="1" dirty="0" smtClean="0">
                <a:solidFill>
                  <a:prstClr val="black"/>
                </a:solidFill>
                <a:latin typeface="Segoe UI Light" pitchFamily="34" charset="0"/>
              </a:rPr>
              <a:t>Unpredictable bursting – Unexpected / Unplanned peak in demand, sudden </a:t>
            </a:r>
            <a:r>
              <a:rPr lang="en-US" sz="2200" b="1" dirty="0" err="1" smtClean="0">
                <a:solidFill>
                  <a:prstClr val="black"/>
                </a:solidFill>
                <a:latin typeface="Segoe UI Light" pitchFamily="34" charset="0"/>
              </a:rPr>
              <a:t>spik</a:t>
            </a:r>
            <a:r>
              <a:rPr lang="en-US" sz="2200" b="1" dirty="0" smtClean="0">
                <a:solidFill>
                  <a:prstClr val="black"/>
                </a:solidFill>
                <a:latin typeface="Segoe UI Light" pitchFamily="34" charset="0"/>
              </a:rPr>
              <a:t> impacts  application performance .</a:t>
            </a:r>
          </a:p>
          <a:p>
            <a:pPr lvl="0">
              <a:spcBef>
                <a:spcPct val="0"/>
              </a:spcBef>
              <a:buFontTx/>
              <a:buChar char="-"/>
            </a:pPr>
            <a:r>
              <a:rPr lang="en-US" sz="2200" b="1" dirty="0" smtClean="0">
                <a:solidFill>
                  <a:prstClr val="black"/>
                </a:solidFill>
                <a:latin typeface="Segoe UI Light" pitchFamily="34" charset="0"/>
              </a:rPr>
              <a:t>Predictable bursting – Services with micro seasonality trends,.</a:t>
            </a:r>
            <a:endParaRPr lang="en-US" sz="2600" b="1" dirty="0" smtClean="0">
              <a:solidFill>
                <a:schemeClr val="accent3"/>
              </a:solidFill>
              <a:latin typeface="Segoe UI Light" pitchFamily="34" charset="0"/>
            </a:endParaRPr>
          </a:p>
          <a:p>
            <a:pPr>
              <a:spcBef>
                <a:spcPct val="0"/>
              </a:spcBef>
              <a:buFontTx/>
              <a:buChar char="-"/>
            </a:pPr>
            <a:endParaRPr lang="en-US" sz="2000" b="1" dirty="0" smtClean="0">
              <a:latin typeface="Segoe UI Light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4151451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/>
          <p:cNvSpPr/>
          <p:nvPr/>
        </p:nvSpPr>
        <p:spPr>
          <a:xfrm>
            <a:off x="0" y="-27384"/>
            <a:ext cx="9144000" cy="648072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/>
          <p:cNvSpPr txBox="1"/>
          <p:nvPr/>
        </p:nvSpPr>
        <p:spPr>
          <a:xfrm>
            <a:off x="0" y="-27384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Configuring  and publish an Azure Web App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" name="Title 3"/>
          <p:cNvSpPr txBox="1">
            <a:spLocks/>
          </p:cNvSpPr>
          <p:nvPr/>
        </p:nvSpPr>
        <p:spPr>
          <a:xfrm>
            <a:off x="0" y="764704"/>
            <a:ext cx="9144000" cy="6093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Login to : </a:t>
            </a:r>
            <a:r>
              <a:rPr lang="en-US" sz="2000" b="1" dirty="0" smtClean="0">
                <a:latin typeface="Segoe UI Light" pitchFamily="34" charset="0"/>
                <a:hlinkClick r:id="rId3"/>
              </a:rPr>
              <a:t>https://portal.azure.com</a:t>
            </a: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Manage Application setting</a:t>
            </a:r>
          </a:p>
          <a:p>
            <a:pPr lvl="0">
              <a:spcBef>
                <a:spcPct val="0"/>
              </a:spcBef>
            </a:pPr>
            <a:r>
              <a:rPr lang="en-US" sz="2000" b="1" dirty="0" err="1" smtClean="0">
                <a:latin typeface="Segoe UI Light" pitchFamily="34" charset="0"/>
              </a:rPr>
              <a:t>Contoso</a:t>
            </a:r>
            <a:r>
              <a:rPr lang="en-US" sz="2000" b="1" dirty="0" smtClean="0">
                <a:latin typeface="Segoe UI Light" pitchFamily="34" charset="0"/>
              </a:rPr>
              <a:t> Events Demo 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Creating an ASP.NET Web App Using Azure Web Apps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4151451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0" y="2420887"/>
            <a:ext cx="9144000" cy="1296145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TextBox 7"/>
          <p:cNvSpPr txBox="1"/>
          <p:nvPr/>
        </p:nvSpPr>
        <p:spPr>
          <a:xfrm>
            <a:off x="0" y="2772217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Microsoft Azure SQL Database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/>
          <p:cNvSpPr/>
          <p:nvPr/>
        </p:nvSpPr>
        <p:spPr>
          <a:xfrm>
            <a:off x="0" y="-27384"/>
            <a:ext cx="9144000" cy="648072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/>
          <p:cNvSpPr txBox="1"/>
          <p:nvPr/>
        </p:nvSpPr>
        <p:spPr>
          <a:xfrm>
            <a:off x="0" y="-27384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Azure SQL Database Overview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" name="Title 3"/>
          <p:cNvSpPr txBox="1">
            <a:spLocks/>
          </p:cNvSpPr>
          <p:nvPr/>
        </p:nvSpPr>
        <p:spPr>
          <a:xfrm>
            <a:off x="0" y="620688"/>
            <a:ext cx="9144000" cy="62373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Azure provides a database as a cloud service offering that allows developers  to use  SQL in the same way as they would in an on-premises location .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Manage SQL database instances using SQL Server Management Studio and Visual Studio tools .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SQL database  as a Service  ( </a:t>
            </a:r>
            <a:r>
              <a:rPr lang="en-US" sz="2000" b="1" dirty="0" err="1" smtClean="0">
                <a:latin typeface="Segoe UI Light" pitchFamily="34" charset="0"/>
              </a:rPr>
              <a:t>DaaS</a:t>
            </a:r>
            <a:r>
              <a:rPr lang="en-US" sz="2000" b="1" dirty="0" smtClean="0">
                <a:latin typeface="Segoe UI Light" pitchFamily="34" charset="0"/>
              </a:rPr>
              <a:t> ) Vs SQL Server in an Azure VM</a:t>
            </a:r>
          </a:p>
          <a:p>
            <a:pPr lvl="0">
              <a:spcBef>
                <a:spcPct val="0"/>
              </a:spcBef>
            </a:pPr>
            <a:endParaRPr lang="en-US" sz="2600" b="1" dirty="0" smtClean="0">
              <a:solidFill>
                <a:schemeClr val="accent3"/>
              </a:solidFill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Maximum database size – 500 GB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Fully managed database solution  and also highly compatible with existing tools.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Managed -  Azure Portal , Power Shell and CLI 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>
              <a:spcBef>
                <a:spcPct val="0"/>
              </a:spcBef>
            </a:pPr>
            <a:r>
              <a:rPr lang="en-US" sz="2600" b="1" dirty="0" smtClean="0">
                <a:solidFill>
                  <a:schemeClr val="accent3"/>
                </a:solidFill>
                <a:latin typeface="Segoe UI Light" pitchFamily="34" charset="0"/>
              </a:rPr>
              <a:t>Tier</a:t>
            </a:r>
          </a:p>
          <a:p>
            <a:pPr>
              <a:spcBef>
                <a:spcPct val="0"/>
              </a:spcBef>
              <a:buFontTx/>
              <a:buChar char="-"/>
            </a:pPr>
            <a:r>
              <a:rPr lang="en-US" sz="2000" b="1" dirty="0" smtClean="0">
                <a:latin typeface="Segoe UI Light" pitchFamily="34" charset="0"/>
              </a:rPr>
              <a:t>Basic, Standard and Premium .</a:t>
            </a:r>
          </a:p>
          <a:p>
            <a:pPr>
              <a:spcBef>
                <a:spcPct val="0"/>
              </a:spcBef>
              <a:buFontTx/>
              <a:buChar char="-"/>
            </a:pPr>
            <a:endParaRPr lang="en-US" sz="2000" b="1" dirty="0" smtClean="0">
              <a:latin typeface="Segoe UI Light" pitchFamily="34" charset="0"/>
            </a:endParaRPr>
          </a:p>
          <a:p>
            <a:pPr>
              <a:spcBef>
                <a:spcPct val="0"/>
              </a:spcBef>
            </a:pPr>
            <a:r>
              <a:rPr lang="en-US" sz="2600" b="1" dirty="0" smtClean="0">
                <a:solidFill>
                  <a:schemeClr val="accent3"/>
                </a:solidFill>
                <a:latin typeface="Segoe UI Light" pitchFamily="34" charset="0"/>
              </a:rPr>
              <a:t>Other ‘s</a:t>
            </a:r>
            <a:endParaRPr lang="en-US" sz="2000" b="1" dirty="0" smtClean="0">
              <a:latin typeface="Segoe UI Light" pitchFamily="34" charset="0"/>
            </a:endParaRPr>
          </a:p>
          <a:p>
            <a:pPr>
              <a:spcBef>
                <a:spcPct val="0"/>
              </a:spcBef>
              <a:buFontTx/>
              <a:buChar char="-"/>
            </a:pPr>
            <a:r>
              <a:rPr lang="en-US" sz="2000" b="1" dirty="0" smtClean="0">
                <a:latin typeface="Segoe UI Light" pitchFamily="34" charset="0"/>
              </a:rPr>
              <a:t> DTU – database throughput Unit – measure performance level .</a:t>
            </a:r>
            <a:endParaRPr lang="en-US" sz="2200" b="1" dirty="0" smtClean="0">
              <a:solidFill>
                <a:prstClr val="black"/>
              </a:solidFill>
              <a:latin typeface="Segoe UI Light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4151451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0" y="-27383"/>
            <a:ext cx="9144000" cy="720079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TextBox 7"/>
          <p:cNvSpPr txBox="1"/>
          <p:nvPr/>
        </p:nvSpPr>
        <p:spPr>
          <a:xfrm>
            <a:off x="0" y="-27384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SQL database On-Off Premise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1450" y="934169"/>
            <a:ext cx="8801100" cy="559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 txBox="1">
            <a:spLocks/>
          </p:cNvSpPr>
          <p:nvPr/>
        </p:nvSpPr>
        <p:spPr>
          <a:xfrm>
            <a:off x="0" y="1484784"/>
            <a:ext cx="9144000" cy="11521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600" marR="0" lvl="0" indent="-228600" algn="l" defTabSz="914400" rtl="0" eaLnBrk="1" fontAlgn="ctr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rPr>
              <a:t>Allows secure access with granular permissions to resources</a:t>
            </a:r>
          </a:p>
          <a:p>
            <a:pPr marL="228600" marR="0" lvl="0" indent="-228600" algn="l" defTabSz="914400" rtl="0" eaLnBrk="1" fontAlgn="ctr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sz="2000" dirty="0" smtClean="0">
                <a:latin typeface="Segoe UI Light" pitchFamily="34" charset="0"/>
                <a:ea typeface="Segoe UI" pitchFamily="34" charset="0"/>
                <a:cs typeface="Segoe UI" pitchFamily="34" charset="0"/>
              </a:rPr>
              <a:t>A</a:t>
            </a:r>
            <a:r>
              <a:rPr kumimoji="0" lang="en-US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rPr>
              <a:t>ssignable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rPr>
              <a:t> to </a:t>
            </a:r>
            <a:r>
              <a:rPr lang="en-US" sz="2000" dirty="0" smtClean="0">
                <a:solidFill>
                  <a:prstClr val="black"/>
                </a:solidFill>
                <a:latin typeface="Segoe UI Light" pitchFamily="34" charset="0"/>
              </a:rPr>
              <a:t>users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rPr>
              <a:t>, groups or service principals</a:t>
            </a:r>
          </a:p>
          <a:p>
            <a:pPr marL="228600" marR="0" lvl="0" indent="-228600" algn="l" defTabSz="914400" rtl="0" eaLnBrk="1" fontAlgn="ctr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sz="2000" dirty="0" smtClean="0">
                <a:latin typeface="Segoe UI Light" pitchFamily="34" charset="0"/>
                <a:ea typeface="Segoe UI" pitchFamily="34" charset="0"/>
                <a:cs typeface="Segoe UI" pitchFamily="34" charset="0"/>
              </a:rPr>
              <a:t>B</a:t>
            </a:r>
            <a:r>
              <a:rPr kumimoji="0" lang="en-US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rPr>
              <a:t>uilt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itchFamily="34" charset="0"/>
                <a:ea typeface="Segoe UI" pitchFamily="34" charset="0"/>
                <a:cs typeface="Segoe UI" pitchFamily="34" charset="0"/>
              </a:rPr>
              <a:t>-in roles make it easy to get started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Light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0" y="3356992"/>
            <a:ext cx="9144000" cy="86409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>
              <a:lnSpc>
                <a:spcPct val="100000"/>
              </a:lnSpc>
              <a:buFont typeface="Wingdings" pitchFamily="2" charset="2"/>
              <a:buChar char="ü"/>
            </a:pPr>
            <a:r>
              <a:rPr lang="en-US" sz="2000" dirty="0" smtClean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Describes </a:t>
            </a:r>
            <a:r>
              <a:rPr lang="en-US" sz="200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the set of permissions (e.g. read actions)</a:t>
            </a:r>
          </a:p>
          <a:p>
            <a:pPr fontAlgn="ctr">
              <a:lnSpc>
                <a:spcPct val="100000"/>
              </a:lnSpc>
              <a:buFont typeface="Wingdings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C</a:t>
            </a:r>
            <a:r>
              <a:rPr lang="en-US" sz="2000" dirty="0" smtClean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an </a:t>
            </a:r>
            <a:r>
              <a:rPr lang="en-US" sz="200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be used in multiple assignments</a:t>
            </a:r>
          </a:p>
          <a:p>
            <a:pPr marL="457112" lvl="1" indent="0" fontAlgn="ctr">
              <a:lnSpc>
                <a:spcPct val="100000"/>
              </a:lnSpc>
              <a:buFont typeface="Wingdings" pitchFamily="2" charset="2"/>
              <a:buChar char="ü"/>
            </a:pPr>
            <a:endParaRPr lang="en-US" sz="1600" dirty="0">
              <a:solidFill>
                <a:schemeClr val="tx1"/>
              </a:solidFill>
              <a:latin typeface="Segoe UI Light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0" y="4797152"/>
            <a:ext cx="9144001" cy="2060848"/>
          </a:xfrm>
          <a:prstGeom prst="rect">
            <a:avLst/>
          </a:prstGeom>
        </p:spPr>
        <p:txBody>
          <a:bodyPr vert="horz" lIns="186494" tIns="149196" rIns="186494" bIns="149196" rtlCol="0">
            <a:noAutofit/>
          </a:bodyPr>
          <a:lstStyle>
            <a:lvl1pPr marL="0" indent="0" algn="l" defTabSz="896157" rtl="0" eaLnBrk="1" latinLnBrk="0" hangingPunct="1">
              <a:spcBef>
                <a:spcPct val="20000"/>
              </a:spcBef>
              <a:buFont typeface="Arial" pitchFamily="34" charset="0"/>
              <a:buNone/>
              <a:defRPr sz="3529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896157" rtl="0" eaLnBrk="1" latinLnBrk="0" hangingPunct="1">
              <a:spcBef>
                <a:spcPct val="20000"/>
              </a:spcBef>
              <a:buFont typeface="Arial" pitchFamily="34" charset="0"/>
              <a:buNone/>
              <a:defRPr sz="2745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48077" indent="-224039" algn="l" defTabSz="8961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5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25016" indent="-276938" algn="l" defTabSz="89615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6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12845" indent="-287828" algn="l" defTabSz="89615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765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464431" indent="-224039" algn="l" defTabSz="8961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2509" indent="-224039" algn="l" defTabSz="8961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0588" indent="-224039" algn="l" defTabSz="8961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8665" indent="-224039" algn="l" defTabSz="89615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57" lvl="1" indent="-228557" defTabSz="914224" fontAlgn="ctr">
              <a:spcBef>
                <a:spcPts val="1000"/>
              </a:spcBef>
              <a:buFont typeface="Wingdings" pitchFamily="2" charset="2"/>
              <a:buChar char="ü"/>
            </a:pPr>
            <a:r>
              <a:rPr lang="en-US" sz="2000" dirty="0" smtClean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Associate </a:t>
            </a:r>
            <a:r>
              <a:rPr lang="en-US" sz="200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role definitions with an identity (e.g. user/group) at a scope (e.g. resource group)</a:t>
            </a:r>
          </a:p>
          <a:p>
            <a:pPr marL="228557" lvl="1" indent="-228557" defTabSz="914224" fontAlgn="ctr">
              <a:spcBef>
                <a:spcPts val="1000"/>
              </a:spcBef>
              <a:buFont typeface="Wingdings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A</a:t>
            </a:r>
            <a:r>
              <a:rPr lang="en-US" sz="2000" dirty="0" smtClean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lways </a:t>
            </a:r>
            <a:r>
              <a:rPr lang="en-US" sz="200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inherited – subscription assignments apply to all </a:t>
            </a:r>
            <a:r>
              <a:rPr lang="en-US" sz="2000" dirty="0" smtClean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resources</a:t>
            </a:r>
            <a:endParaRPr lang="en-US" sz="2800" dirty="0">
              <a:solidFill>
                <a:schemeClr val="tx1"/>
              </a:solidFill>
              <a:latin typeface="Segoe UI Light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TextBox 19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RBAC Access Control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22" name="object 4"/>
          <p:cNvSpPr/>
          <p:nvPr/>
        </p:nvSpPr>
        <p:spPr>
          <a:xfrm>
            <a:off x="0" y="864096"/>
            <a:ext cx="9180512" cy="548680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TextBox 22"/>
          <p:cNvSpPr txBox="1"/>
          <p:nvPr/>
        </p:nvSpPr>
        <p:spPr>
          <a:xfrm>
            <a:off x="-36512" y="908720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What is RBAC</a:t>
            </a:r>
          </a:p>
        </p:txBody>
      </p:sp>
      <p:sp>
        <p:nvSpPr>
          <p:cNvPr id="24" name="object 4"/>
          <p:cNvSpPr/>
          <p:nvPr/>
        </p:nvSpPr>
        <p:spPr>
          <a:xfrm>
            <a:off x="0" y="2808312"/>
            <a:ext cx="9180512" cy="548680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TextBox 24"/>
          <p:cNvSpPr txBox="1"/>
          <p:nvPr/>
        </p:nvSpPr>
        <p:spPr>
          <a:xfrm>
            <a:off x="-36512" y="2823319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Role Definitions</a:t>
            </a:r>
          </a:p>
        </p:txBody>
      </p:sp>
      <p:sp>
        <p:nvSpPr>
          <p:cNvPr id="26" name="object 4"/>
          <p:cNvSpPr/>
          <p:nvPr/>
        </p:nvSpPr>
        <p:spPr>
          <a:xfrm>
            <a:off x="0" y="4248472"/>
            <a:ext cx="9180512" cy="548680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TextBox 26"/>
          <p:cNvSpPr txBox="1"/>
          <p:nvPr/>
        </p:nvSpPr>
        <p:spPr>
          <a:xfrm>
            <a:off x="-36512" y="4263479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Role Assignments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/>
          <p:cNvSpPr/>
          <p:nvPr/>
        </p:nvSpPr>
        <p:spPr>
          <a:xfrm>
            <a:off x="0" y="-27384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/>
          <p:cNvSpPr txBox="1"/>
          <p:nvPr/>
        </p:nvSpPr>
        <p:spPr>
          <a:xfrm>
            <a:off x="0" y="35913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Azure SQL Demo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" name="Title 3"/>
          <p:cNvSpPr txBox="1">
            <a:spLocks/>
          </p:cNvSpPr>
          <p:nvPr/>
        </p:nvSpPr>
        <p:spPr>
          <a:xfrm>
            <a:off x="0" y="764704"/>
            <a:ext cx="9144000" cy="20162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Login to : </a:t>
            </a:r>
            <a:r>
              <a:rPr lang="en-US" sz="2000" b="1" dirty="0" smtClean="0">
                <a:latin typeface="Segoe UI Light" pitchFamily="34" charset="0"/>
                <a:hlinkClick r:id="rId3"/>
              </a:rPr>
              <a:t>https://portal.azure.com</a:t>
            </a: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SQL database Portal  demo.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4151451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Box 4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Role Based Access Control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7584" y="1268760"/>
            <a:ext cx="7416824" cy="4248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0" y="2420887"/>
            <a:ext cx="9144000" cy="1152129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TextBox 7"/>
          <p:cNvSpPr txBox="1"/>
          <p:nvPr/>
        </p:nvSpPr>
        <p:spPr>
          <a:xfrm>
            <a:off x="0" y="2636912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Migrating Applications to Azure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34003" y="548680"/>
            <a:ext cx="2000659" cy="12241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34003" y="3211187"/>
            <a:ext cx="1714850" cy="17624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803626" y="5309659"/>
            <a:ext cx="1179100" cy="119038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7538616" y="2984163"/>
            <a:ext cx="1607250" cy="180871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77467" y="1893852"/>
            <a:ext cx="1894181" cy="145623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7321178" y="559488"/>
            <a:ext cx="1321443" cy="142935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2051720" y="692696"/>
            <a:ext cx="6264696" cy="5575266"/>
          </a:xfrm>
          <a:prstGeom prst="rect">
            <a:avLst/>
          </a:prstGeom>
        </p:spPr>
        <p:txBody>
          <a:bodyPr vert="horz" wrap="square" lIns="0" tIns="14119" rIns="0" bIns="0" rtlCol="0">
            <a:spAutoFit/>
          </a:bodyPr>
          <a:lstStyle/>
          <a:p>
            <a:pPr marL="774448">
              <a:spcBef>
                <a:spcPts val="111"/>
              </a:spcBef>
            </a:pPr>
            <a:r>
              <a:rPr sz="1500" b="1" dirty="0">
                <a:solidFill>
                  <a:srgbClr val="505050"/>
                </a:solidFill>
                <a:latin typeface="Arial"/>
                <a:cs typeface="Arial"/>
              </a:rPr>
              <a:t>Open </a:t>
            </a:r>
            <a:r>
              <a:rPr sz="1500" b="1" spc="4" dirty="0">
                <a:solidFill>
                  <a:srgbClr val="505050"/>
                </a:solidFill>
                <a:latin typeface="Arial"/>
                <a:cs typeface="Arial"/>
              </a:rPr>
              <a:t>and </a:t>
            </a:r>
            <a:r>
              <a:rPr sz="1500" b="1" spc="16" dirty="0">
                <a:solidFill>
                  <a:srgbClr val="505050"/>
                </a:solidFill>
                <a:latin typeface="Arial"/>
                <a:cs typeface="Arial"/>
              </a:rPr>
              <a:t>flexible </a:t>
            </a:r>
            <a:r>
              <a:rPr sz="1500" b="1" spc="-8" dirty="0">
                <a:solidFill>
                  <a:srgbClr val="505050"/>
                </a:solidFill>
                <a:latin typeface="Arial"/>
                <a:cs typeface="Arial"/>
              </a:rPr>
              <a:t>cloud </a:t>
            </a:r>
            <a:r>
              <a:rPr sz="1500" b="1" spc="-29" dirty="0">
                <a:solidFill>
                  <a:srgbClr val="505050"/>
                </a:solidFill>
                <a:latin typeface="Arial"/>
                <a:cs typeface="Arial"/>
              </a:rPr>
              <a:t>service</a:t>
            </a:r>
            <a:r>
              <a:rPr sz="1500" b="1" spc="21" dirty="0">
                <a:solidFill>
                  <a:srgbClr val="505050"/>
                </a:solidFill>
                <a:latin typeface="Arial"/>
                <a:cs typeface="Arial"/>
              </a:rPr>
              <a:t> </a:t>
            </a:r>
            <a:r>
              <a:rPr sz="1500" b="1" spc="37" dirty="0">
                <a:solidFill>
                  <a:srgbClr val="505050"/>
                </a:solidFill>
                <a:latin typeface="Arial"/>
                <a:cs typeface="Arial"/>
              </a:rPr>
              <a:t>platform</a:t>
            </a:r>
            <a:endParaRPr sz="1500" dirty="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2000" dirty="0">
              <a:latin typeface="Times New Roman"/>
              <a:cs typeface="Times New Roman"/>
            </a:endParaRPr>
          </a:p>
          <a:p>
            <a:pPr>
              <a:spcBef>
                <a:spcPts val="25"/>
              </a:spcBef>
            </a:pPr>
            <a:endParaRPr dirty="0">
              <a:latin typeface="Times New Roman"/>
              <a:cs typeface="Times New Roman"/>
            </a:endParaRPr>
          </a:p>
          <a:p>
            <a:pPr marL="1014470">
              <a:spcBef>
                <a:spcPts val="4"/>
              </a:spcBef>
            </a:pPr>
            <a:r>
              <a:rPr sz="1500" b="1" spc="-25" dirty="0">
                <a:solidFill>
                  <a:srgbClr val="505050"/>
                </a:solidFill>
                <a:latin typeface="Arial"/>
                <a:cs typeface="Arial"/>
              </a:rPr>
              <a:t>Run </a:t>
            </a:r>
            <a:r>
              <a:rPr sz="1500" b="1" spc="4" dirty="0">
                <a:solidFill>
                  <a:srgbClr val="505050"/>
                </a:solidFill>
                <a:latin typeface="Arial"/>
                <a:cs typeface="Arial"/>
              </a:rPr>
              <a:t>your </a:t>
            </a:r>
            <a:r>
              <a:rPr sz="1500" b="1" spc="-33" dirty="0">
                <a:solidFill>
                  <a:srgbClr val="505050"/>
                </a:solidFill>
                <a:latin typeface="Arial"/>
                <a:cs typeface="Arial"/>
              </a:rPr>
              <a:t>apps</a:t>
            </a:r>
            <a:r>
              <a:rPr sz="1500" b="1" spc="33" dirty="0">
                <a:solidFill>
                  <a:srgbClr val="505050"/>
                </a:solidFill>
                <a:latin typeface="Arial"/>
                <a:cs typeface="Arial"/>
              </a:rPr>
              <a:t> </a:t>
            </a:r>
            <a:r>
              <a:rPr sz="1500" b="1" dirty="0">
                <a:solidFill>
                  <a:srgbClr val="505050"/>
                </a:solidFill>
                <a:latin typeface="Arial"/>
                <a:cs typeface="Arial"/>
              </a:rPr>
              <a:t>anywhere</a:t>
            </a:r>
            <a:endParaRPr sz="1500" dirty="0">
              <a:latin typeface="Arial"/>
              <a:cs typeface="Arial"/>
            </a:endParaRPr>
          </a:p>
          <a:p>
            <a:pPr>
              <a:spcBef>
                <a:spcPts val="12"/>
              </a:spcBef>
            </a:pPr>
            <a:endParaRPr sz="2400" dirty="0">
              <a:latin typeface="Times New Roman"/>
              <a:cs typeface="Times New Roman"/>
            </a:endParaRPr>
          </a:p>
          <a:p>
            <a:pPr marL="4150436"/>
            <a:r>
              <a:rPr sz="1500" b="1" spc="25" dirty="0">
                <a:solidFill>
                  <a:srgbClr val="505050"/>
                </a:solidFill>
                <a:latin typeface="Arial"/>
                <a:cs typeface="Arial"/>
              </a:rPr>
              <a:t>Hybrid</a:t>
            </a:r>
            <a:r>
              <a:rPr sz="1500" b="1" spc="4" dirty="0">
                <a:solidFill>
                  <a:srgbClr val="505050"/>
                </a:solidFill>
                <a:latin typeface="Arial"/>
                <a:cs typeface="Arial"/>
              </a:rPr>
              <a:t> </a:t>
            </a:r>
            <a:r>
              <a:rPr sz="1500" b="1" spc="-16" dirty="0">
                <a:solidFill>
                  <a:srgbClr val="505050"/>
                </a:solidFill>
                <a:latin typeface="Arial"/>
                <a:cs typeface="Arial"/>
              </a:rPr>
              <a:t>Cloud</a:t>
            </a:r>
            <a:endParaRPr sz="1500" dirty="0">
              <a:latin typeface="Arial"/>
              <a:cs typeface="Arial"/>
            </a:endParaRPr>
          </a:p>
          <a:p>
            <a:pPr marL="814713">
              <a:spcBef>
                <a:spcPts val="1458"/>
              </a:spcBef>
            </a:pPr>
            <a:r>
              <a:rPr sz="1500" b="1" spc="-21" dirty="0">
                <a:solidFill>
                  <a:srgbClr val="505050"/>
                </a:solidFill>
                <a:latin typeface="Arial"/>
                <a:cs typeface="Arial"/>
              </a:rPr>
              <a:t>Enterprise</a:t>
            </a:r>
            <a:r>
              <a:rPr sz="1500" b="1" spc="-12" dirty="0">
                <a:solidFill>
                  <a:srgbClr val="505050"/>
                </a:solidFill>
                <a:latin typeface="Arial"/>
                <a:cs typeface="Arial"/>
              </a:rPr>
              <a:t> </a:t>
            </a:r>
            <a:r>
              <a:rPr sz="1500" b="1" spc="-8" dirty="0" smtClean="0">
                <a:solidFill>
                  <a:srgbClr val="505050"/>
                </a:solidFill>
                <a:latin typeface="Arial"/>
                <a:cs typeface="Arial"/>
              </a:rPr>
              <a:t>Grade</a:t>
            </a:r>
            <a:endParaRPr sz="1500" dirty="0" smtClean="0">
              <a:latin typeface="Arial"/>
              <a:cs typeface="Arial"/>
            </a:endParaRPr>
          </a:p>
          <a:p>
            <a:pPr marL="10458" marR="1894025" indent="1716755">
              <a:lnSpc>
                <a:spcPct val="291500"/>
              </a:lnSpc>
              <a:spcBef>
                <a:spcPts val="4"/>
              </a:spcBef>
            </a:pPr>
            <a:r>
              <a:rPr sz="1500" b="1" spc="-54" dirty="0" smtClean="0">
                <a:solidFill>
                  <a:srgbClr val="505050"/>
                </a:solidFill>
                <a:latin typeface="Arial"/>
                <a:cs typeface="Arial"/>
              </a:rPr>
              <a:t>Scale </a:t>
            </a:r>
            <a:r>
              <a:rPr sz="1500" b="1" spc="-91" dirty="0" smtClean="0">
                <a:solidFill>
                  <a:srgbClr val="505050"/>
                </a:solidFill>
                <a:latin typeface="Arial"/>
                <a:cs typeface="Arial"/>
              </a:rPr>
              <a:t>as </a:t>
            </a:r>
            <a:r>
              <a:rPr sz="1500" b="1" dirty="0" smtClean="0">
                <a:solidFill>
                  <a:srgbClr val="505050"/>
                </a:solidFill>
                <a:latin typeface="Arial"/>
                <a:cs typeface="Arial"/>
              </a:rPr>
              <a:t>you </a:t>
            </a:r>
            <a:r>
              <a:rPr sz="1500" b="1" spc="4" dirty="0" smtClean="0">
                <a:solidFill>
                  <a:srgbClr val="505050"/>
                </a:solidFill>
                <a:latin typeface="Arial"/>
                <a:cs typeface="Arial"/>
              </a:rPr>
              <a:t>need, </a:t>
            </a:r>
            <a:endParaRPr lang="en-US" sz="1500" b="1" spc="4" dirty="0" smtClean="0">
              <a:solidFill>
                <a:srgbClr val="505050"/>
              </a:solidFill>
              <a:latin typeface="Arial"/>
              <a:cs typeface="Arial"/>
            </a:endParaRPr>
          </a:p>
          <a:p>
            <a:pPr marL="10458" marR="1894025" indent="1716755">
              <a:lnSpc>
                <a:spcPct val="291500"/>
              </a:lnSpc>
              <a:spcBef>
                <a:spcPts val="4"/>
              </a:spcBef>
            </a:pPr>
            <a:r>
              <a:rPr sz="1500" b="1" spc="-4" dirty="0" smtClean="0">
                <a:solidFill>
                  <a:srgbClr val="505050"/>
                </a:solidFill>
                <a:latin typeface="Arial"/>
                <a:cs typeface="Arial"/>
              </a:rPr>
              <a:t>pay</a:t>
            </a:r>
            <a:r>
              <a:rPr lang="en-US" sz="1500" b="1" spc="-4" dirty="0" smtClean="0">
                <a:solidFill>
                  <a:srgbClr val="505050"/>
                </a:solidFill>
                <a:latin typeface="Arial"/>
                <a:cs typeface="Arial"/>
              </a:rPr>
              <a:t> </a:t>
            </a:r>
            <a:r>
              <a:rPr sz="1500" b="1" spc="-91" dirty="0" smtClean="0">
                <a:solidFill>
                  <a:srgbClr val="505050"/>
                </a:solidFill>
                <a:latin typeface="Arial"/>
                <a:cs typeface="Arial"/>
              </a:rPr>
              <a:t>as </a:t>
            </a:r>
            <a:r>
              <a:rPr sz="1500" b="1" dirty="0" smtClean="0">
                <a:solidFill>
                  <a:srgbClr val="505050"/>
                </a:solidFill>
                <a:latin typeface="Arial"/>
                <a:cs typeface="Arial"/>
              </a:rPr>
              <a:t>you </a:t>
            </a:r>
            <a:r>
              <a:rPr sz="1500" b="1" spc="25" dirty="0" smtClean="0">
                <a:solidFill>
                  <a:srgbClr val="505050"/>
                </a:solidFill>
                <a:latin typeface="Arial"/>
                <a:cs typeface="Arial"/>
              </a:rPr>
              <a:t>go  </a:t>
            </a:r>
            <a:endParaRPr lang="en-US" sz="1500" b="1" spc="25" dirty="0" smtClean="0">
              <a:solidFill>
                <a:srgbClr val="505050"/>
              </a:solidFill>
              <a:latin typeface="Arial"/>
              <a:cs typeface="Arial"/>
            </a:endParaRPr>
          </a:p>
          <a:p>
            <a:pPr marL="10458" marR="1894025" indent="1716755">
              <a:lnSpc>
                <a:spcPct val="291500"/>
              </a:lnSpc>
              <a:spcBef>
                <a:spcPts val="4"/>
              </a:spcBef>
            </a:pPr>
            <a:r>
              <a:rPr sz="1500" b="1" spc="-33" dirty="0" smtClean="0">
                <a:solidFill>
                  <a:srgbClr val="505050"/>
                </a:solidFill>
                <a:latin typeface="Arial"/>
                <a:cs typeface="Arial"/>
              </a:rPr>
              <a:t>Rely </a:t>
            </a:r>
            <a:r>
              <a:rPr sz="1500" b="1" spc="12" dirty="0" smtClean="0">
                <a:solidFill>
                  <a:srgbClr val="505050"/>
                </a:solidFill>
                <a:latin typeface="Arial"/>
                <a:cs typeface="Arial"/>
              </a:rPr>
              <a:t>on </a:t>
            </a:r>
            <a:r>
              <a:rPr sz="1500" b="1" spc="-12" dirty="0" smtClean="0">
                <a:solidFill>
                  <a:srgbClr val="505050"/>
                </a:solidFill>
                <a:latin typeface="Arial"/>
                <a:cs typeface="Arial"/>
              </a:rPr>
              <a:t>a </a:t>
            </a:r>
            <a:r>
              <a:rPr sz="1500" b="1" spc="8" dirty="0" smtClean="0">
                <a:solidFill>
                  <a:srgbClr val="505050"/>
                </a:solidFill>
                <a:latin typeface="Arial"/>
                <a:cs typeface="Arial"/>
              </a:rPr>
              <a:t>trusted </a:t>
            </a:r>
            <a:r>
              <a:rPr sz="1500" b="1" spc="-8" dirty="0" smtClean="0">
                <a:solidFill>
                  <a:srgbClr val="505050"/>
                </a:solidFill>
                <a:latin typeface="Arial"/>
                <a:cs typeface="Arial"/>
              </a:rPr>
              <a:t>cloud</a:t>
            </a:r>
            <a:r>
              <a:rPr sz="1500" b="1" spc="49" dirty="0" smtClean="0">
                <a:solidFill>
                  <a:srgbClr val="505050"/>
                </a:solidFill>
                <a:latin typeface="Arial"/>
                <a:cs typeface="Arial"/>
              </a:rPr>
              <a:t> </a:t>
            </a:r>
            <a:r>
              <a:rPr sz="1500" b="1" spc="-29" dirty="0" smtClean="0">
                <a:solidFill>
                  <a:srgbClr val="505050"/>
                </a:solidFill>
                <a:latin typeface="Arial"/>
                <a:cs typeface="Arial"/>
              </a:rPr>
              <a:t>service</a:t>
            </a:r>
            <a:endParaRPr sz="1500" dirty="0" smtClean="0">
              <a:latin typeface="Arial"/>
              <a:cs typeface="Arial"/>
            </a:endParaRPr>
          </a:p>
          <a:p>
            <a:pPr marR="4183">
              <a:spcBef>
                <a:spcPts val="1268"/>
              </a:spcBef>
            </a:pPr>
            <a:r>
              <a:rPr sz="1500" b="1" spc="45" dirty="0" smtClean="0">
                <a:solidFill>
                  <a:srgbClr val="505050"/>
                </a:solidFill>
                <a:latin typeface="Arial"/>
                <a:cs typeface="Arial"/>
              </a:rPr>
              <a:t>Make </a:t>
            </a:r>
            <a:r>
              <a:rPr sz="1500" b="1" spc="4" dirty="0">
                <a:solidFill>
                  <a:srgbClr val="505050"/>
                </a:solidFill>
                <a:latin typeface="Arial"/>
                <a:cs typeface="Arial"/>
              </a:rPr>
              <a:t>smarter</a:t>
            </a:r>
            <a:r>
              <a:rPr sz="1500" b="1" spc="-74" dirty="0">
                <a:solidFill>
                  <a:srgbClr val="505050"/>
                </a:solidFill>
                <a:latin typeface="Arial"/>
                <a:cs typeface="Arial"/>
              </a:rPr>
              <a:t> </a:t>
            </a:r>
            <a:r>
              <a:rPr sz="1500" b="1" spc="-41" dirty="0">
                <a:solidFill>
                  <a:srgbClr val="505050"/>
                </a:solidFill>
                <a:latin typeface="Arial"/>
                <a:cs typeface="Arial"/>
              </a:rPr>
              <a:t>decisions</a:t>
            </a:r>
            <a:endParaRPr sz="1500" dirty="0">
              <a:latin typeface="Arial"/>
              <a:cs typeface="Arial"/>
            </a:endParaRPr>
          </a:p>
          <a:p>
            <a:pPr marL="1944226">
              <a:spcBef>
                <a:spcPts val="1276"/>
              </a:spcBef>
            </a:pPr>
            <a:r>
              <a:rPr sz="1500" b="1" spc="4" dirty="0">
                <a:solidFill>
                  <a:srgbClr val="505050"/>
                </a:solidFill>
                <a:latin typeface="Arial"/>
                <a:cs typeface="Arial"/>
              </a:rPr>
              <a:t>Protect your</a:t>
            </a:r>
            <a:r>
              <a:rPr sz="1500" b="1" spc="-16" dirty="0">
                <a:solidFill>
                  <a:srgbClr val="505050"/>
                </a:solidFill>
                <a:latin typeface="Arial"/>
                <a:cs typeface="Arial"/>
              </a:rPr>
              <a:t> </a:t>
            </a:r>
            <a:r>
              <a:rPr sz="1500" b="1" spc="21" dirty="0">
                <a:solidFill>
                  <a:srgbClr val="505050"/>
                </a:solidFill>
                <a:latin typeface="Arial"/>
                <a:cs typeface="Arial"/>
              </a:rPr>
              <a:t>data</a:t>
            </a:r>
            <a:endParaRPr sz="1500" dirty="0">
              <a:latin typeface="Arial"/>
              <a:cs typeface="Arial"/>
            </a:endParaRPr>
          </a:p>
        </p:txBody>
      </p:sp>
      <p:sp>
        <p:nvSpPr>
          <p:cNvPr id="11" name="object 4"/>
          <p:cNvSpPr/>
          <p:nvPr/>
        </p:nvSpPr>
        <p:spPr>
          <a:xfrm>
            <a:off x="0" y="0"/>
            <a:ext cx="9144000" cy="548680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TextBox 11"/>
          <p:cNvSpPr txBox="1"/>
          <p:nvPr/>
        </p:nvSpPr>
        <p:spPr>
          <a:xfrm>
            <a:off x="0" y="44624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Why Azure Cloud? (</a:t>
            </a:r>
            <a:r>
              <a:rPr lang="en-US" sz="2000" dirty="0" smtClean="0">
                <a:solidFill>
                  <a:schemeClr val="bg1"/>
                </a:solidFill>
                <a:latin typeface="Segoe UI Light" pitchFamily="34" charset="0"/>
              </a:rPr>
              <a:t>Cont..</a:t>
            </a:r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)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49536" y="446329"/>
            <a:ext cx="5365977" cy="59444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297817" y="1179800"/>
            <a:ext cx="3338447" cy="48889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280632" y="1741259"/>
            <a:ext cx="2075192" cy="35435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266248" y="2398681"/>
            <a:ext cx="1511515" cy="27942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795323" y="2515159"/>
            <a:ext cx="59761" cy="1881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871258" y="2386733"/>
            <a:ext cx="3505262" cy="29137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277456" y="2712083"/>
            <a:ext cx="778594" cy="22179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297817" y="3222887"/>
            <a:ext cx="423924" cy="35435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764825" y="3414486"/>
            <a:ext cx="99687" cy="2185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911651" y="3222887"/>
            <a:ext cx="3742689" cy="46512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3255414" y="3777626"/>
            <a:ext cx="5352368" cy="583491"/>
          </a:xfrm>
          <a:prstGeom prst="rect">
            <a:avLst/>
          </a:prstGeom>
        </p:spPr>
        <p:txBody>
          <a:bodyPr vert="horz" wrap="square" lIns="0" tIns="44448" rIns="0" bIns="0" rtlCol="0">
            <a:spAutoFit/>
          </a:bodyPr>
          <a:lstStyle/>
          <a:p>
            <a:pPr marL="10458" marR="4183">
              <a:lnSpc>
                <a:spcPts val="2133"/>
              </a:lnSpc>
              <a:spcBef>
                <a:spcPts val="350"/>
              </a:spcBef>
            </a:pPr>
            <a:r>
              <a:rPr sz="2000" spc="-45" dirty="0">
                <a:solidFill>
                  <a:srgbClr val="505050"/>
                </a:solidFill>
                <a:latin typeface="Arial"/>
                <a:cs typeface="Arial"/>
              </a:rPr>
              <a:t>When </a:t>
            </a:r>
            <a:r>
              <a:rPr sz="2000" spc="-16" dirty="0">
                <a:solidFill>
                  <a:srgbClr val="505050"/>
                </a:solidFill>
                <a:latin typeface="Arial"/>
                <a:cs typeface="Arial"/>
              </a:rPr>
              <a:t>replicating </a:t>
            </a:r>
            <a:r>
              <a:rPr sz="2000" spc="-37" dirty="0">
                <a:solidFill>
                  <a:srgbClr val="505050"/>
                </a:solidFill>
                <a:latin typeface="Arial"/>
                <a:cs typeface="Arial"/>
              </a:rPr>
              <a:t>workloads </a:t>
            </a:r>
            <a:r>
              <a:rPr sz="2000" spc="21" dirty="0">
                <a:solidFill>
                  <a:srgbClr val="505050"/>
                </a:solidFill>
                <a:latin typeface="Arial"/>
                <a:cs typeface="Arial"/>
              </a:rPr>
              <a:t>into </a:t>
            </a:r>
            <a:r>
              <a:rPr sz="2000" spc="-66" dirty="0">
                <a:solidFill>
                  <a:srgbClr val="505050"/>
                </a:solidFill>
                <a:latin typeface="Arial"/>
                <a:cs typeface="Arial"/>
              </a:rPr>
              <a:t>Azure, </a:t>
            </a:r>
            <a:r>
              <a:rPr sz="2000" spc="-62" dirty="0">
                <a:solidFill>
                  <a:srgbClr val="505050"/>
                </a:solidFill>
                <a:latin typeface="Arial"/>
                <a:cs typeface="Arial"/>
              </a:rPr>
              <a:t>execute </a:t>
            </a:r>
            <a:r>
              <a:rPr sz="2000" spc="-66" dirty="0">
                <a:solidFill>
                  <a:srgbClr val="505050"/>
                </a:solidFill>
                <a:latin typeface="Arial"/>
                <a:cs typeface="Arial"/>
              </a:rPr>
              <a:t>tests </a:t>
            </a:r>
            <a:r>
              <a:rPr sz="2000" spc="49" dirty="0">
                <a:solidFill>
                  <a:srgbClr val="505050"/>
                </a:solidFill>
                <a:latin typeface="Arial"/>
                <a:cs typeface="Arial"/>
              </a:rPr>
              <a:t>to  </a:t>
            </a:r>
            <a:r>
              <a:rPr sz="2000" spc="-70" dirty="0">
                <a:solidFill>
                  <a:srgbClr val="505050"/>
                </a:solidFill>
                <a:latin typeface="Arial"/>
                <a:cs typeface="Arial"/>
              </a:rPr>
              <a:t>ensure</a:t>
            </a:r>
            <a:r>
              <a:rPr sz="2000" spc="8" dirty="0">
                <a:solidFill>
                  <a:srgbClr val="505050"/>
                </a:solidFill>
                <a:latin typeface="Arial"/>
                <a:cs typeface="Arial"/>
              </a:rPr>
              <a:t> </a:t>
            </a:r>
            <a:r>
              <a:rPr sz="2000" spc="-74" dirty="0">
                <a:solidFill>
                  <a:srgbClr val="505050"/>
                </a:solidFill>
                <a:latin typeface="Arial"/>
                <a:cs typeface="Arial"/>
              </a:rPr>
              <a:t>readiness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297817" y="4684598"/>
            <a:ext cx="4332239" cy="48254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661907" y="4896112"/>
            <a:ext cx="99687" cy="2185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7794909" y="4797985"/>
            <a:ext cx="658922" cy="260878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280631" y="5222285"/>
            <a:ext cx="1519735" cy="374264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3255414" y="5797263"/>
            <a:ext cx="5364978" cy="852796"/>
          </a:xfrm>
          <a:prstGeom prst="rect">
            <a:avLst/>
          </a:prstGeom>
        </p:spPr>
        <p:txBody>
          <a:bodyPr vert="horz" wrap="square" lIns="0" tIns="44448" rIns="0" bIns="0" rtlCol="0">
            <a:spAutoFit/>
          </a:bodyPr>
          <a:lstStyle/>
          <a:p>
            <a:pPr marL="10458" marR="4183">
              <a:lnSpc>
                <a:spcPts val="2133"/>
              </a:lnSpc>
              <a:spcBef>
                <a:spcPts val="350"/>
              </a:spcBef>
            </a:pPr>
            <a:r>
              <a:rPr sz="2000" spc="-21" dirty="0">
                <a:solidFill>
                  <a:srgbClr val="505050"/>
                </a:solidFill>
                <a:latin typeface="Arial"/>
                <a:cs typeface="Arial"/>
              </a:rPr>
              <a:t>Move </a:t>
            </a:r>
            <a:r>
              <a:rPr sz="2000" spc="-111" dirty="0">
                <a:solidFill>
                  <a:srgbClr val="505050"/>
                </a:solidFill>
                <a:latin typeface="Arial"/>
                <a:cs typeface="Arial"/>
              </a:rPr>
              <a:t>a </a:t>
            </a:r>
            <a:r>
              <a:rPr sz="2000" spc="-45" dirty="0">
                <a:solidFill>
                  <a:srgbClr val="505050"/>
                </a:solidFill>
                <a:latin typeface="Arial"/>
                <a:cs typeface="Arial"/>
              </a:rPr>
              <a:t>single </a:t>
            </a:r>
            <a:r>
              <a:rPr sz="2000" spc="-12" dirty="0">
                <a:solidFill>
                  <a:srgbClr val="505050"/>
                </a:solidFill>
                <a:latin typeface="Arial"/>
                <a:cs typeface="Arial"/>
              </a:rPr>
              <a:t>application </a:t>
            </a:r>
            <a:r>
              <a:rPr sz="2000" spc="21" dirty="0">
                <a:solidFill>
                  <a:srgbClr val="505050"/>
                </a:solidFill>
                <a:latin typeface="Arial"/>
                <a:cs typeface="Arial"/>
              </a:rPr>
              <a:t>or </a:t>
            </a:r>
            <a:r>
              <a:rPr sz="2000" spc="-62" dirty="0">
                <a:solidFill>
                  <a:srgbClr val="505050"/>
                </a:solidFill>
                <a:latin typeface="Arial"/>
                <a:cs typeface="Arial"/>
              </a:rPr>
              <a:t>an </a:t>
            </a:r>
            <a:r>
              <a:rPr sz="2000" spc="-21" dirty="0">
                <a:solidFill>
                  <a:srgbClr val="505050"/>
                </a:solidFill>
                <a:latin typeface="Arial"/>
                <a:cs typeface="Arial"/>
              </a:rPr>
              <a:t>entire </a:t>
            </a:r>
            <a:r>
              <a:rPr sz="2000" spc="-33" dirty="0">
                <a:solidFill>
                  <a:srgbClr val="505050"/>
                </a:solidFill>
                <a:latin typeface="Arial"/>
                <a:cs typeface="Arial"/>
              </a:rPr>
              <a:t>datacenter </a:t>
            </a:r>
            <a:r>
              <a:rPr sz="2000" spc="45" dirty="0">
                <a:solidFill>
                  <a:srgbClr val="505050"/>
                </a:solidFill>
                <a:latin typeface="Arial"/>
                <a:cs typeface="Arial"/>
              </a:rPr>
              <a:t>to </a:t>
            </a:r>
            <a:r>
              <a:rPr sz="2000" spc="-8" dirty="0">
                <a:solidFill>
                  <a:srgbClr val="505050"/>
                </a:solidFill>
                <a:latin typeface="Arial"/>
                <a:cs typeface="Arial"/>
              </a:rPr>
              <a:t>the  cloud </a:t>
            </a:r>
            <a:r>
              <a:rPr sz="2000" spc="4" dirty="0">
                <a:solidFill>
                  <a:srgbClr val="505050"/>
                </a:solidFill>
                <a:latin typeface="Arial"/>
                <a:cs typeface="Arial"/>
              </a:rPr>
              <a:t>with </a:t>
            </a:r>
            <a:r>
              <a:rPr sz="2000" spc="-16" dirty="0">
                <a:solidFill>
                  <a:srgbClr val="505050"/>
                </a:solidFill>
                <a:latin typeface="Arial"/>
                <a:cs typeface="Arial"/>
              </a:rPr>
              <a:t>minimal impact </a:t>
            </a:r>
            <a:r>
              <a:rPr sz="2000" spc="49" dirty="0">
                <a:solidFill>
                  <a:srgbClr val="505050"/>
                </a:solidFill>
                <a:latin typeface="Arial"/>
                <a:cs typeface="Arial"/>
              </a:rPr>
              <a:t>to </a:t>
            </a:r>
            <a:r>
              <a:rPr sz="2000" spc="8" dirty="0">
                <a:solidFill>
                  <a:srgbClr val="505050"/>
                </a:solidFill>
                <a:latin typeface="Arial"/>
                <a:cs typeface="Arial"/>
              </a:rPr>
              <a:t>production</a:t>
            </a:r>
            <a:r>
              <a:rPr sz="2000" spc="-86" dirty="0">
                <a:solidFill>
                  <a:srgbClr val="505050"/>
                </a:solidFill>
                <a:latin typeface="Arial"/>
                <a:cs typeface="Arial"/>
              </a:rPr>
              <a:t> </a:t>
            </a:r>
            <a:r>
              <a:rPr sz="2000" spc="-91" dirty="0">
                <a:solidFill>
                  <a:srgbClr val="505050"/>
                </a:solidFill>
                <a:latin typeface="Arial"/>
                <a:cs typeface="Arial"/>
              </a:rPr>
              <a:t>users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279226" y="5662031"/>
            <a:ext cx="597769" cy="460519"/>
          </a:xfrm>
          <a:custGeom>
            <a:avLst/>
            <a:gdLst/>
            <a:ahLst/>
            <a:cxnLst/>
            <a:rect l="l" t="t" r="r" b="b"/>
            <a:pathLst>
              <a:path w="812800" h="469900">
                <a:moveTo>
                  <a:pt x="0" y="469506"/>
                </a:moveTo>
                <a:lnTo>
                  <a:pt x="812800" y="469506"/>
                </a:lnTo>
                <a:lnTo>
                  <a:pt x="812800" y="0"/>
                </a:lnTo>
                <a:lnTo>
                  <a:pt x="0" y="0"/>
                </a:lnTo>
                <a:lnTo>
                  <a:pt x="0" y="469506"/>
                </a:lnTo>
                <a:close/>
              </a:path>
            </a:pathLst>
          </a:custGeom>
          <a:solidFill>
            <a:srgbClr val="94949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1249711" y="5647818"/>
            <a:ext cx="623455" cy="0"/>
          </a:xfrm>
          <a:custGeom>
            <a:avLst/>
            <a:gdLst/>
            <a:ahLst/>
            <a:cxnLst/>
            <a:rect l="l" t="t" r="r" b="b"/>
            <a:pathLst>
              <a:path w="847725">
                <a:moveTo>
                  <a:pt x="0" y="0"/>
                </a:moveTo>
                <a:lnTo>
                  <a:pt x="847344" y="0"/>
                </a:lnTo>
              </a:path>
            </a:pathLst>
          </a:custGeom>
          <a:ln w="29006">
            <a:solidFill>
              <a:srgbClr val="94949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1612575" y="5523240"/>
            <a:ext cx="70518" cy="110774"/>
          </a:xfrm>
          <a:custGeom>
            <a:avLst/>
            <a:gdLst/>
            <a:ahLst/>
            <a:cxnLst/>
            <a:rect l="l" t="t" r="r" b="b"/>
            <a:pathLst>
              <a:path w="95885" h="113029">
                <a:moveTo>
                  <a:pt x="95631" y="0"/>
                </a:moveTo>
                <a:lnTo>
                  <a:pt x="0" y="0"/>
                </a:lnTo>
                <a:lnTo>
                  <a:pt x="0" y="112610"/>
                </a:lnTo>
                <a:lnTo>
                  <a:pt x="95631" y="112610"/>
                </a:lnTo>
                <a:lnTo>
                  <a:pt x="95631" y="0"/>
                </a:lnTo>
                <a:close/>
              </a:path>
            </a:pathLst>
          </a:custGeom>
          <a:solidFill>
            <a:srgbClr val="94949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708218" y="5523240"/>
            <a:ext cx="71919" cy="110774"/>
          </a:xfrm>
          <a:custGeom>
            <a:avLst/>
            <a:gdLst/>
            <a:ahLst/>
            <a:cxnLst/>
            <a:rect l="l" t="t" r="r" b="b"/>
            <a:pathLst>
              <a:path w="97789" h="113029">
                <a:moveTo>
                  <a:pt x="97536" y="0"/>
                </a:moveTo>
                <a:lnTo>
                  <a:pt x="0" y="0"/>
                </a:lnTo>
                <a:lnTo>
                  <a:pt x="0" y="112610"/>
                </a:lnTo>
                <a:lnTo>
                  <a:pt x="97536" y="112610"/>
                </a:lnTo>
                <a:lnTo>
                  <a:pt x="97536" y="0"/>
                </a:lnTo>
                <a:close/>
              </a:path>
            </a:pathLst>
          </a:custGeom>
          <a:solidFill>
            <a:srgbClr val="94949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872885" y="5146860"/>
            <a:ext cx="685099" cy="963356"/>
          </a:xfrm>
          <a:custGeom>
            <a:avLst/>
            <a:gdLst/>
            <a:ahLst/>
            <a:cxnLst/>
            <a:rect l="l" t="t" r="r" b="b"/>
            <a:pathLst>
              <a:path w="931545" h="982979">
                <a:moveTo>
                  <a:pt x="931163" y="0"/>
                </a:moveTo>
                <a:lnTo>
                  <a:pt x="0" y="0"/>
                </a:lnTo>
                <a:lnTo>
                  <a:pt x="0" y="982979"/>
                </a:lnTo>
                <a:lnTo>
                  <a:pt x="931163" y="982979"/>
                </a:lnTo>
                <a:lnTo>
                  <a:pt x="931163" y="0"/>
                </a:lnTo>
                <a:close/>
              </a:path>
            </a:pathLst>
          </a:custGeom>
          <a:solidFill>
            <a:srgbClr val="585A5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872886" y="5146860"/>
            <a:ext cx="623455" cy="361570"/>
          </a:xfrm>
          <a:custGeom>
            <a:avLst/>
            <a:gdLst/>
            <a:ahLst/>
            <a:cxnLst/>
            <a:rect l="l" t="t" r="r" b="b"/>
            <a:pathLst>
              <a:path w="847725" h="368935">
                <a:moveTo>
                  <a:pt x="847344" y="0"/>
                </a:moveTo>
                <a:lnTo>
                  <a:pt x="0" y="0"/>
                </a:lnTo>
                <a:lnTo>
                  <a:pt x="0" y="368807"/>
                </a:lnTo>
                <a:lnTo>
                  <a:pt x="847344" y="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934529" y="5744290"/>
            <a:ext cx="621120" cy="365926"/>
          </a:xfrm>
          <a:custGeom>
            <a:avLst/>
            <a:gdLst/>
            <a:ahLst/>
            <a:cxnLst/>
            <a:rect l="l" t="t" r="r" b="b"/>
            <a:pathLst>
              <a:path w="844550" h="373379">
                <a:moveTo>
                  <a:pt x="844296" y="0"/>
                </a:moveTo>
                <a:lnTo>
                  <a:pt x="0" y="373379"/>
                </a:lnTo>
                <a:lnTo>
                  <a:pt x="844296" y="373379"/>
                </a:lnTo>
                <a:lnTo>
                  <a:pt x="844296" y="0"/>
                </a:lnTo>
                <a:close/>
              </a:path>
            </a:pathLst>
          </a:custGeom>
          <a:solidFill>
            <a:srgbClr val="42414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1872885" y="6110216"/>
            <a:ext cx="685099" cy="73434"/>
          </a:xfrm>
          <a:custGeom>
            <a:avLst/>
            <a:gdLst/>
            <a:ahLst/>
            <a:cxnLst/>
            <a:rect l="l" t="t" r="r" b="b"/>
            <a:pathLst>
              <a:path w="931545" h="74929">
                <a:moveTo>
                  <a:pt x="0" y="74675"/>
                </a:moveTo>
                <a:lnTo>
                  <a:pt x="931163" y="74675"/>
                </a:lnTo>
                <a:lnTo>
                  <a:pt x="931163" y="0"/>
                </a:lnTo>
                <a:lnTo>
                  <a:pt x="0" y="0"/>
                </a:lnTo>
                <a:lnTo>
                  <a:pt x="0" y="74675"/>
                </a:lnTo>
                <a:close/>
              </a:path>
            </a:pathLst>
          </a:custGeom>
          <a:solidFill>
            <a:srgbClr val="42414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841503" y="5141632"/>
            <a:ext cx="750013" cy="0"/>
          </a:xfrm>
          <a:custGeom>
            <a:avLst/>
            <a:gdLst/>
            <a:ahLst/>
            <a:cxnLst/>
            <a:rect l="l" t="t" r="r" b="b"/>
            <a:pathLst>
              <a:path w="1019810">
                <a:moveTo>
                  <a:pt x="0" y="0"/>
                </a:moveTo>
                <a:lnTo>
                  <a:pt x="1019556" y="0"/>
                </a:lnTo>
              </a:path>
            </a:pathLst>
          </a:custGeom>
          <a:ln w="28956">
            <a:solidFill>
              <a:srgbClr val="221F1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246117" y="5969820"/>
            <a:ext cx="76588" cy="181096"/>
          </a:xfrm>
          <a:custGeom>
            <a:avLst/>
            <a:gdLst/>
            <a:ahLst/>
            <a:cxnLst/>
            <a:rect l="l" t="t" r="r" b="b"/>
            <a:pathLst>
              <a:path w="104139" h="184785">
                <a:moveTo>
                  <a:pt x="0" y="184403"/>
                </a:moveTo>
                <a:lnTo>
                  <a:pt x="103631" y="184403"/>
                </a:lnTo>
                <a:lnTo>
                  <a:pt x="103631" y="0"/>
                </a:lnTo>
                <a:lnTo>
                  <a:pt x="0" y="0"/>
                </a:lnTo>
                <a:lnTo>
                  <a:pt x="0" y="184403"/>
                </a:lnTo>
                <a:close/>
              </a:path>
            </a:pathLst>
          </a:custGeom>
          <a:solidFill>
            <a:srgbClr val="221F1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110499" y="5969820"/>
            <a:ext cx="78457" cy="181096"/>
          </a:xfrm>
          <a:custGeom>
            <a:avLst/>
            <a:gdLst/>
            <a:ahLst/>
            <a:cxnLst/>
            <a:rect l="l" t="t" r="r" b="b"/>
            <a:pathLst>
              <a:path w="106680" h="184785">
                <a:moveTo>
                  <a:pt x="0" y="184403"/>
                </a:moveTo>
                <a:lnTo>
                  <a:pt x="106680" y="184403"/>
                </a:lnTo>
                <a:lnTo>
                  <a:pt x="106680" y="0"/>
                </a:lnTo>
                <a:lnTo>
                  <a:pt x="0" y="0"/>
                </a:lnTo>
                <a:lnTo>
                  <a:pt x="0" y="184403"/>
                </a:lnTo>
                <a:close/>
              </a:path>
            </a:pathLst>
          </a:custGeom>
          <a:solidFill>
            <a:srgbClr val="221F1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1974880" y="5376872"/>
            <a:ext cx="483352" cy="92726"/>
          </a:xfrm>
          <a:custGeom>
            <a:avLst/>
            <a:gdLst/>
            <a:ahLst/>
            <a:cxnLst/>
            <a:rect l="l" t="t" r="r" b="b"/>
            <a:pathLst>
              <a:path w="657225" h="94614">
                <a:moveTo>
                  <a:pt x="0" y="94488"/>
                </a:moveTo>
                <a:lnTo>
                  <a:pt x="656843" y="94488"/>
                </a:lnTo>
                <a:lnTo>
                  <a:pt x="656843" y="0"/>
                </a:lnTo>
                <a:lnTo>
                  <a:pt x="0" y="0"/>
                </a:lnTo>
                <a:lnTo>
                  <a:pt x="0" y="94488"/>
                </a:lnTo>
                <a:close/>
              </a:path>
            </a:pathLst>
          </a:custGeom>
          <a:solidFill>
            <a:srgbClr val="221F1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974880" y="5539670"/>
            <a:ext cx="483352" cy="89615"/>
          </a:xfrm>
          <a:custGeom>
            <a:avLst/>
            <a:gdLst/>
            <a:ahLst/>
            <a:cxnLst/>
            <a:rect l="l" t="t" r="r" b="b"/>
            <a:pathLst>
              <a:path w="657225" h="91439">
                <a:moveTo>
                  <a:pt x="0" y="91440"/>
                </a:moveTo>
                <a:lnTo>
                  <a:pt x="656843" y="91440"/>
                </a:lnTo>
                <a:lnTo>
                  <a:pt x="656843" y="0"/>
                </a:lnTo>
                <a:lnTo>
                  <a:pt x="0" y="0"/>
                </a:lnTo>
                <a:lnTo>
                  <a:pt x="0" y="91440"/>
                </a:lnTo>
                <a:close/>
              </a:path>
            </a:pathLst>
          </a:custGeom>
          <a:solidFill>
            <a:srgbClr val="221F1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974880" y="5699483"/>
            <a:ext cx="483352" cy="91481"/>
          </a:xfrm>
          <a:custGeom>
            <a:avLst/>
            <a:gdLst/>
            <a:ahLst/>
            <a:cxnLst/>
            <a:rect l="l" t="t" r="r" b="b"/>
            <a:pathLst>
              <a:path w="657225" h="93345">
                <a:moveTo>
                  <a:pt x="0" y="92963"/>
                </a:moveTo>
                <a:lnTo>
                  <a:pt x="656843" y="92963"/>
                </a:lnTo>
                <a:lnTo>
                  <a:pt x="656843" y="0"/>
                </a:lnTo>
                <a:lnTo>
                  <a:pt x="0" y="0"/>
                </a:lnTo>
                <a:lnTo>
                  <a:pt x="0" y="92963"/>
                </a:lnTo>
                <a:close/>
              </a:path>
            </a:pathLst>
          </a:custGeom>
          <a:solidFill>
            <a:srgbClr val="221F1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974880" y="5860789"/>
            <a:ext cx="483352" cy="92726"/>
          </a:xfrm>
          <a:custGeom>
            <a:avLst/>
            <a:gdLst/>
            <a:ahLst/>
            <a:cxnLst/>
            <a:rect l="l" t="t" r="r" b="b"/>
            <a:pathLst>
              <a:path w="657225" h="94614">
                <a:moveTo>
                  <a:pt x="0" y="94488"/>
                </a:moveTo>
                <a:lnTo>
                  <a:pt x="656843" y="94488"/>
                </a:lnTo>
                <a:lnTo>
                  <a:pt x="656843" y="0"/>
                </a:lnTo>
                <a:lnTo>
                  <a:pt x="0" y="0"/>
                </a:lnTo>
                <a:lnTo>
                  <a:pt x="0" y="94488"/>
                </a:lnTo>
                <a:close/>
              </a:path>
            </a:pathLst>
          </a:custGeom>
          <a:solidFill>
            <a:srgbClr val="221F1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974880" y="5215565"/>
            <a:ext cx="483352" cy="91481"/>
          </a:xfrm>
          <a:custGeom>
            <a:avLst/>
            <a:gdLst/>
            <a:ahLst/>
            <a:cxnLst/>
            <a:rect l="l" t="t" r="r" b="b"/>
            <a:pathLst>
              <a:path w="657225" h="93345">
                <a:moveTo>
                  <a:pt x="0" y="92963"/>
                </a:moveTo>
                <a:lnTo>
                  <a:pt x="656843" y="92963"/>
                </a:lnTo>
                <a:lnTo>
                  <a:pt x="656843" y="0"/>
                </a:lnTo>
                <a:lnTo>
                  <a:pt x="0" y="0"/>
                </a:lnTo>
                <a:lnTo>
                  <a:pt x="0" y="92963"/>
                </a:lnTo>
                <a:close/>
              </a:path>
            </a:pathLst>
          </a:custGeom>
          <a:solidFill>
            <a:srgbClr val="221F1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1018823" y="6151290"/>
            <a:ext cx="854156" cy="0"/>
          </a:xfrm>
          <a:custGeom>
            <a:avLst/>
            <a:gdLst/>
            <a:ahLst/>
            <a:cxnLst/>
            <a:rect l="l" t="t" r="r" b="b"/>
            <a:pathLst>
              <a:path w="1161414">
                <a:moveTo>
                  <a:pt x="0" y="0"/>
                </a:moveTo>
                <a:lnTo>
                  <a:pt x="1161288" y="0"/>
                </a:lnTo>
              </a:path>
            </a:pathLst>
          </a:custGeom>
          <a:ln w="59436">
            <a:solidFill>
              <a:srgbClr val="2383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132586" y="5916051"/>
            <a:ext cx="0" cy="206611"/>
          </a:xfrm>
          <a:custGeom>
            <a:avLst/>
            <a:gdLst/>
            <a:ahLst/>
            <a:cxnLst/>
            <a:rect l="l" t="t" r="r" b="b"/>
            <a:pathLst>
              <a:path h="210820">
                <a:moveTo>
                  <a:pt x="0" y="0"/>
                </a:moveTo>
                <a:lnTo>
                  <a:pt x="0" y="210312"/>
                </a:lnTo>
              </a:path>
            </a:pathLst>
          </a:custGeom>
          <a:ln w="65531">
            <a:solidFill>
              <a:srgbClr val="CCA67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1018823" y="5727860"/>
            <a:ext cx="218559" cy="261376"/>
          </a:xfrm>
          <a:custGeom>
            <a:avLst/>
            <a:gdLst/>
            <a:ahLst/>
            <a:cxnLst/>
            <a:rect l="l" t="t" r="r" b="b"/>
            <a:pathLst>
              <a:path w="297180" h="266700">
                <a:moveTo>
                  <a:pt x="148590" y="0"/>
                </a:moveTo>
                <a:lnTo>
                  <a:pt x="101632" y="6798"/>
                </a:lnTo>
                <a:lnTo>
                  <a:pt x="60844" y="25728"/>
                </a:lnTo>
                <a:lnTo>
                  <a:pt x="28675" y="54595"/>
                </a:lnTo>
                <a:lnTo>
                  <a:pt x="7577" y="91201"/>
                </a:lnTo>
                <a:lnTo>
                  <a:pt x="0" y="133350"/>
                </a:lnTo>
                <a:lnTo>
                  <a:pt x="7577" y="175498"/>
                </a:lnTo>
                <a:lnTo>
                  <a:pt x="28675" y="212104"/>
                </a:lnTo>
                <a:lnTo>
                  <a:pt x="60844" y="240971"/>
                </a:lnTo>
                <a:lnTo>
                  <a:pt x="101632" y="259901"/>
                </a:lnTo>
                <a:lnTo>
                  <a:pt x="148590" y="266700"/>
                </a:lnTo>
                <a:lnTo>
                  <a:pt x="195547" y="259901"/>
                </a:lnTo>
                <a:lnTo>
                  <a:pt x="236335" y="240971"/>
                </a:lnTo>
                <a:lnTo>
                  <a:pt x="268504" y="212104"/>
                </a:lnTo>
                <a:lnTo>
                  <a:pt x="289602" y="175498"/>
                </a:lnTo>
                <a:lnTo>
                  <a:pt x="297179" y="133350"/>
                </a:lnTo>
                <a:lnTo>
                  <a:pt x="289602" y="91201"/>
                </a:lnTo>
                <a:lnTo>
                  <a:pt x="268504" y="54595"/>
                </a:lnTo>
                <a:lnTo>
                  <a:pt x="236335" y="25728"/>
                </a:lnTo>
                <a:lnTo>
                  <a:pt x="195547" y="6798"/>
                </a:lnTo>
                <a:lnTo>
                  <a:pt x="148590" y="0"/>
                </a:lnTo>
                <a:close/>
              </a:path>
            </a:pathLst>
          </a:custGeom>
          <a:solidFill>
            <a:srgbClr val="23837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045722" y="5591945"/>
            <a:ext cx="162518" cy="194164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1425679" y="5916051"/>
            <a:ext cx="0" cy="206611"/>
          </a:xfrm>
          <a:custGeom>
            <a:avLst/>
            <a:gdLst/>
            <a:ahLst/>
            <a:cxnLst/>
            <a:rect l="l" t="t" r="r" b="b"/>
            <a:pathLst>
              <a:path h="210820">
                <a:moveTo>
                  <a:pt x="0" y="0"/>
                </a:moveTo>
                <a:lnTo>
                  <a:pt x="0" y="210312"/>
                </a:lnTo>
              </a:path>
            </a:pathLst>
          </a:custGeom>
          <a:ln w="64007">
            <a:solidFill>
              <a:srgbClr val="CCA67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312477" y="5729355"/>
            <a:ext cx="227899" cy="271955"/>
          </a:xfrm>
          <a:custGeom>
            <a:avLst/>
            <a:gdLst/>
            <a:ahLst/>
            <a:cxnLst/>
            <a:rect l="l" t="t" r="r" b="b"/>
            <a:pathLst>
              <a:path w="309880" h="277495">
                <a:moveTo>
                  <a:pt x="154685" y="0"/>
                </a:moveTo>
                <a:lnTo>
                  <a:pt x="105777" y="7070"/>
                </a:lnTo>
                <a:lnTo>
                  <a:pt x="63313" y="26757"/>
                </a:lnTo>
                <a:lnTo>
                  <a:pt x="29833" y="56778"/>
                </a:lnTo>
                <a:lnTo>
                  <a:pt x="7882" y="94848"/>
                </a:lnTo>
                <a:lnTo>
                  <a:pt x="0" y="138684"/>
                </a:lnTo>
                <a:lnTo>
                  <a:pt x="7882" y="182519"/>
                </a:lnTo>
                <a:lnTo>
                  <a:pt x="29833" y="220589"/>
                </a:lnTo>
                <a:lnTo>
                  <a:pt x="63313" y="250610"/>
                </a:lnTo>
                <a:lnTo>
                  <a:pt x="105777" y="270297"/>
                </a:lnTo>
                <a:lnTo>
                  <a:pt x="154685" y="277368"/>
                </a:lnTo>
                <a:lnTo>
                  <a:pt x="203594" y="270297"/>
                </a:lnTo>
                <a:lnTo>
                  <a:pt x="246058" y="250610"/>
                </a:lnTo>
                <a:lnTo>
                  <a:pt x="279538" y="220589"/>
                </a:lnTo>
                <a:lnTo>
                  <a:pt x="301489" y="182519"/>
                </a:lnTo>
                <a:lnTo>
                  <a:pt x="309371" y="138684"/>
                </a:lnTo>
                <a:lnTo>
                  <a:pt x="301489" y="94848"/>
                </a:lnTo>
                <a:lnTo>
                  <a:pt x="279538" y="56778"/>
                </a:lnTo>
                <a:lnTo>
                  <a:pt x="246058" y="26757"/>
                </a:lnTo>
                <a:lnTo>
                  <a:pt x="203594" y="7070"/>
                </a:lnTo>
                <a:lnTo>
                  <a:pt x="154685" y="0"/>
                </a:lnTo>
                <a:close/>
              </a:path>
            </a:pathLst>
          </a:custGeom>
          <a:solidFill>
            <a:srgbClr val="23837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1344981" y="5591945"/>
            <a:ext cx="162518" cy="194164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2555463" y="6151290"/>
            <a:ext cx="140102" cy="0"/>
          </a:xfrm>
          <a:custGeom>
            <a:avLst/>
            <a:gdLst/>
            <a:ahLst/>
            <a:cxnLst/>
            <a:rect l="l" t="t" r="r" b="b"/>
            <a:pathLst>
              <a:path w="190500">
                <a:moveTo>
                  <a:pt x="0" y="0"/>
                </a:moveTo>
                <a:lnTo>
                  <a:pt x="190500" y="0"/>
                </a:lnTo>
              </a:path>
            </a:pathLst>
          </a:custGeom>
          <a:ln w="59436">
            <a:solidFill>
              <a:srgbClr val="2383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1014339" y="2135811"/>
            <a:ext cx="1764353" cy="1461215"/>
          </a:xfrm>
          <a:custGeom>
            <a:avLst/>
            <a:gdLst/>
            <a:ahLst/>
            <a:cxnLst/>
            <a:rect l="l" t="t" r="r" b="b"/>
            <a:pathLst>
              <a:path w="2399029" h="1490979">
                <a:moveTo>
                  <a:pt x="1611630" y="0"/>
                </a:moveTo>
                <a:lnTo>
                  <a:pt x="0" y="1434084"/>
                </a:lnTo>
                <a:lnTo>
                  <a:pt x="46505" y="1453699"/>
                </a:lnTo>
                <a:lnTo>
                  <a:pt x="95154" y="1469945"/>
                </a:lnTo>
                <a:lnTo>
                  <a:pt x="145946" y="1482357"/>
                </a:lnTo>
                <a:lnTo>
                  <a:pt x="198882" y="1490472"/>
                </a:lnTo>
                <a:lnTo>
                  <a:pt x="1891283" y="1490472"/>
                </a:lnTo>
                <a:lnTo>
                  <a:pt x="1943550" y="1487269"/>
                </a:lnTo>
                <a:lnTo>
                  <a:pt x="1994220" y="1479713"/>
                </a:lnTo>
                <a:lnTo>
                  <a:pt x="2043048" y="1468022"/>
                </a:lnTo>
                <a:lnTo>
                  <a:pt x="2089790" y="1452413"/>
                </a:lnTo>
                <a:lnTo>
                  <a:pt x="2134201" y="1433105"/>
                </a:lnTo>
                <a:lnTo>
                  <a:pt x="2176036" y="1410316"/>
                </a:lnTo>
                <a:lnTo>
                  <a:pt x="2215049" y="1384265"/>
                </a:lnTo>
                <a:lnTo>
                  <a:pt x="2250995" y="1355169"/>
                </a:lnTo>
                <a:lnTo>
                  <a:pt x="2283630" y="1323247"/>
                </a:lnTo>
                <a:lnTo>
                  <a:pt x="2312709" y="1288716"/>
                </a:lnTo>
                <a:lnTo>
                  <a:pt x="2337986" y="1251796"/>
                </a:lnTo>
                <a:lnTo>
                  <a:pt x="2359217" y="1212705"/>
                </a:lnTo>
                <a:lnTo>
                  <a:pt x="2376156" y="1171660"/>
                </a:lnTo>
                <a:lnTo>
                  <a:pt x="2388559" y="1128879"/>
                </a:lnTo>
                <a:lnTo>
                  <a:pt x="2396181" y="1084582"/>
                </a:lnTo>
                <a:lnTo>
                  <a:pt x="2398776" y="1038987"/>
                </a:lnTo>
                <a:lnTo>
                  <a:pt x="2396279" y="994375"/>
                </a:lnTo>
                <a:lnTo>
                  <a:pt x="2388950" y="951002"/>
                </a:lnTo>
                <a:lnTo>
                  <a:pt x="2377029" y="909078"/>
                </a:lnTo>
                <a:lnTo>
                  <a:pt x="2360757" y="868811"/>
                </a:lnTo>
                <a:lnTo>
                  <a:pt x="2340374" y="830410"/>
                </a:lnTo>
                <a:lnTo>
                  <a:pt x="2316122" y="794086"/>
                </a:lnTo>
                <a:lnTo>
                  <a:pt x="2288240" y="760047"/>
                </a:lnTo>
                <a:lnTo>
                  <a:pt x="2256970" y="728502"/>
                </a:lnTo>
                <a:lnTo>
                  <a:pt x="2222552" y="699662"/>
                </a:lnTo>
                <a:lnTo>
                  <a:pt x="2185227" y="673734"/>
                </a:lnTo>
                <a:lnTo>
                  <a:pt x="2145236" y="650930"/>
                </a:lnTo>
                <a:lnTo>
                  <a:pt x="2102819" y="631457"/>
                </a:lnTo>
                <a:lnTo>
                  <a:pt x="2058217" y="615525"/>
                </a:lnTo>
                <a:lnTo>
                  <a:pt x="2011670" y="603343"/>
                </a:lnTo>
                <a:lnTo>
                  <a:pt x="1963420" y="595122"/>
                </a:lnTo>
                <a:lnTo>
                  <a:pt x="1963420" y="564388"/>
                </a:lnTo>
                <a:lnTo>
                  <a:pt x="1961284" y="513746"/>
                </a:lnTo>
                <a:lnTo>
                  <a:pt x="1954983" y="464177"/>
                </a:lnTo>
                <a:lnTo>
                  <a:pt x="1944672" y="415812"/>
                </a:lnTo>
                <a:lnTo>
                  <a:pt x="1930511" y="368777"/>
                </a:lnTo>
                <a:lnTo>
                  <a:pt x="1912654" y="323203"/>
                </a:lnTo>
                <a:lnTo>
                  <a:pt x="1891261" y="279217"/>
                </a:lnTo>
                <a:lnTo>
                  <a:pt x="1866487" y="236950"/>
                </a:lnTo>
                <a:lnTo>
                  <a:pt x="1838490" y="196529"/>
                </a:lnTo>
                <a:lnTo>
                  <a:pt x="1807427" y="158083"/>
                </a:lnTo>
                <a:lnTo>
                  <a:pt x="1773456" y="121743"/>
                </a:lnTo>
                <a:lnTo>
                  <a:pt x="1736734" y="87635"/>
                </a:lnTo>
                <a:lnTo>
                  <a:pt x="1697417" y="55889"/>
                </a:lnTo>
                <a:lnTo>
                  <a:pt x="1655663" y="26634"/>
                </a:lnTo>
                <a:lnTo>
                  <a:pt x="1611630" y="0"/>
                </a:lnTo>
                <a:close/>
              </a:path>
            </a:pathLst>
          </a:custGeom>
          <a:solidFill>
            <a:srgbClr val="2073B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773364" y="2035742"/>
            <a:ext cx="1425773" cy="1506022"/>
          </a:xfrm>
          <a:custGeom>
            <a:avLst/>
            <a:gdLst/>
            <a:ahLst/>
            <a:cxnLst/>
            <a:rect l="l" t="t" r="r" b="b"/>
            <a:pathLst>
              <a:path w="1938655" h="1536700">
                <a:moveTo>
                  <a:pt x="706754" y="248793"/>
                </a:moveTo>
                <a:lnTo>
                  <a:pt x="653866" y="251525"/>
                </a:lnTo>
                <a:lnTo>
                  <a:pt x="602769" y="259554"/>
                </a:lnTo>
                <a:lnTo>
                  <a:pt x="553885" y="272631"/>
                </a:lnTo>
                <a:lnTo>
                  <a:pt x="507635" y="290505"/>
                </a:lnTo>
                <a:lnTo>
                  <a:pt x="464439" y="312927"/>
                </a:lnTo>
                <a:lnTo>
                  <a:pt x="423108" y="340146"/>
                </a:lnTo>
                <a:lnTo>
                  <a:pt x="385945" y="371536"/>
                </a:lnTo>
                <a:lnTo>
                  <a:pt x="353317" y="406709"/>
                </a:lnTo>
                <a:lnTo>
                  <a:pt x="325596" y="445277"/>
                </a:lnTo>
                <a:lnTo>
                  <a:pt x="303149" y="486852"/>
                </a:lnTo>
                <a:lnTo>
                  <a:pt x="286345" y="531044"/>
                </a:lnTo>
                <a:lnTo>
                  <a:pt x="275554" y="577466"/>
                </a:lnTo>
                <a:lnTo>
                  <a:pt x="271145" y="625728"/>
                </a:lnTo>
                <a:lnTo>
                  <a:pt x="228421" y="653282"/>
                </a:lnTo>
                <a:lnTo>
                  <a:pt x="188532" y="684043"/>
                </a:lnTo>
                <a:lnTo>
                  <a:pt x="151738" y="717778"/>
                </a:lnTo>
                <a:lnTo>
                  <a:pt x="118298" y="754256"/>
                </a:lnTo>
                <a:lnTo>
                  <a:pt x="88473" y="793245"/>
                </a:lnTo>
                <a:lnTo>
                  <a:pt x="62523" y="834514"/>
                </a:lnTo>
                <a:lnTo>
                  <a:pt x="40708" y="877829"/>
                </a:lnTo>
                <a:lnTo>
                  <a:pt x="23288" y="922960"/>
                </a:lnTo>
                <a:lnTo>
                  <a:pt x="10523" y="969674"/>
                </a:lnTo>
                <a:lnTo>
                  <a:pt x="2674" y="1017741"/>
                </a:lnTo>
                <a:lnTo>
                  <a:pt x="0" y="1066927"/>
                </a:lnTo>
                <a:lnTo>
                  <a:pt x="2322" y="1113730"/>
                </a:lnTo>
                <a:lnTo>
                  <a:pt x="9160" y="1159365"/>
                </a:lnTo>
                <a:lnTo>
                  <a:pt x="20314" y="1203662"/>
                </a:lnTo>
                <a:lnTo>
                  <a:pt x="35590" y="1246456"/>
                </a:lnTo>
                <a:lnTo>
                  <a:pt x="54789" y="1287577"/>
                </a:lnTo>
                <a:lnTo>
                  <a:pt x="77715" y="1326857"/>
                </a:lnTo>
                <a:lnTo>
                  <a:pt x="104171" y="1364130"/>
                </a:lnTo>
                <a:lnTo>
                  <a:pt x="133960" y="1399226"/>
                </a:lnTo>
                <a:lnTo>
                  <a:pt x="166885" y="1431978"/>
                </a:lnTo>
                <a:lnTo>
                  <a:pt x="202749" y="1462219"/>
                </a:lnTo>
                <a:lnTo>
                  <a:pt x="241356" y="1489780"/>
                </a:lnTo>
                <a:lnTo>
                  <a:pt x="282508" y="1514493"/>
                </a:lnTo>
                <a:lnTo>
                  <a:pt x="326009" y="1536192"/>
                </a:lnTo>
                <a:lnTo>
                  <a:pt x="1719392" y="297434"/>
                </a:lnTo>
                <a:lnTo>
                  <a:pt x="911606" y="297434"/>
                </a:lnTo>
                <a:lnTo>
                  <a:pt x="864596" y="276867"/>
                </a:lnTo>
                <a:lnTo>
                  <a:pt x="814609" y="261588"/>
                </a:lnTo>
                <a:lnTo>
                  <a:pt x="761908" y="252071"/>
                </a:lnTo>
                <a:lnTo>
                  <a:pt x="706754" y="248793"/>
                </a:lnTo>
                <a:close/>
              </a:path>
              <a:path w="1938655" h="1536700">
                <a:moveTo>
                  <a:pt x="1537589" y="0"/>
                </a:moveTo>
                <a:lnTo>
                  <a:pt x="1486051" y="1556"/>
                </a:lnTo>
                <a:lnTo>
                  <a:pt x="1435404" y="6158"/>
                </a:lnTo>
                <a:lnTo>
                  <a:pt x="1385765" y="13705"/>
                </a:lnTo>
                <a:lnTo>
                  <a:pt x="1337251" y="24098"/>
                </a:lnTo>
                <a:lnTo>
                  <a:pt x="1289981" y="37234"/>
                </a:lnTo>
                <a:lnTo>
                  <a:pt x="1244072" y="53014"/>
                </a:lnTo>
                <a:lnTo>
                  <a:pt x="1199643" y="71338"/>
                </a:lnTo>
                <a:lnTo>
                  <a:pt x="1156811" y="92105"/>
                </a:lnTo>
                <a:lnTo>
                  <a:pt x="1115693" y="115214"/>
                </a:lnTo>
                <a:lnTo>
                  <a:pt x="1076409" y="140565"/>
                </a:lnTo>
                <a:lnTo>
                  <a:pt x="1039076" y="168058"/>
                </a:lnTo>
                <a:lnTo>
                  <a:pt x="1003811" y="197591"/>
                </a:lnTo>
                <a:lnTo>
                  <a:pt x="970732" y="229065"/>
                </a:lnTo>
                <a:lnTo>
                  <a:pt x="939958" y="262380"/>
                </a:lnTo>
                <a:lnTo>
                  <a:pt x="911606" y="297434"/>
                </a:lnTo>
                <a:lnTo>
                  <a:pt x="1719392" y="297434"/>
                </a:lnTo>
                <a:lnTo>
                  <a:pt x="1938527" y="102615"/>
                </a:lnTo>
                <a:lnTo>
                  <a:pt x="1894187" y="79063"/>
                </a:lnTo>
                <a:lnTo>
                  <a:pt x="1847859" y="58453"/>
                </a:lnTo>
                <a:lnTo>
                  <a:pt x="1799713" y="40847"/>
                </a:lnTo>
                <a:lnTo>
                  <a:pt x="1749917" y="26304"/>
                </a:lnTo>
                <a:lnTo>
                  <a:pt x="1698638" y="14888"/>
                </a:lnTo>
                <a:lnTo>
                  <a:pt x="1646045" y="6657"/>
                </a:lnTo>
                <a:lnTo>
                  <a:pt x="1592305" y="1674"/>
                </a:lnTo>
                <a:lnTo>
                  <a:pt x="1537589" y="0"/>
                </a:lnTo>
                <a:close/>
              </a:path>
            </a:pathLst>
          </a:custGeom>
          <a:solidFill>
            <a:srgbClr val="0E81C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943728" y="2119375"/>
            <a:ext cx="910197" cy="771058"/>
          </a:xfrm>
          <a:custGeom>
            <a:avLst/>
            <a:gdLst/>
            <a:ahLst/>
            <a:cxnLst/>
            <a:rect l="l" t="t" r="r" b="b"/>
            <a:pathLst>
              <a:path w="1237614" h="786764">
                <a:moveTo>
                  <a:pt x="892542" y="156289"/>
                </a:moveTo>
                <a:lnTo>
                  <a:pt x="475694" y="156289"/>
                </a:lnTo>
                <a:lnTo>
                  <a:pt x="520817" y="159341"/>
                </a:lnTo>
                <a:lnTo>
                  <a:pt x="565555" y="166678"/>
                </a:lnTo>
                <a:lnTo>
                  <a:pt x="609509" y="178346"/>
                </a:lnTo>
                <a:lnTo>
                  <a:pt x="652278" y="194389"/>
                </a:lnTo>
                <a:lnTo>
                  <a:pt x="693462" y="214854"/>
                </a:lnTo>
                <a:lnTo>
                  <a:pt x="732662" y="239784"/>
                </a:lnTo>
                <a:lnTo>
                  <a:pt x="774447" y="275030"/>
                </a:lnTo>
                <a:lnTo>
                  <a:pt x="810231" y="313683"/>
                </a:lnTo>
                <a:lnTo>
                  <a:pt x="839771" y="355322"/>
                </a:lnTo>
                <a:lnTo>
                  <a:pt x="862823" y="399521"/>
                </a:lnTo>
                <a:lnTo>
                  <a:pt x="879145" y="445859"/>
                </a:lnTo>
                <a:lnTo>
                  <a:pt x="888491" y="493911"/>
                </a:lnTo>
                <a:lnTo>
                  <a:pt x="695197" y="514358"/>
                </a:lnTo>
                <a:lnTo>
                  <a:pt x="1003808" y="786392"/>
                </a:lnTo>
                <a:lnTo>
                  <a:pt x="1224746" y="475877"/>
                </a:lnTo>
                <a:lnTo>
                  <a:pt x="1067308" y="475877"/>
                </a:lnTo>
                <a:lnTo>
                  <a:pt x="1059414" y="430780"/>
                </a:lnTo>
                <a:lnTo>
                  <a:pt x="1047266" y="386363"/>
                </a:lnTo>
                <a:lnTo>
                  <a:pt x="1030887" y="342922"/>
                </a:lnTo>
                <a:lnTo>
                  <a:pt x="1010303" y="300750"/>
                </a:lnTo>
                <a:lnTo>
                  <a:pt x="985539" y="260144"/>
                </a:lnTo>
                <a:lnTo>
                  <a:pt x="956620" y="221397"/>
                </a:lnTo>
                <a:lnTo>
                  <a:pt x="923571" y="184804"/>
                </a:lnTo>
                <a:lnTo>
                  <a:pt x="892542" y="156289"/>
                </a:lnTo>
                <a:close/>
              </a:path>
              <a:path w="1237614" h="786764">
                <a:moveTo>
                  <a:pt x="1237487" y="457970"/>
                </a:moveTo>
                <a:lnTo>
                  <a:pt x="1067308" y="475877"/>
                </a:lnTo>
                <a:lnTo>
                  <a:pt x="1224746" y="475877"/>
                </a:lnTo>
                <a:lnTo>
                  <a:pt x="1237487" y="457970"/>
                </a:lnTo>
                <a:close/>
              </a:path>
              <a:path w="1237614" h="786764">
                <a:moveTo>
                  <a:pt x="451309" y="0"/>
                </a:moveTo>
                <a:lnTo>
                  <a:pt x="405304" y="2500"/>
                </a:lnTo>
                <a:lnTo>
                  <a:pt x="359645" y="8080"/>
                </a:lnTo>
                <a:lnTo>
                  <a:pt x="314549" y="16720"/>
                </a:lnTo>
                <a:lnTo>
                  <a:pt x="270231" y="28400"/>
                </a:lnTo>
                <a:lnTo>
                  <a:pt x="226909" y="43103"/>
                </a:lnTo>
                <a:lnTo>
                  <a:pt x="184798" y="60807"/>
                </a:lnTo>
                <a:lnTo>
                  <a:pt x="144116" y="81494"/>
                </a:lnTo>
                <a:lnTo>
                  <a:pt x="105078" y="105144"/>
                </a:lnTo>
                <a:lnTo>
                  <a:pt x="67902" y="131739"/>
                </a:lnTo>
                <a:lnTo>
                  <a:pt x="32804" y="161258"/>
                </a:lnTo>
                <a:lnTo>
                  <a:pt x="0" y="193683"/>
                </a:lnTo>
                <a:lnTo>
                  <a:pt x="118236" y="314206"/>
                </a:lnTo>
                <a:lnTo>
                  <a:pt x="148831" y="280722"/>
                </a:lnTo>
                <a:lnTo>
                  <a:pt x="182639" y="251118"/>
                </a:lnTo>
                <a:lnTo>
                  <a:pt x="219261" y="225438"/>
                </a:lnTo>
                <a:lnTo>
                  <a:pt x="258298" y="203726"/>
                </a:lnTo>
                <a:lnTo>
                  <a:pt x="299348" y="186030"/>
                </a:lnTo>
                <a:lnTo>
                  <a:pt x="342013" y="172392"/>
                </a:lnTo>
                <a:lnTo>
                  <a:pt x="385892" y="162860"/>
                </a:lnTo>
                <a:lnTo>
                  <a:pt x="430585" y="157477"/>
                </a:lnTo>
                <a:lnTo>
                  <a:pt x="475694" y="156289"/>
                </a:lnTo>
                <a:lnTo>
                  <a:pt x="892542" y="156289"/>
                </a:lnTo>
                <a:lnTo>
                  <a:pt x="886418" y="150660"/>
                </a:lnTo>
                <a:lnTo>
                  <a:pt x="845185" y="119261"/>
                </a:lnTo>
                <a:lnTo>
                  <a:pt x="805811" y="93176"/>
                </a:lnTo>
                <a:lnTo>
                  <a:pt x="764835" y="70345"/>
                </a:lnTo>
                <a:lnTo>
                  <a:pt x="722472" y="50748"/>
                </a:lnTo>
                <a:lnTo>
                  <a:pt x="678939" y="34366"/>
                </a:lnTo>
                <a:lnTo>
                  <a:pt x="634454" y="21179"/>
                </a:lnTo>
                <a:lnTo>
                  <a:pt x="589231" y="11168"/>
                </a:lnTo>
                <a:lnTo>
                  <a:pt x="543489" y="4314"/>
                </a:lnTo>
                <a:lnTo>
                  <a:pt x="497442" y="598"/>
                </a:lnTo>
                <a:lnTo>
                  <a:pt x="45130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40234" y="1402467"/>
            <a:ext cx="1290341" cy="1190504"/>
          </a:xfrm>
          <a:custGeom>
            <a:avLst/>
            <a:gdLst/>
            <a:ahLst/>
            <a:cxnLst/>
            <a:rect l="l" t="t" r="r" b="b"/>
            <a:pathLst>
              <a:path w="1754505" h="1214755">
                <a:moveTo>
                  <a:pt x="542416" y="189991"/>
                </a:moveTo>
                <a:lnTo>
                  <a:pt x="491192" y="193688"/>
                </a:lnTo>
                <a:lnTo>
                  <a:pt x="442139" y="204136"/>
                </a:lnTo>
                <a:lnTo>
                  <a:pt x="396336" y="220370"/>
                </a:lnTo>
                <a:lnTo>
                  <a:pt x="354863" y="241426"/>
                </a:lnTo>
                <a:lnTo>
                  <a:pt x="314111" y="270166"/>
                </a:lnTo>
                <a:lnTo>
                  <a:pt x="278889" y="304550"/>
                </a:lnTo>
                <a:lnTo>
                  <a:pt x="249916" y="343788"/>
                </a:lnTo>
                <a:lnTo>
                  <a:pt x="227917" y="387091"/>
                </a:lnTo>
                <a:lnTo>
                  <a:pt x="213611" y="433667"/>
                </a:lnTo>
                <a:lnTo>
                  <a:pt x="207721" y="482726"/>
                </a:lnTo>
                <a:lnTo>
                  <a:pt x="167925" y="508630"/>
                </a:lnTo>
                <a:lnTo>
                  <a:pt x="131476" y="538193"/>
                </a:lnTo>
                <a:lnTo>
                  <a:pt x="98732" y="571076"/>
                </a:lnTo>
                <a:lnTo>
                  <a:pt x="70048" y="606942"/>
                </a:lnTo>
                <a:lnTo>
                  <a:pt x="45781" y="645451"/>
                </a:lnTo>
                <a:lnTo>
                  <a:pt x="26286" y="686265"/>
                </a:lnTo>
                <a:lnTo>
                  <a:pt x="11920" y="729045"/>
                </a:lnTo>
                <a:lnTo>
                  <a:pt x="3039" y="773453"/>
                </a:lnTo>
                <a:lnTo>
                  <a:pt x="0" y="819150"/>
                </a:lnTo>
                <a:lnTo>
                  <a:pt x="2974" y="866184"/>
                </a:lnTo>
                <a:lnTo>
                  <a:pt x="11678" y="911548"/>
                </a:lnTo>
                <a:lnTo>
                  <a:pt x="25784" y="954965"/>
                </a:lnTo>
                <a:lnTo>
                  <a:pt x="44961" y="996161"/>
                </a:lnTo>
                <a:lnTo>
                  <a:pt x="68881" y="1034859"/>
                </a:lnTo>
                <a:lnTo>
                  <a:pt x="97216" y="1070783"/>
                </a:lnTo>
                <a:lnTo>
                  <a:pt x="129636" y="1103658"/>
                </a:lnTo>
                <a:lnTo>
                  <a:pt x="165812" y="1133207"/>
                </a:lnTo>
                <a:lnTo>
                  <a:pt x="205416" y="1159155"/>
                </a:lnTo>
                <a:lnTo>
                  <a:pt x="248119" y="1181227"/>
                </a:lnTo>
                <a:lnTo>
                  <a:pt x="297527" y="1200785"/>
                </a:lnTo>
                <a:lnTo>
                  <a:pt x="349097" y="1214627"/>
                </a:lnTo>
                <a:lnTo>
                  <a:pt x="360413" y="1204608"/>
                </a:lnTo>
                <a:lnTo>
                  <a:pt x="372540" y="1194101"/>
                </a:lnTo>
                <a:lnTo>
                  <a:pt x="385207" y="1183570"/>
                </a:lnTo>
                <a:lnTo>
                  <a:pt x="398144" y="1173479"/>
                </a:lnTo>
                <a:lnTo>
                  <a:pt x="410292" y="1125236"/>
                </a:lnTo>
                <a:lnTo>
                  <a:pt x="427378" y="1078237"/>
                </a:lnTo>
                <a:lnTo>
                  <a:pt x="449214" y="1032778"/>
                </a:lnTo>
                <a:lnTo>
                  <a:pt x="475608" y="989153"/>
                </a:lnTo>
                <a:lnTo>
                  <a:pt x="506370" y="947657"/>
                </a:lnTo>
                <a:lnTo>
                  <a:pt x="541309" y="908586"/>
                </a:lnTo>
                <a:lnTo>
                  <a:pt x="580236" y="872233"/>
                </a:lnTo>
                <a:lnTo>
                  <a:pt x="622960" y="838894"/>
                </a:lnTo>
                <a:lnTo>
                  <a:pt x="669290" y="808863"/>
                </a:lnTo>
                <a:lnTo>
                  <a:pt x="714998" y="783406"/>
                </a:lnTo>
                <a:lnTo>
                  <a:pt x="762877" y="761982"/>
                </a:lnTo>
                <a:lnTo>
                  <a:pt x="812624" y="744548"/>
                </a:lnTo>
                <a:lnTo>
                  <a:pt x="863938" y="731061"/>
                </a:lnTo>
                <a:lnTo>
                  <a:pt x="916516" y="721481"/>
                </a:lnTo>
                <a:lnTo>
                  <a:pt x="970055" y="715763"/>
                </a:lnTo>
                <a:lnTo>
                  <a:pt x="1024255" y="713866"/>
                </a:lnTo>
                <a:lnTo>
                  <a:pt x="1180255" y="713866"/>
                </a:lnTo>
                <a:lnTo>
                  <a:pt x="1202445" y="694436"/>
                </a:lnTo>
                <a:lnTo>
                  <a:pt x="1241039" y="664050"/>
                </a:lnTo>
                <a:lnTo>
                  <a:pt x="1281290" y="635583"/>
                </a:lnTo>
                <a:lnTo>
                  <a:pt x="1323106" y="609086"/>
                </a:lnTo>
                <a:lnTo>
                  <a:pt x="1366390" y="584608"/>
                </a:lnTo>
                <a:lnTo>
                  <a:pt x="1411047" y="562197"/>
                </a:lnTo>
                <a:lnTo>
                  <a:pt x="1456983" y="541904"/>
                </a:lnTo>
                <a:lnTo>
                  <a:pt x="1504102" y="523777"/>
                </a:lnTo>
                <a:lnTo>
                  <a:pt x="1552310" y="507865"/>
                </a:lnTo>
                <a:lnTo>
                  <a:pt x="1601511" y="494218"/>
                </a:lnTo>
                <a:lnTo>
                  <a:pt x="1651610" y="482886"/>
                </a:lnTo>
                <a:lnTo>
                  <a:pt x="1702513" y="473916"/>
                </a:lnTo>
                <a:lnTo>
                  <a:pt x="1754124" y="467360"/>
                </a:lnTo>
                <a:lnTo>
                  <a:pt x="1746466" y="418787"/>
                </a:lnTo>
                <a:lnTo>
                  <a:pt x="1733993" y="371818"/>
                </a:lnTo>
                <a:lnTo>
                  <a:pt x="1716914" y="326666"/>
                </a:lnTo>
                <a:lnTo>
                  <a:pt x="1695435" y="283549"/>
                </a:lnTo>
                <a:lnTo>
                  <a:pt x="1669764" y="242681"/>
                </a:lnTo>
                <a:lnTo>
                  <a:pt x="1658890" y="228600"/>
                </a:lnTo>
                <a:lnTo>
                  <a:pt x="698245" y="228600"/>
                </a:lnTo>
                <a:lnTo>
                  <a:pt x="662503" y="212816"/>
                </a:lnTo>
                <a:lnTo>
                  <a:pt x="624617" y="200628"/>
                </a:lnTo>
                <a:lnTo>
                  <a:pt x="584588" y="192774"/>
                </a:lnTo>
                <a:lnTo>
                  <a:pt x="542416" y="189991"/>
                </a:lnTo>
                <a:close/>
              </a:path>
              <a:path w="1754505" h="1214755">
                <a:moveTo>
                  <a:pt x="1180255" y="713866"/>
                </a:moveTo>
                <a:lnTo>
                  <a:pt x="1024255" y="713866"/>
                </a:lnTo>
                <a:lnTo>
                  <a:pt x="1059289" y="714424"/>
                </a:lnTo>
                <a:lnTo>
                  <a:pt x="1094882" y="716422"/>
                </a:lnTo>
                <a:lnTo>
                  <a:pt x="1130500" y="720349"/>
                </a:lnTo>
                <a:lnTo>
                  <a:pt x="1165606" y="726694"/>
                </a:lnTo>
                <a:lnTo>
                  <a:pt x="1180255" y="713866"/>
                </a:lnTo>
                <a:close/>
              </a:path>
              <a:path w="1754505" h="1214755">
                <a:moveTo>
                  <a:pt x="1179957" y="0"/>
                </a:moveTo>
                <a:lnTo>
                  <a:pt x="1125562" y="2255"/>
                </a:lnTo>
                <a:lnTo>
                  <a:pt x="1072661" y="8876"/>
                </a:lnTo>
                <a:lnTo>
                  <a:pt x="1021463" y="19641"/>
                </a:lnTo>
                <a:lnTo>
                  <a:pt x="972176" y="34331"/>
                </a:lnTo>
                <a:lnTo>
                  <a:pt x="925009" y="52727"/>
                </a:lnTo>
                <a:lnTo>
                  <a:pt x="880173" y="74608"/>
                </a:lnTo>
                <a:lnTo>
                  <a:pt x="837875" y="99755"/>
                </a:lnTo>
                <a:lnTo>
                  <a:pt x="798324" y="127947"/>
                </a:lnTo>
                <a:lnTo>
                  <a:pt x="761729" y="158965"/>
                </a:lnTo>
                <a:lnTo>
                  <a:pt x="728300" y="192589"/>
                </a:lnTo>
                <a:lnTo>
                  <a:pt x="698245" y="228600"/>
                </a:lnTo>
                <a:lnTo>
                  <a:pt x="1658890" y="228600"/>
                </a:lnTo>
                <a:lnTo>
                  <a:pt x="1606672" y="168555"/>
                </a:lnTo>
                <a:lnTo>
                  <a:pt x="1569667" y="135729"/>
                </a:lnTo>
                <a:lnTo>
                  <a:pt x="1529298" y="106015"/>
                </a:lnTo>
                <a:lnTo>
                  <a:pt x="1485773" y="79628"/>
                </a:lnTo>
                <a:lnTo>
                  <a:pt x="1439889" y="55871"/>
                </a:lnTo>
                <a:lnTo>
                  <a:pt x="1391755" y="36124"/>
                </a:lnTo>
                <a:lnTo>
                  <a:pt x="1341532" y="20526"/>
                </a:lnTo>
                <a:lnTo>
                  <a:pt x="1289383" y="9214"/>
                </a:lnTo>
                <a:lnTo>
                  <a:pt x="1235471" y="2326"/>
                </a:lnTo>
                <a:lnTo>
                  <a:pt x="1179957" y="0"/>
                </a:lnTo>
                <a:close/>
              </a:path>
            </a:pathLst>
          </a:custGeom>
          <a:solidFill>
            <a:srgbClr val="FFAF1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1423437" y="4356759"/>
            <a:ext cx="360062" cy="726251"/>
          </a:xfrm>
          <a:custGeom>
            <a:avLst/>
            <a:gdLst/>
            <a:ahLst/>
            <a:cxnLst/>
            <a:rect l="l" t="t" r="r" b="b"/>
            <a:pathLst>
              <a:path w="489585" h="741045">
                <a:moveTo>
                  <a:pt x="2920" y="0"/>
                </a:moveTo>
                <a:lnTo>
                  <a:pt x="2839" y="49221"/>
                </a:lnTo>
                <a:lnTo>
                  <a:pt x="2617" y="98437"/>
                </a:lnTo>
                <a:lnTo>
                  <a:pt x="2290" y="147648"/>
                </a:lnTo>
                <a:lnTo>
                  <a:pt x="1892" y="196856"/>
                </a:lnTo>
                <a:lnTo>
                  <a:pt x="987" y="300322"/>
                </a:lnTo>
                <a:lnTo>
                  <a:pt x="598" y="349317"/>
                </a:lnTo>
                <a:lnTo>
                  <a:pt x="283" y="398222"/>
                </a:lnTo>
                <a:lnTo>
                  <a:pt x="81" y="442903"/>
                </a:lnTo>
                <a:lnTo>
                  <a:pt x="0" y="492125"/>
                </a:lnTo>
                <a:lnTo>
                  <a:pt x="486282" y="740663"/>
                </a:lnTo>
                <a:lnTo>
                  <a:pt x="486361" y="593567"/>
                </a:lnTo>
                <a:lnTo>
                  <a:pt x="486469" y="544710"/>
                </a:lnTo>
                <a:lnTo>
                  <a:pt x="486668" y="492125"/>
                </a:lnTo>
                <a:lnTo>
                  <a:pt x="486945" y="442903"/>
                </a:lnTo>
                <a:lnTo>
                  <a:pt x="487330" y="393687"/>
                </a:lnTo>
                <a:lnTo>
                  <a:pt x="487841" y="344476"/>
                </a:lnTo>
                <a:lnTo>
                  <a:pt x="488412" y="300322"/>
                </a:lnTo>
                <a:lnTo>
                  <a:pt x="489203" y="251206"/>
                </a:lnTo>
                <a:lnTo>
                  <a:pt x="2920" y="0"/>
                </a:lnTo>
                <a:close/>
              </a:path>
            </a:pathLst>
          </a:custGeom>
          <a:solidFill>
            <a:srgbClr val="90C23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1780978" y="4356758"/>
            <a:ext cx="358661" cy="724384"/>
          </a:xfrm>
          <a:custGeom>
            <a:avLst/>
            <a:gdLst/>
            <a:ahLst/>
            <a:cxnLst/>
            <a:rect l="l" t="t" r="r" b="b"/>
            <a:pathLst>
              <a:path w="487680" h="739139">
                <a:moveTo>
                  <a:pt x="487680" y="0"/>
                </a:moveTo>
                <a:lnTo>
                  <a:pt x="0" y="248919"/>
                </a:lnTo>
                <a:lnTo>
                  <a:pt x="0" y="739139"/>
                </a:lnTo>
                <a:lnTo>
                  <a:pt x="487680" y="492759"/>
                </a:lnTo>
                <a:lnTo>
                  <a:pt x="487680" y="0"/>
                </a:lnTo>
                <a:close/>
              </a:path>
            </a:pathLst>
          </a:custGeom>
          <a:solidFill>
            <a:srgbClr val="00699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1424559" y="4114799"/>
            <a:ext cx="715454" cy="488524"/>
          </a:xfrm>
          <a:custGeom>
            <a:avLst/>
            <a:gdLst/>
            <a:ahLst/>
            <a:cxnLst/>
            <a:rect l="l" t="t" r="r" b="b"/>
            <a:pathLst>
              <a:path w="972819" h="498475">
                <a:moveTo>
                  <a:pt x="482345" y="0"/>
                </a:moveTo>
                <a:lnTo>
                  <a:pt x="0" y="248284"/>
                </a:lnTo>
                <a:lnTo>
                  <a:pt x="484250" y="498347"/>
                </a:lnTo>
                <a:lnTo>
                  <a:pt x="972312" y="248284"/>
                </a:lnTo>
                <a:lnTo>
                  <a:pt x="482345" y="0"/>
                </a:lnTo>
                <a:close/>
              </a:path>
            </a:pathLst>
          </a:custGeom>
          <a:solidFill>
            <a:srgbClr val="48AA4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1704763" y="3781374"/>
            <a:ext cx="287209" cy="266354"/>
          </a:xfrm>
          <a:custGeom>
            <a:avLst/>
            <a:gdLst/>
            <a:ahLst/>
            <a:cxnLst/>
            <a:rect l="l" t="t" r="r" b="b"/>
            <a:pathLst>
              <a:path w="390525" h="271779">
                <a:moveTo>
                  <a:pt x="390144" y="173847"/>
                </a:moveTo>
                <a:lnTo>
                  <a:pt x="213868" y="173847"/>
                </a:lnTo>
                <a:lnTo>
                  <a:pt x="300608" y="271637"/>
                </a:lnTo>
                <a:lnTo>
                  <a:pt x="390144" y="173847"/>
                </a:lnTo>
                <a:close/>
              </a:path>
              <a:path w="390525" h="271779">
                <a:moveTo>
                  <a:pt x="278453" y="51599"/>
                </a:moveTo>
                <a:lnTo>
                  <a:pt x="155975" y="51599"/>
                </a:lnTo>
                <a:lnTo>
                  <a:pt x="197523" y="63043"/>
                </a:lnTo>
                <a:lnTo>
                  <a:pt x="234060" y="86471"/>
                </a:lnTo>
                <a:lnTo>
                  <a:pt x="252606" y="106606"/>
                </a:lnTo>
                <a:lnTo>
                  <a:pt x="265175" y="128206"/>
                </a:lnTo>
                <a:lnTo>
                  <a:pt x="272315" y="150782"/>
                </a:lnTo>
                <a:lnTo>
                  <a:pt x="274573" y="173847"/>
                </a:lnTo>
                <a:lnTo>
                  <a:pt x="332358" y="173847"/>
                </a:lnTo>
                <a:lnTo>
                  <a:pt x="329055" y="140844"/>
                </a:lnTo>
                <a:lnTo>
                  <a:pt x="318976" y="108330"/>
                </a:lnTo>
                <a:lnTo>
                  <a:pt x="301873" y="77745"/>
                </a:lnTo>
                <a:lnTo>
                  <a:pt x="278453" y="51599"/>
                </a:lnTo>
                <a:close/>
              </a:path>
              <a:path w="390525" h="271779">
                <a:moveTo>
                  <a:pt x="139795" y="0"/>
                </a:moveTo>
                <a:lnTo>
                  <a:pt x="89892" y="5120"/>
                </a:lnTo>
                <a:lnTo>
                  <a:pt x="42409" y="21099"/>
                </a:lnTo>
                <a:lnTo>
                  <a:pt x="0" y="47863"/>
                </a:lnTo>
                <a:lnTo>
                  <a:pt x="34670" y="91678"/>
                </a:lnTo>
                <a:lnTo>
                  <a:pt x="71208" y="65667"/>
                </a:lnTo>
                <a:lnTo>
                  <a:pt x="112756" y="52391"/>
                </a:lnTo>
                <a:lnTo>
                  <a:pt x="155975" y="51599"/>
                </a:lnTo>
                <a:lnTo>
                  <a:pt x="278453" y="51599"/>
                </a:lnTo>
                <a:lnTo>
                  <a:pt x="277494" y="50530"/>
                </a:lnTo>
                <a:lnTo>
                  <a:pt x="236249" y="22630"/>
                </a:lnTo>
                <a:lnTo>
                  <a:pt x="189465" y="5812"/>
                </a:lnTo>
                <a:lnTo>
                  <a:pt x="139795" y="0"/>
                </a:lnTo>
                <a:close/>
              </a:path>
            </a:pathLst>
          </a:custGeom>
          <a:solidFill>
            <a:srgbClr val="DADAD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1570264" y="3805629"/>
            <a:ext cx="284874" cy="265110"/>
          </a:xfrm>
          <a:custGeom>
            <a:avLst/>
            <a:gdLst/>
            <a:ahLst/>
            <a:cxnLst/>
            <a:rect l="l" t="t" r="r" b="b"/>
            <a:pathLst>
              <a:path w="387350" h="270510">
                <a:moveTo>
                  <a:pt x="114681" y="97662"/>
                </a:moveTo>
                <a:lnTo>
                  <a:pt x="57403" y="97662"/>
                </a:lnTo>
                <a:lnTo>
                  <a:pt x="60709" y="130341"/>
                </a:lnTo>
                <a:lnTo>
                  <a:pt x="88800" y="191746"/>
                </a:lnTo>
                <a:lnTo>
                  <a:pt x="155365" y="246642"/>
                </a:lnTo>
                <a:lnTo>
                  <a:pt x="201224" y="263844"/>
                </a:lnTo>
                <a:lnTo>
                  <a:pt x="249793" y="270033"/>
                </a:lnTo>
                <a:lnTo>
                  <a:pt x="298605" y="265067"/>
                </a:lnTo>
                <a:lnTo>
                  <a:pt x="345194" y="248805"/>
                </a:lnTo>
                <a:lnTo>
                  <a:pt x="387095" y="221106"/>
                </a:lnTo>
                <a:lnTo>
                  <a:pt x="385558" y="219269"/>
                </a:lnTo>
                <a:lnTo>
                  <a:pt x="232307" y="219269"/>
                </a:lnTo>
                <a:lnTo>
                  <a:pt x="191082" y="208337"/>
                </a:lnTo>
                <a:lnTo>
                  <a:pt x="154812" y="185165"/>
                </a:lnTo>
                <a:lnTo>
                  <a:pt x="136433" y="164957"/>
                </a:lnTo>
                <a:lnTo>
                  <a:pt x="123983" y="143319"/>
                </a:lnTo>
                <a:lnTo>
                  <a:pt x="116915" y="120729"/>
                </a:lnTo>
                <a:lnTo>
                  <a:pt x="114681" y="97662"/>
                </a:lnTo>
                <a:close/>
              </a:path>
              <a:path w="387350" h="270510">
                <a:moveTo>
                  <a:pt x="352678" y="179958"/>
                </a:moveTo>
                <a:lnTo>
                  <a:pt x="316409" y="204945"/>
                </a:lnTo>
                <a:lnTo>
                  <a:pt x="275184" y="218093"/>
                </a:lnTo>
                <a:lnTo>
                  <a:pt x="232307" y="219269"/>
                </a:lnTo>
                <a:lnTo>
                  <a:pt x="385558" y="219269"/>
                </a:lnTo>
                <a:lnTo>
                  <a:pt x="352678" y="179958"/>
                </a:lnTo>
                <a:close/>
              </a:path>
              <a:path w="387350" h="270510">
                <a:moveTo>
                  <a:pt x="88900" y="0"/>
                </a:moveTo>
                <a:lnTo>
                  <a:pt x="0" y="97662"/>
                </a:lnTo>
                <a:lnTo>
                  <a:pt x="174878" y="97662"/>
                </a:lnTo>
                <a:lnTo>
                  <a:pt x="88900" y="0"/>
                </a:lnTo>
                <a:close/>
              </a:path>
            </a:pathLst>
          </a:custGeom>
          <a:solidFill>
            <a:srgbClr val="DADAD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1605010" y="3064816"/>
            <a:ext cx="351189" cy="532086"/>
          </a:xfrm>
          <a:custGeom>
            <a:avLst/>
            <a:gdLst/>
            <a:ahLst/>
            <a:cxnLst/>
            <a:rect l="l" t="t" r="r" b="b"/>
            <a:pathLst>
              <a:path w="477519" h="542925">
                <a:moveTo>
                  <a:pt x="298831" y="197231"/>
                </a:moveTo>
                <a:lnTo>
                  <a:pt x="174370" y="197231"/>
                </a:lnTo>
                <a:lnTo>
                  <a:pt x="174370" y="542544"/>
                </a:lnTo>
                <a:lnTo>
                  <a:pt x="298831" y="542544"/>
                </a:lnTo>
                <a:lnTo>
                  <a:pt x="298831" y="197231"/>
                </a:lnTo>
                <a:close/>
              </a:path>
              <a:path w="477519" h="542925">
                <a:moveTo>
                  <a:pt x="239521" y="0"/>
                </a:moveTo>
                <a:lnTo>
                  <a:pt x="0" y="227964"/>
                </a:lnTo>
                <a:lnTo>
                  <a:pt x="0" y="365633"/>
                </a:lnTo>
                <a:lnTo>
                  <a:pt x="174370" y="197231"/>
                </a:lnTo>
                <a:lnTo>
                  <a:pt x="444993" y="197231"/>
                </a:lnTo>
                <a:lnTo>
                  <a:pt x="239521" y="0"/>
                </a:lnTo>
                <a:close/>
              </a:path>
              <a:path w="477519" h="542925">
                <a:moveTo>
                  <a:pt x="444993" y="197231"/>
                </a:moveTo>
                <a:lnTo>
                  <a:pt x="298831" y="197231"/>
                </a:lnTo>
                <a:lnTo>
                  <a:pt x="477012" y="365633"/>
                </a:lnTo>
                <a:lnTo>
                  <a:pt x="477012" y="227964"/>
                </a:lnTo>
                <a:lnTo>
                  <a:pt x="444993" y="197231"/>
                </a:lnTo>
                <a:close/>
              </a:path>
            </a:pathLst>
          </a:custGeom>
          <a:solidFill>
            <a:srgbClr val="DADAD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1457062" y="3541267"/>
            <a:ext cx="648206" cy="771058"/>
          </a:xfrm>
          <a:custGeom>
            <a:avLst/>
            <a:gdLst/>
            <a:ahLst/>
            <a:cxnLst/>
            <a:rect l="l" t="t" r="r" b="b"/>
            <a:pathLst>
              <a:path w="881380" h="786764">
                <a:moveTo>
                  <a:pt x="441832" y="0"/>
                </a:moveTo>
                <a:lnTo>
                  <a:pt x="391531" y="2496"/>
                </a:lnTo>
                <a:lnTo>
                  <a:pt x="342384" y="9896"/>
                </a:lnTo>
                <a:lnTo>
                  <a:pt x="294849" y="22063"/>
                </a:lnTo>
                <a:lnTo>
                  <a:pt x="249379" y="38862"/>
                </a:lnTo>
                <a:lnTo>
                  <a:pt x="206431" y="60158"/>
                </a:lnTo>
                <a:lnTo>
                  <a:pt x="166459" y="85814"/>
                </a:lnTo>
                <a:lnTo>
                  <a:pt x="129920" y="115696"/>
                </a:lnTo>
                <a:lnTo>
                  <a:pt x="91237" y="154773"/>
                </a:lnTo>
                <a:lnTo>
                  <a:pt x="59040" y="197292"/>
                </a:lnTo>
                <a:lnTo>
                  <a:pt x="33575" y="242823"/>
                </a:lnTo>
                <a:lnTo>
                  <a:pt x="15084" y="290938"/>
                </a:lnTo>
                <a:lnTo>
                  <a:pt x="3811" y="341204"/>
                </a:lnTo>
                <a:lnTo>
                  <a:pt x="0" y="393191"/>
                </a:lnTo>
                <a:lnTo>
                  <a:pt x="3811" y="445179"/>
                </a:lnTo>
                <a:lnTo>
                  <a:pt x="15084" y="495445"/>
                </a:lnTo>
                <a:lnTo>
                  <a:pt x="33575" y="543559"/>
                </a:lnTo>
                <a:lnTo>
                  <a:pt x="59040" y="589091"/>
                </a:lnTo>
                <a:lnTo>
                  <a:pt x="91237" y="631610"/>
                </a:lnTo>
                <a:lnTo>
                  <a:pt x="129920" y="670686"/>
                </a:lnTo>
                <a:lnTo>
                  <a:pt x="166459" y="700569"/>
                </a:lnTo>
                <a:lnTo>
                  <a:pt x="206431" y="726225"/>
                </a:lnTo>
                <a:lnTo>
                  <a:pt x="249379" y="747521"/>
                </a:lnTo>
                <a:lnTo>
                  <a:pt x="294849" y="764320"/>
                </a:lnTo>
                <a:lnTo>
                  <a:pt x="342384" y="776487"/>
                </a:lnTo>
                <a:lnTo>
                  <a:pt x="391531" y="783887"/>
                </a:lnTo>
                <a:lnTo>
                  <a:pt x="441832" y="786383"/>
                </a:lnTo>
                <a:lnTo>
                  <a:pt x="491100" y="783887"/>
                </a:lnTo>
                <a:lnTo>
                  <a:pt x="539505" y="776487"/>
                </a:lnTo>
                <a:lnTo>
                  <a:pt x="586544" y="764320"/>
                </a:lnTo>
                <a:lnTo>
                  <a:pt x="631712" y="747521"/>
                </a:lnTo>
                <a:lnTo>
                  <a:pt x="674505" y="726225"/>
                </a:lnTo>
                <a:lnTo>
                  <a:pt x="714420" y="700569"/>
                </a:lnTo>
                <a:lnTo>
                  <a:pt x="725799" y="691260"/>
                </a:lnTo>
                <a:lnTo>
                  <a:pt x="441832" y="691260"/>
                </a:lnTo>
                <a:lnTo>
                  <a:pt x="392380" y="688025"/>
                </a:lnTo>
                <a:lnTo>
                  <a:pt x="345162" y="678628"/>
                </a:lnTo>
                <a:lnTo>
                  <a:pt x="300700" y="663532"/>
                </a:lnTo>
                <a:lnTo>
                  <a:pt x="259515" y="643201"/>
                </a:lnTo>
                <a:lnTo>
                  <a:pt x="222130" y="618097"/>
                </a:lnTo>
                <a:lnTo>
                  <a:pt x="189065" y="588684"/>
                </a:lnTo>
                <a:lnTo>
                  <a:pt x="160843" y="555425"/>
                </a:lnTo>
                <a:lnTo>
                  <a:pt x="137984" y="518783"/>
                </a:lnTo>
                <a:lnTo>
                  <a:pt x="121011" y="479222"/>
                </a:lnTo>
                <a:lnTo>
                  <a:pt x="110445" y="437203"/>
                </a:lnTo>
                <a:lnTo>
                  <a:pt x="106806" y="393191"/>
                </a:lnTo>
                <a:lnTo>
                  <a:pt x="110445" y="349180"/>
                </a:lnTo>
                <a:lnTo>
                  <a:pt x="121011" y="307161"/>
                </a:lnTo>
                <a:lnTo>
                  <a:pt x="137984" y="267600"/>
                </a:lnTo>
                <a:lnTo>
                  <a:pt x="160843" y="230958"/>
                </a:lnTo>
                <a:lnTo>
                  <a:pt x="189065" y="197699"/>
                </a:lnTo>
                <a:lnTo>
                  <a:pt x="222130" y="168286"/>
                </a:lnTo>
                <a:lnTo>
                  <a:pt x="259515" y="143182"/>
                </a:lnTo>
                <a:lnTo>
                  <a:pt x="300700" y="122851"/>
                </a:lnTo>
                <a:lnTo>
                  <a:pt x="345162" y="107755"/>
                </a:lnTo>
                <a:lnTo>
                  <a:pt x="392380" y="98358"/>
                </a:lnTo>
                <a:lnTo>
                  <a:pt x="441832" y="95122"/>
                </a:lnTo>
                <a:lnTo>
                  <a:pt x="725799" y="95122"/>
                </a:lnTo>
                <a:lnTo>
                  <a:pt x="714420" y="85814"/>
                </a:lnTo>
                <a:lnTo>
                  <a:pt x="674505" y="60158"/>
                </a:lnTo>
                <a:lnTo>
                  <a:pt x="631712" y="38862"/>
                </a:lnTo>
                <a:lnTo>
                  <a:pt x="586544" y="22063"/>
                </a:lnTo>
                <a:lnTo>
                  <a:pt x="539505" y="9896"/>
                </a:lnTo>
                <a:lnTo>
                  <a:pt x="491100" y="2496"/>
                </a:lnTo>
                <a:lnTo>
                  <a:pt x="441832" y="0"/>
                </a:lnTo>
                <a:close/>
              </a:path>
              <a:path w="881380" h="786764">
                <a:moveTo>
                  <a:pt x="725799" y="95122"/>
                </a:moveTo>
                <a:lnTo>
                  <a:pt x="441832" y="95122"/>
                </a:lnTo>
                <a:lnTo>
                  <a:pt x="490590" y="98358"/>
                </a:lnTo>
                <a:lnTo>
                  <a:pt x="537239" y="107755"/>
                </a:lnTo>
                <a:lnTo>
                  <a:pt x="581246" y="122851"/>
                </a:lnTo>
                <a:lnTo>
                  <a:pt x="622076" y="143182"/>
                </a:lnTo>
                <a:lnTo>
                  <a:pt x="659194" y="168286"/>
                </a:lnTo>
                <a:lnTo>
                  <a:pt x="692068" y="197699"/>
                </a:lnTo>
                <a:lnTo>
                  <a:pt x="720162" y="230958"/>
                </a:lnTo>
                <a:lnTo>
                  <a:pt x="742943" y="267600"/>
                </a:lnTo>
                <a:lnTo>
                  <a:pt x="759877" y="307161"/>
                </a:lnTo>
                <a:lnTo>
                  <a:pt x="770429" y="349180"/>
                </a:lnTo>
                <a:lnTo>
                  <a:pt x="774064" y="393191"/>
                </a:lnTo>
                <a:lnTo>
                  <a:pt x="770429" y="437203"/>
                </a:lnTo>
                <a:lnTo>
                  <a:pt x="759877" y="479222"/>
                </a:lnTo>
                <a:lnTo>
                  <a:pt x="742943" y="518783"/>
                </a:lnTo>
                <a:lnTo>
                  <a:pt x="720162" y="555425"/>
                </a:lnTo>
                <a:lnTo>
                  <a:pt x="692068" y="588684"/>
                </a:lnTo>
                <a:lnTo>
                  <a:pt x="659194" y="618097"/>
                </a:lnTo>
                <a:lnTo>
                  <a:pt x="622076" y="643201"/>
                </a:lnTo>
                <a:lnTo>
                  <a:pt x="581246" y="663532"/>
                </a:lnTo>
                <a:lnTo>
                  <a:pt x="537239" y="678628"/>
                </a:lnTo>
                <a:lnTo>
                  <a:pt x="490590" y="688025"/>
                </a:lnTo>
                <a:lnTo>
                  <a:pt x="441832" y="691260"/>
                </a:lnTo>
                <a:lnTo>
                  <a:pt x="725799" y="691260"/>
                </a:lnTo>
                <a:lnTo>
                  <a:pt x="789634" y="631610"/>
                </a:lnTo>
                <a:lnTo>
                  <a:pt x="821831" y="589091"/>
                </a:lnTo>
                <a:lnTo>
                  <a:pt x="847296" y="543559"/>
                </a:lnTo>
                <a:lnTo>
                  <a:pt x="865787" y="495445"/>
                </a:lnTo>
                <a:lnTo>
                  <a:pt x="877060" y="445179"/>
                </a:lnTo>
                <a:lnTo>
                  <a:pt x="880872" y="393191"/>
                </a:lnTo>
                <a:lnTo>
                  <a:pt x="877060" y="341204"/>
                </a:lnTo>
                <a:lnTo>
                  <a:pt x="865787" y="290938"/>
                </a:lnTo>
                <a:lnTo>
                  <a:pt x="847296" y="242823"/>
                </a:lnTo>
                <a:lnTo>
                  <a:pt x="821831" y="197292"/>
                </a:lnTo>
                <a:lnTo>
                  <a:pt x="789634" y="154773"/>
                </a:lnTo>
                <a:lnTo>
                  <a:pt x="750951" y="115696"/>
                </a:lnTo>
                <a:lnTo>
                  <a:pt x="725799" y="95122"/>
                </a:lnTo>
                <a:close/>
              </a:path>
            </a:pathLst>
          </a:custGeom>
          <a:solidFill>
            <a:srgbClr val="DADAD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1825810" y="1336750"/>
            <a:ext cx="841734" cy="346508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258908" y="4437411"/>
            <a:ext cx="1130905" cy="244946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Footer Placeholder 5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91379" y="188640"/>
            <a:ext cx="5197135" cy="4320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5542627" y="921161"/>
            <a:ext cx="2358199" cy="19416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790047" y="1247881"/>
            <a:ext cx="25032" cy="3335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000201" y="1201083"/>
            <a:ext cx="1494236" cy="14574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790047" y="1498802"/>
            <a:ext cx="25032" cy="3335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000201" y="1452003"/>
            <a:ext cx="1651150" cy="14574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790047" y="1749722"/>
            <a:ext cx="25032" cy="3335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000201" y="1702924"/>
            <a:ext cx="1494236" cy="14574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790047" y="2000643"/>
            <a:ext cx="25032" cy="3335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999547" y="1958077"/>
            <a:ext cx="1057678" cy="12558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790047" y="2251564"/>
            <a:ext cx="25032" cy="333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999548" y="2204765"/>
            <a:ext cx="1074489" cy="14487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542627" y="2438634"/>
            <a:ext cx="3004444" cy="194165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793690" y="2724530"/>
            <a:ext cx="465513" cy="104549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790047" y="3016274"/>
            <a:ext cx="25032" cy="33357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000014" y="2969476"/>
            <a:ext cx="1690566" cy="145748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010195" y="3211310"/>
            <a:ext cx="1455380" cy="12620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790047" y="3486750"/>
            <a:ext cx="25032" cy="3335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003937" y="3444185"/>
            <a:ext cx="393967" cy="140645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413502" y="3504228"/>
            <a:ext cx="29880" cy="9407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452824" y="3453767"/>
            <a:ext cx="95082" cy="98576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561451" y="3504228"/>
            <a:ext cx="29880" cy="9407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6603668" y="3474055"/>
            <a:ext cx="372578" cy="110774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790047" y="3737671"/>
            <a:ext cx="25032" cy="3335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000014" y="3690873"/>
            <a:ext cx="1783594" cy="145747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785285" y="3946025"/>
            <a:ext cx="1556348" cy="108159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790047" y="4239512"/>
            <a:ext cx="25032" cy="3335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6004778" y="4192714"/>
            <a:ext cx="1464815" cy="112392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790047" y="4490433"/>
            <a:ext cx="25032" cy="33357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6009073" y="4443635"/>
            <a:ext cx="168776" cy="112392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6227634" y="4449610"/>
            <a:ext cx="161490" cy="106417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6432743" y="4445004"/>
            <a:ext cx="2044743" cy="128446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6003937" y="4662941"/>
            <a:ext cx="362865" cy="108159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410140" y="4662319"/>
            <a:ext cx="1520388" cy="126207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5790047" y="4956429"/>
            <a:ext cx="25032" cy="33357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008048" y="4909630"/>
            <a:ext cx="354458" cy="112392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6411353" y="4913241"/>
            <a:ext cx="594407" cy="126207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053676" y="4909630"/>
            <a:ext cx="332228" cy="112392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7428682" y="4913862"/>
            <a:ext cx="165974" cy="125585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790047" y="5207350"/>
            <a:ext cx="25032" cy="3335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6003937" y="5160551"/>
            <a:ext cx="1490407" cy="144877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790047" y="5458270"/>
            <a:ext cx="25032" cy="3335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005431" y="5412841"/>
            <a:ext cx="1996828" cy="143508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266061" y="2137305"/>
            <a:ext cx="1937892" cy="1474159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311455" y="2178379"/>
            <a:ext cx="1850749" cy="1357909"/>
          </a:xfrm>
          <a:custGeom>
            <a:avLst/>
            <a:gdLst/>
            <a:ahLst/>
            <a:cxnLst/>
            <a:rect l="l" t="t" r="r" b="b"/>
            <a:pathLst>
              <a:path w="2516504" h="1385570">
                <a:moveTo>
                  <a:pt x="1146809" y="0"/>
                </a:moveTo>
                <a:lnTo>
                  <a:pt x="1099045" y="1898"/>
                </a:lnTo>
                <a:lnTo>
                  <a:pt x="1052245" y="7495"/>
                </a:lnTo>
                <a:lnTo>
                  <a:pt x="1006557" y="16641"/>
                </a:lnTo>
                <a:lnTo>
                  <a:pt x="962129" y="29190"/>
                </a:lnTo>
                <a:lnTo>
                  <a:pt x="919110" y="44993"/>
                </a:lnTo>
                <a:lnTo>
                  <a:pt x="877649" y="63902"/>
                </a:lnTo>
                <a:lnTo>
                  <a:pt x="837893" y="85770"/>
                </a:lnTo>
                <a:lnTo>
                  <a:pt x="799992" y="110447"/>
                </a:lnTo>
                <a:lnTo>
                  <a:pt x="764093" y="137786"/>
                </a:lnTo>
                <a:lnTo>
                  <a:pt x="730345" y="167639"/>
                </a:lnTo>
                <a:lnTo>
                  <a:pt x="698896" y="199859"/>
                </a:lnTo>
                <a:lnTo>
                  <a:pt x="669895" y="234296"/>
                </a:lnTo>
                <a:lnTo>
                  <a:pt x="643490" y="270804"/>
                </a:lnTo>
                <a:lnTo>
                  <a:pt x="619830" y="309233"/>
                </a:lnTo>
                <a:lnTo>
                  <a:pt x="599062" y="349436"/>
                </a:lnTo>
                <a:lnTo>
                  <a:pt x="581336" y="391265"/>
                </a:lnTo>
                <a:lnTo>
                  <a:pt x="566800" y="434572"/>
                </a:lnTo>
                <a:lnTo>
                  <a:pt x="555602" y="479209"/>
                </a:lnTo>
                <a:lnTo>
                  <a:pt x="547890" y="525028"/>
                </a:lnTo>
                <a:lnTo>
                  <a:pt x="543813" y="571880"/>
                </a:lnTo>
                <a:lnTo>
                  <a:pt x="495340" y="581314"/>
                </a:lnTo>
                <a:lnTo>
                  <a:pt x="449025" y="596272"/>
                </a:lnTo>
                <a:lnTo>
                  <a:pt x="405195" y="616429"/>
                </a:lnTo>
                <a:lnTo>
                  <a:pt x="364175" y="641460"/>
                </a:lnTo>
                <a:lnTo>
                  <a:pt x="326290" y="671037"/>
                </a:lnTo>
                <a:lnTo>
                  <a:pt x="291864" y="704835"/>
                </a:lnTo>
                <a:lnTo>
                  <a:pt x="261224" y="742528"/>
                </a:lnTo>
                <a:lnTo>
                  <a:pt x="234693" y="783790"/>
                </a:lnTo>
                <a:lnTo>
                  <a:pt x="212597" y="828293"/>
                </a:lnTo>
                <a:lnTo>
                  <a:pt x="167984" y="842939"/>
                </a:lnTo>
                <a:lnTo>
                  <a:pt x="127248" y="864356"/>
                </a:lnTo>
                <a:lnTo>
                  <a:pt x="91027" y="891906"/>
                </a:lnTo>
                <a:lnTo>
                  <a:pt x="59959" y="924956"/>
                </a:lnTo>
                <a:lnTo>
                  <a:pt x="34685" y="962870"/>
                </a:lnTo>
                <a:lnTo>
                  <a:pt x="15841" y="1005012"/>
                </a:lnTo>
                <a:lnTo>
                  <a:pt x="4066" y="1050747"/>
                </a:lnTo>
                <a:lnTo>
                  <a:pt x="0" y="1099439"/>
                </a:lnTo>
                <a:lnTo>
                  <a:pt x="3751" y="1145772"/>
                </a:lnTo>
                <a:lnTo>
                  <a:pt x="14592" y="1189740"/>
                </a:lnTo>
                <a:lnTo>
                  <a:pt x="31899" y="1230749"/>
                </a:lnTo>
                <a:lnTo>
                  <a:pt x="55050" y="1268208"/>
                </a:lnTo>
                <a:lnTo>
                  <a:pt x="83423" y="1301527"/>
                </a:lnTo>
                <a:lnTo>
                  <a:pt x="116393" y="1330114"/>
                </a:lnTo>
                <a:lnTo>
                  <a:pt x="153340" y="1353378"/>
                </a:lnTo>
                <a:lnTo>
                  <a:pt x="193641" y="1370727"/>
                </a:lnTo>
                <a:lnTo>
                  <a:pt x="236673" y="1381570"/>
                </a:lnTo>
                <a:lnTo>
                  <a:pt x="281813" y="1385315"/>
                </a:lnTo>
                <a:lnTo>
                  <a:pt x="1957577" y="1385315"/>
                </a:lnTo>
                <a:lnTo>
                  <a:pt x="2005484" y="1383255"/>
                </a:lnTo>
                <a:lnTo>
                  <a:pt x="2052314" y="1377193"/>
                </a:lnTo>
                <a:lnTo>
                  <a:pt x="2097895" y="1367304"/>
                </a:lnTo>
                <a:lnTo>
                  <a:pt x="2142053" y="1353767"/>
                </a:lnTo>
                <a:lnTo>
                  <a:pt x="2184616" y="1336758"/>
                </a:lnTo>
                <a:lnTo>
                  <a:pt x="2225411" y="1316454"/>
                </a:lnTo>
                <a:lnTo>
                  <a:pt x="2264264" y="1293031"/>
                </a:lnTo>
                <a:lnTo>
                  <a:pt x="2301003" y="1266667"/>
                </a:lnTo>
                <a:lnTo>
                  <a:pt x="2335455" y="1237539"/>
                </a:lnTo>
                <a:lnTo>
                  <a:pt x="2367447" y="1205823"/>
                </a:lnTo>
                <a:lnTo>
                  <a:pt x="2396806" y="1171697"/>
                </a:lnTo>
                <a:lnTo>
                  <a:pt x="2423358" y="1135336"/>
                </a:lnTo>
                <a:lnTo>
                  <a:pt x="2446932" y="1096918"/>
                </a:lnTo>
                <a:lnTo>
                  <a:pt x="2467353" y="1056621"/>
                </a:lnTo>
                <a:lnTo>
                  <a:pt x="2484449" y="1014620"/>
                </a:lnTo>
                <a:lnTo>
                  <a:pt x="2498047" y="971092"/>
                </a:lnTo>
                <a:lnTo>
                  <a:pt x="2507974" y="926215"/>
                </a:lnTo>
                <a:lnTo>
                  <a:pt x="2514057" y="880165"/>
                </a:lnTo>
                <a:lnTo>
                  <a:pt x="2516123" y="833119"/>
                </a:lnTo>
                <a:lnTo>
                  <a:pt x="2514057" y="785351"/>
                </a:lnTo>
                <a:lnTo>
                  <a:pt x="2507974" y="738655"/>
                </a:lnTo>
                <a:lnTo>
                  <a:pt x="2498047" y="693203"/>
                </a:lnTo>
                <a:lnTo>
                  <a:pt x="2484449" y="649168"/>
                </a:lnTo>
                <a:lnTo>
                  <a:pt x="2467353" y="606723"/>
                </a:lnTo>
                <a:lnTo>
                  <a:pt x="2446932" y="566040"/>
                </a:lnTo>
                <a:lnTo>
                  <a:pt x="2423358" y="527293"/>
                </a:lnTo>
                <a:lnTo>
                  <a:pt x="2396806" y="490653"/>
                </a:lnTo>
                <a:lnTo>
                  <a:pt x="2367447" y="456293"/>
                </a:lnTo>
                <a:lnTo>
                  <a:pt x="2335455" y="424387"/>
                </a:lnTo>
                <a:lnTo>
                  <a:pt x="2301003" y="395106"/>
                </a:lnTo>
                <a:lnTo>
                  <a:pt x="2264264" y="368623"/>
                </a:lnTo>
                <a:lnTo>
                  <a:pt x="2225305" y="345058"/>
                </a:lnTo>
                <a:lnTo>
                  <a:pt x="1695577" y="345058"/>
                </a:lnTo>
                <a:lnTo>
                  <a:pt x="1672671" y="301780"/>
                </a:lnTo>
                <a:lnTo>
                  <a:pt x="1646484" y="260763"/>
                </a:lnTo>
                <a:lnTo>
                  <a:pt x="1617209" y="222160"/>
                </a:lnTo>
                <a:lnTo>
                  <a:pt x="1585039" y="186121"/>
                </a:lnTo>
                <a:lnTo>
                  <a:pt x="1550169" y="152797"/>
                </a:lnTo>
                <a:lnTo>
                  <a:pt x="1512793" y="122340"/>
                </a:lnTo>
                <a:lnTo>
                  <a:pt x="1473104" y="94900"/>
                </a:lnTo>
                <a:lnTo>
                  <a:pt x="1431297" y="70629"/>
                </a:lnTo>
                <a:lnTo>
                  <a:pt x="1387564" y="49677"/>
                </a:lnTo>
                <a:lnTo>
                  <a:pt x="1342100" y="32196"/>
                </a:lnTo>
                <a:lnTo>
                  <a:pt x="1295099" y="18337"/>
                </a:lnTo>
                <a:lnTo>
                  <a:pt x="1246754" y="8250"/>
                </a:lnTo>
                <a:lnTo>
                  <a:pt x="1197260" y="2087"/>
                </a:lnTo>
                <a:lnTo>
                  <a:pt x="1146809" y="0"/>
                </a:lnTo>
                <a:close/>
              </a:path>
              <a:path w="2516504" h="1385570">
                <a:moveTo>
                  <a:pt x="1957577" y="276097"/>
                </a:moveTo>
                <a:lnTo>
                  <a:pt x="1901824" y="279014"/>
                </a:lnTo>
                <a:lnTo>
                  <a:pt x="1847504" y="287607"/>
                </a:lnTo>
                <a:lnTo>
                  <a:pt x="1794860" y="301637"/>
                </a:lnTo>
                <a:lnTo>
                  <a:pt x="1744136" y="320867"/>
                </a:lnTo>
                <a:lnTo>
                  <a:pt x="1695577" y="345058"/>
                </a:lnTo>
                <a:lnTo>
                  <a:pt x="2225305" y="345058"/>
                </a:lnTo>
                <a:lnTo>
                  <a:pt x="2184616" y="324743"/>
                </a:lnTo>
                <a:lnTo>
                  <a:pt x="2142053" y="307691"/>
                </a:lnTo>
                <a:lnTo>
                  <a:pt x="2097895" y="294128"/>
                </a:lnTo>
                <a:lnTo>
                  <a:pt x="2052314" y="284226"/>
                </a:lnTo>
                <a:lnTo>
                  <a:pt x="2005484" y="278158"/>
                </a:lnTo>
                <a:lnTo>
                  <a:pt x="1957577" y="276097"/>
                </a:lnTo>
                <a:close/>
              </a:path>
            </a:pathLst>
          </a:custGeom>
          <a:solidFill>
            <a:srgbClr val="15ADE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3311455" y="2178379"/>
            <a:ext cx="1850749" cy="1357909"/>
          </a:xfrm>
          <a:custGeom>
            <a:avLst/>
            <a:gdLst/>
            <a:ahLst/>
            <a:cxnLst/>
            <a:rect l="l" t="t" r="r" b="b"/>
            <a:pathLst>
              <a:path w="2516504" h="1385570">
                <a:moveTo>
                  <a:pt x="1957577" y="1385315"/>
                </a:moveTo>
                <a:lnTo>
                  <a:pt x="988776" y="1385315"/>
                </a:lnTo>
                <a:lnTo>
                  <a:pt x="491283" y="1385315"/>
                </a:lnTo>
                <a:lnTo>
                  <a:pt x="307996" y="1385315"/>
                </a:lnTo>
                <a:lnTo>
                  <a:pt x="281813" y="1385315"/>
                </a:lnTo>
                <a:lnTo>
                  <a:pt x="236673" y="1381570"/>
                </a:lnTo>
                <a:lnTo>
                  <a:pt x="193641" y="1370727"/>
                </a:lnTo>
                <a:lnTo>
                  <a:pt x="153340" y="1353378"/>
                </a:lnTo>
                <a:lnTo>
                  <a:pt x="116393" y="1330114"/>
                </a:lnTo>
                <a:lnTo>
                  <a:pt x="83423" y="1301527"/>
                </a:lnTo>
                <a:lnTo>
                  <a:pt x="55050" y="1268208"/>
                </a:lnTo>
                <a:lnTo>
                  <a:pt x="31899" y="1230749"/>
                </a:lnTo>
                <a:lnTo>
                  <a:pt x="14592" y="1189740"/>
                </a:lnTo>
                <a:lnTo>
                  <a:pt x="3751" y="1145772"/>
                </a:lnTo>
                <a:lnTo>
                  <a:pt x="0" y="1099439"/>
                </a:lnTo>
                <a:lnTo>
                  <a:pt x="4066" y="1050747"/>
                </a:lnTo>
                <a:lnTo>
                  <a:pt x="15841" y="1005012"/>
                </a:lnTo>
                <a:lnTo>
                  <a:pt x="34685" y="962870"/>
                </a:lnTo>
                <a:lnTo>
                  <a:pt x="59959" y="924956"/>
                </a:lnTo>
                <a:lnTo>
                  <a:pt x="91027" y="891906"/>
                </a:lnTo>
                <a:lnTo>
                  <a:pt x="127248" y="864356"/>
                </a:lnTo>
                <a:lnTo>
                  <a:pt x="167984" y="842939"/>
                </a:lnTo>
                <a:lnTo>
                  <a:pt x="212597" y="828293"/>
                </a:lnTo>
                <a:lnTo>
                  <a:pt x="234693" y="783790"/>
                </a:lnTo>
                <a:lnTo>
                  <a:pt x="261224" y="742528"/>
                </a:lnTo>
                <a:lnTo>
                  <a:pt x="291864" y="704835"/>
                </a:lnTo>
                <a:lnTo>
                  <a:pt x="326290" y="671037"/>
                </a:lnTo>
                <a:lnTo>
                  <a:pt x="364175" y="641460"/>
                </a:lnTo>
                <a:lnTo>
                  <a:pt x="405195" y="616429"/>
                </a:lnTo>
                <a:lnTo>
                  <a:pt x="449025" y="596272"/>
                </a:lnTo>
                <a:lnTo>
                  <a:pt x="495340" y="581314"/>
                </a:lnTo>
                <a:lnTo>
                  <a:pt x="543813" y="571880"/>
                </a:lnTo>
                <a:lnTo>
                  <a:pt x="547890" y="525028"/>
                </a:lnTo>
                <a:lnTo>
                  <a:pt x="555602" y="479209"/>
                </a:lnTo>
                <a:lnTo>
                  <a:pt x="566800" y="434572"/>
                </a:lnTo>
                <a:lnTo>
                  <a:pt x="581336" y="391265"/>
                </a:lnTo>
                <a:lnTo>
                  <a:pt x="599062" y="349436"/>
                </a:lnTo>
                <a:lnTo>
                  <a:pt x="619830" y="309233"/>
                </a:lnTo>
                <a:lnTo>
                  <a:pt x="643490" y="270804"/>
                </a:lnTo>
                <a:lnTo>
                  <a:pt x="669895" y="234296"/>
                </a:lnTo>
                <a:lnTo>
                  <a:pt x="698896" y="199859"/>
                </a:lnTo>
                <a:lnTo>
                  <a:pt x="730345" y="167639"/>
                </a:lnTo>
                <a:lnTo>
                  <a:pt x="764093" y="137786"/>
                </a:lnTo>
                <a:lnTo>
                  <a:pt x="799992" y="110447"/>
                </a:lnTo>
                <a:lnTo>
                  <a:pt x="837893" y="85770"/>
                </a:lnTo>
                <a:lnTo>
                  <a:pt x="877649" y="63902"/>
                </a:lnTo>
                <a:lnTo>
                  <a:pt x="919110" y="44993"/>
                </a:lnTo>
                <a:lnTo>
                  <a:pt x="962129" y="29190"/>
                </a:lnTo>
                <a:lnTo>
                  <a:pt x="1006557" y="16641"/>
                </a:lnTo>
                <a:lnTo>
                  <a:pt x="1052245" y="7495"/>
                </a:lnTo>
                <a:lnTo>
                  <a:pt x="1099045" y="1898"/>
                </a:lnTo>
                <a:lnTo>
                  <a:pt x="1146809" y="0"/>
                </a:lnTo>
                <a:lnTo>
                  <a:pt x="1197260" y="2087"/>
                </a:lnTo>
                <a:lnTo>
                  <a:pt x="1246754" y="8250"/>
                </a:lnTo>
                <a:lnTo>
                  <a:pt x="1295099" y="18337"/>
                </a:lnTo>
                <a:lnTo>
                  <a:pt x="1342100" y="32196"/>
                </a:lnTo>
                <a:lnTo>
                  <a:pt x="1387564" y="49677"/>
                </a:lnTo>
                <a:lnTo>
                  <a:pt x="1431297" y="70629"/>
                </a:lnTo>
                <a:lnTo>
                  <a:pt x="1473104" y="94900"/>
                </a:lnTo>
                <a:lnTo>
                  <a:pt x="1512793" y="122340"/>
                </a:lnTo>
                <a:lnTo>
                  <a:pt x="1550169" y="152797"/>
                </a:lnTo>
                <a:lnTo>
                  <a:pt x="1585039" y="186121"/>
                </a:lnTo>
                <a:lnTo>
                  <a:pt x="1617209" y="222160"/>
                </a:lnTo>
                <a:lnTo>
                  <a:pt x="1646484" y="260763"/>
                </a:lnTo>
                <a:lnTo>
                  <a:pt x="1672671" y="301780"/>
                </a:lnTo>
                <a:lnTo>
                  <a:pt x="1695577" y="345058"/>
                </a:lnTo>
                <a:lnTo>
                  <a:pt x="1744136" y="320867"/>
                </a:lnTo>
                <a:lnTo>
                  <a:pt x="1794860" y="301637"/>
                </a:lnTo>
                <a:lnTo>
                  <a:pt x="1847504" y="287607"/>
                </a:lnTo>
                <a:lnTo>
                  <a:pt x="1901824" y="279014"/>
                </a:lnTo>
                <a:lnTo>
                  <a:pt x="1957577" y="276097"/>
                </a:lnTo>
                <a:lnTo>
                  <a:pt x="2005484" y="278158"/>
                </a:lnTo>
                <a:lnTo>
                  <a:pt x="2052314" y="284226"/>
                </a:lnTo>
                <a:lnTo>
                  <a:pt x="2097895" y="294128"/>
                </a:lnTo>
                <a:lnTo>
                  <a:pt x="2142053" y="307691"/>
                </a:lnTo>
                <a:lnTo>
                  <a:pt x="2184616" y="324743"/>
                </a:lnTo>
                <a:lnTo>
                  <a:pt x="2225411" y="345111"/>
                </a:lnTo>
                <a:lnTo>
                  <a:pt x="2264264" y="368623"/>
                </a:lnTo>
                <a:lnTo>
                  <a:pt x="2301003" y="395106"/>
                </a:lnTo>
                <a:lnTo>
                  <a:pt x="2335455" y="424387"/>
                </a:lnTo>
                <a:lnTo>
                  <a:pt x="2367447" y="456293"/>
                </a:lnTo>
                <a:lnTo>
                  <a:pt x="2396806" y="490653"/>
                </a:lnTo>
                <a:lnTo>
                  <a:pt x="2423358" y="527293"/>
                </a:lnTo>
                <a:lnTo>
                  <a:pt x="2446932" y="566040"/>
                </a:lnTo>
                <a:lnTo>
                  <a:pt x="2467353" y="606723"/>
                </a:lnTo>
                <a:lnTo>
                  <a:pt x="2484449" y="649168"/>
                </a:lnTo>
                <a:lnTo>
                  <a:pt x="2498047" y="693203"/>
                </a:lnTo>
                <a:lnTo>
                  <a:pt x="2507974" y="738655"/>
                </a:lnTo>
                <a:lnTo>
                  <a:pt x="2514057" y="785351"/>
                </a:lnTo>
                <a:lnTo>
                  <a:pt x="2516123" y="833119"/>
                </a:lnTo>
                <a:lnTo>
                  <a:pt x="2514057" y="880165"/>
                </a:lnTo>
                <a:lnTo>
                  <a:pt x="2507974" y="926215"/>
                </a:lnTo>
                <a:lnTo>
                  <a:pt x="2498047" y="971092"/>
                </a:lnTo>
                <a:lnTo>
                  <a:pt x="2484449" y="1014620"/>
                </a:lnTo>
                <a:lnTo>
                  <a:pt x="2467353" y="1056621"/>
                </a:lnTo>
                <a:lnTo>
                  <a:pt x="2446932" y="1096918"/>
                </a:lnTo>
                <a:lnTo>
                  <a:pt x="2423358" y="1135336"/>
                </a:lnTo>
                <a:lnTo>
                  <a:pt x="2396806" y="1171697"/>
                </a:lnTo>
                <a:lnTo>
                  <a:pt x="2367447" y="1205823"/>
                </a:lnTo>
                <a:lnTo>
                  <a:pt x="2335455" y="1237539"/>
                </a:lnTo>
                <a:lnTo>
                  <a:pt x="2301003" y="1266667"/>
                </a:lnTo>
                <a:lnTo>
                  <a:pt x="2264264" y="1293031"/>
                </a:lnTo>
                <a:lnTo>
                  <a:pt x="2225411" y="1316454"/>
                </a:lnTo>
                <a:lnTo>
                  <a:pt x="2184616" y="1336758"/>
                </a:lnTo>
                <a:lnTo>
                  <a:pt x="2142053" y="1353767"/>
                </a:lnTo>
                <a:lnTo>
                  <a:pt x="2097895" y="1367304"/>
                </a:lnTo>
                <a:lnTo>
                  <a:pt x="2052314" y="1377193"/>
                </a:lnTo>
                <a:lnTo>
                  <a:pt x="2005484" y="1383255"/>
                </a:lnTo>
                <a:lnTo>
                  <a:pt x="1957577" y="138531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573165" y="2870651"/>
            <a:ext cx="1389813" cy="428656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1026668" y="4213375"/>
            <a:ext cx="648206" cy="657173"/>
          </a:xfrm>
          <a:custGeom>
            <a:avLst/>
            <a:gdLst/>
            <a:ahLst/>
            <a:cxnLst/>
            <a:rect l="l" t="t" r="r" b="b"/>
            <a:pathLst>
              <a:path w="881380" h="670560">
                <a:moveTo>
                  <a:pt x="401701" y="597915"/>
                </a:moveTo>
                <a:lnTo>
                  <a:pt x="400049" y="600709"/>
                </a:lnTo>
                <a:lnTo>
                  <a:pt x="397764" y="602995"/>
                </a:lnTo>
                <a:lnTo>
                  <a:pt x="395097" y="604138"/>
                </a:lnTo>
                <a:lnTo>
                  <a:pt x="372491" y="617600"/>
                </a:lnTo>
                <a:lnTo>
                  <a:pt x="458851" y="667765"/>
                </a:lnTo>
                <a:lnTo>
                  <a:pt x="462153" y="670051"/>
                </a:lnTo>
                <a:lnTo>
                  <a:pt x="465963" y="670559"/>
                </a:lnTo>
                <a:lnTo>
                  <a:pt x="472566" y="670559"/>
                </a:lnTo>
                <a:lnTo>
                  <a:pt x="475868" y="670051"/>
                </a:lnTo>
                <a:lnTo>
                  <a:pt x="483108" y="665479"/>
                </a:lnTo>
                <a:lnTo>
                  <a:pt x="486409" y="660399"/>
                </a:lnTo>
                <a:lnTo>
                  <a:pt x="487426" y="654811"/>
                </a:lnTo>
                <a:lnTo>
                  <a:pt x="487426" y="630554"/>
                </a:lnTo>
                <a:lnTo>
                  <a:pt x="457199" y="630554"/>
                </a:lnTo>
                <a:lnTo>
                  <a:pt x="401701" y="597915"/>
                </a:lnTo>
                <a:close/>
              </a:path>
              <a:path w="881380" h="670560">
                <a:moveTo>
                  <a:pt x="94251" y="271906"/>
                </a:moveTo>
                <a:lnTo>
                  <a:pt x="30860" y="271906"/>
                </a:lnTo>
                <a:lnTo>
                  <a:pt x="457199" y="521334"/>
                </a:lnTo>
                <a:lnTo>
                  <a:pt x="457199" y="630554"/>
                </a:lnTo>
                <a:lnTo>
                  <a:pt x="487426" y="630554"/>
                </a:lnTo>
                <a:lnTo>
                  <a:pt x="487426" y="502157"/>
                </a:lnTo>
                <a:lnTo>
                  <a:pt x="484759" y="497204"/>
                </a:lnTo>
                <a:lnTo>
                  <a:pt x="482472" y="496061"/>
                </a:lnTo>
                <a:lnTo>
                  <a:pt x="94251" y="271906"/>
                </a:lnTo>
                <a:close/>
              </a:path>
              <a:path w="881380" h="670560">
                <a:moveTo>
                  <a:pt x="381253" y="492632"/>
                </a:moveTo>
                <a:lnTo>
                  <a:pt x="376301" y="495426"/>
                </a:lnTo>
                <a:lnTo>
                  <a:pt x="343916" y="514603"/>
                </a:lnTo>
                <a:lnTo>
                  <a:pt x="339978" y="516889"/>
                </a:lnTo>
                <a:lnTo>
                  <a:pt x="339692" y="521334"/>
                </a:lnTo>
                <a:lnTo>
                  <a:pt x="339595" y="604138"/>
                </a:lnTo>
                <a:lnTo>
                  <a:pt x="339978" y="609218"/>
                </a:lnTo>
                <a:lnTo>
                  <a:pt x="344423" y="613663"/>
                </a:lnTo>
                <a:lnTo>
                  <a:pt x="352171" y="617092"/>
                </a:lnTo>
                <a:lnTo>
                  <a:pt x="356489" y="614298"/>
                </a:lnTo>
                <a:lnTo>
                  <a:pt x="389509" y="594613"/>
                </a:lnTo>
                <a:lnTo>
                  <a:pt x="393953" y="591692"/>
                </a:lnTo>
                <a:lnTo>
                  <a:pt x="394692" y="587755"/>
                </a:lnTo>
                <a:lnTo>
                  <a:pt x="362584" y="587755"/>
                </a:lnTo>
                <a:lnTo>
                  <a:pt x="362584" y="527557"/>
                </a:lnTo>
                <a:lnTo>
                  <a:pt x="389509" y="511809"/>
                </a:lnTo>
                <a:lnTo>
                  <a:pt x="393953" y="509015"/>
                </a:lnTo>
                <a:lnTo>
                  <a:pt x="394461" y="502792"/>
                </a:lnTo>
                <a:lnTo>
                  <a:pt x="391795" y="498220"/>
                </a:lnTo>
                <a:lnTo>
                  <a:pt x="388492" y="494283"/>
                </a:lnTo>
                <a:lnTo>
                  <a:pt x="381253" y="492632"/>
                </a:lnTo>
                <a:close/>
              </a:path>
              <a:path w="881380" h="670560">
                <a:moveTo>
                  <a:pt x="880364" y="246633"/>
                </a:moveTo>
                <a:lnTo>
                  <a:pt x="491871" y="480313"/>
                </a:lnTo>
                <a:lnTo>
                  <a:pt x="497496" y="484915"/>
                </a:lnTo>
                <a:lnTo>
                  <a:pt x="501824" y="490934"/>
                </a:lnTo>
                <a:lnTo>
                  <a:pt x="504555" y="497712"/>
                </a:lnTo>
                <a:lnTo>
                  <a:pt x="504657" y="498220"/>
                </a:lnTo>
                <a:lnTo>
                  <a:pt x="505586" y="505078"/>
                </a:lnTo>
                <a:lnTo>
                  <a:pt x="505586" y="612012"/>
                </a:lnTo>
                <a:lnTo>
                  <a:pt x="867155" y="400811"/>
                </a:lnTo>
                <a:lnTo>
                  <a:pt x="872781" y="396505"/>
                </a:lnTo>
                <a:lnTo>
                  <a:pt x="877109" y="390651"/>
                </a:lnTo>
                <a:lnTo>
                  <a:pt x="879889" y="383845"/>
                </a:lnTo>
                <a:lnTo>
                  <a:pt x="880872" y="376681"/>
                </a:lnTo>
                <a:lnTo>
                  <a:pt x="880872" y="248284"/>
                </a:lnTo>
                <a:lnTo>
                  <a:pt x="880364" y="246633"/>
                </a:lnTo>
                <a:close/>
              </a:path>
              <a:path w="881380" h="670560">
                <a:moveTo>
                  <a:pt x="109981" y="429005"/>
                </a:moveTo>
                <a:lnTo>
                  <a:pt x="108331" y="431799"/>
                </a:lnTo>
                <a:lnTo>
                  <a:pt x="105663" y="434085"/>
                </a:lnTo>
                <a:lnTo>
                  <a:pt x="103378" y="435228"/>
                </a:lnTo>
                <a:lnTo>
                  <a:pt x="81406" y="448690"/>
                </a:lnTo>
                <a:lnTo>
                  <a:pt x="327914" y="591692"/>
                </a:lnTo>
                <a:lnTo>
                  <a:pt x="327914" y="555751"/>
                </a:lnTo>
                <a:lnTo>
                  <a:pt x="109981" y="429005"/>
                </a:lnTo>
                <a:close/>
              </a:path>
              <a:path w="881380" h="670560">
                <a:moveTo>
                  <a:pt x="381253" y="576579"/>
                </a:moveTo>
                <a:lnTo>
                  <a:pt x="376301" y="579373"/>
                </a:lnTo>
                <a:lnTo>
                  <a:pt x="362584" y="587755"/>
                </a:lnTo>
                <a:lnTo>
                  <a:pt x="394692" y="587755"/>
                </a:lnTo>
                <a:lnTo>
                  <a:pt x="395097" y="585596"/>
                </a:lnTo>
                <a:lnTo>
                  <a:pt x="391795" y="581659"/>
                </a:lnTo>
                <a:lnTo>
                  <a:pt x="388492" y="577087"/>
                </a:lnTo>
                <a:lnTo>
                  <a:pt x="381253" y="576579"/>
                </a:lnTo>
                <a:close/>
              </a:path>
              <a:path w="881380" h="670560">
                <a:moveTo>
                  <a:pt x="171069" y="394715"/>
                </a:moveTo>
                <a:lnTo>
                  <a:pt x="165100" y="398652"/>
                </a:lnTo>
                <a:lnTo>
                  <a:pt x="165100" y="423925"/>
                </a:lnTo>
                <a:lnTo>
                  <a:pt x="168909" y="430656"/>
                </a:lnTo>
                <a:lnTo>
                  <a:pt x="283845" y="497712"/>
                </a:lnTo>
                <a:lnTo>
                  <a:pt x="285496" y="498220"/>
                </a:lnTo>
                <a:lnTo>
                  <a:pt x="287147" y="498855"/>
                </a:lnTo>
                <a:lnTo>
                  <a:pt x="293242" y="498855"/>
                </a:lnTo>
                <a:lnTo>
                  <a:pt x="296545" y="495426"/>
                </a:lnTo>
                <a:lnTo>
                  <a:pt x="296545" y="472312"/>
                </a:lnTo>
                <a:lnTo>
                  <a:pt x="292734" y="465581"/>
                </a:lnTo>
                <a:lnTo>
                  <a:pt x="287782" y="462787"/>
                </a:lnTo>
                <a:lnTo>
                  <a:pt x="177672" y="398652"/>
                </a:lnTo>
                <a:lnTo>
                  <a:pt x="171069" y="394715"/>
                </a:lnTo>
                <a:close/>
              </a:path>
              <a:path w="881380" h="670560">
                <a:moveTo>
                  <a:pt x="481457" y="0"/>
                </a:moveTo>
                <a:lnTo>
                  <a:pt x="471551" y="0"/>
                </a:lnTo>
                <a:lnTo>
                  <a:pt x="466597" y="1142"/>
                </a:lnTo>
                <a:lnTo>
                  <a:pt x="462660" y="3428"/>
                </a:lnTo>
                <a:lnTo>
                  <a:pt x="71500" y="237616"/>
                </a:lnTo>
                <a:lnTo>
                  <a:pt x="473709" y="469518"/>
                </a:lnTo>
                <a:lnTo>
                  <a:pt x="870966" y="230250"/>
                </a:lnTo>
                <a:lnTo>
                  <a:pt x="869822" y="229107"/>
                </a:lnTo>
                <a:lnTo>
                  <a:pt x="868807" y="228599"/>
                </a:lnTo>
                <a:lnTo>
                  <a:pt x="867155" y="227456"/>
                </a:lnTo>
                <a:lnTo>
                  <a:pt x="486409" y="1142"/>
                </a:lnTo>
                <a:lnTo>
                  <a:pt x="481457" y="0"/>
                </a:lnTo>
                <a:close/>
              </a:path>
              <a:path w="881380" h="670560">
                <a:moveTo>
                  <a:pt x="89662" y="323722"/>
                </a:moveTo>
                <a:lnTo>
                  <a:pt x="84709" y="326516"/>
                </a:lnTo>
                <a:lnTo>
                  <a:pt x="52324" y="345693"/>
                </a:lnTo>
                <a:lnTo>
                  <a:pt x="48387" y="347979"/>
                </a:lnTo>
                <a:lnTo>
                  <a:pt x="47371" y="355853"/>
                </a:lnTo>
                <a:lnTo>
                  <a:pt x="47447" y="434085"/>
                </a:lnTo>
                <a:lnTo>
                  <a:pt x="48387" y="440308"/>
                </a:lnTo>
                <a:lnTo>
                  <a:pt x="52831" y="444753"/>
                </a:lnTo>
                <a:lnTo>
                  <a:pt x="59943" y="448182"/>
                </a:lnTo>
                <a:lnTo>
                  <a:pt x="64896" y="445388"/>
                </a:lnTo>
                <a:lnTo>
                  <a:pt x="97409" y="425703"/>
                </a:lnTo>
                <a:lnTo>
                  <a:pt x="102362" y="422782"/>
                </a:lnTo>
                <a:lnTo>
                  <a:pt x="103018" y="418845"/>
                </a:lnTo>
                <a:lnTo>
                  <a:pt x="70993" y="418845"/>
                </a:lnTo>
                <a:lnTo>
                  <a:pt x="70993" y="358647"/>
                </a:lnTo>
                <a:lnTo>
                  <a:pt x="97409" y="342899"/>
                </a:lnTo>
                <a:lnTo>
                  <a:pt x="102362" y="340105"/>
                </a:lnTo>
                <a:lnTo>
                  <a:pt x="102869" y="333882"/>
                </a:lnTo>
                <a:lnTo>
                  <a:pt x="99568" y="329310"/>
                </a:lnTo>
                <a:lnTo>
                  <a:pt x="96774" y="325373"/>
                </a:lnTo>
                <a:lnTo>
                  <a:pt x="89662" y="323722"/>
                </a:lnTo>
                <a:close/>
              </a:path>
              <a:path w="881380" h="670560">
                <a:moveTo>
                  <a:pt x="22606" y="230885"/>
                </a:moveTo>
                <a:lnTo>
                  <a:pt x="15366" y="230885"/>
                </a:lnTo>
                <a:lnTo>
                  <a:pt x="9397" y="234187"/>
                </a:lnTo>
                <a:lnTo>
                  <a:pt x="3302" y="238124"/>
                </a:lnTo>
                <a:lnTo>
                  <a:pt x="0" y="244347"/>
                </a:lnTo>
                <a:lnTo>
                  <a:pt x="0" y="389000"/>
                </a:lnTo>
                <a:lnTo>
                  <a:pt x="2159" y="399795"/>
                </a:lnTo>
                <a:lnTo>
                  <a:pt x="14859" y="409828"/>
                </a:lnTo>
                <a:lnTo>
                  <a:pt x="36321" y="422274"/>
                </a:lnTo>
                <a:lnTo>
                  <a:pt x="36321" y="386841"/>
                </a:lnTo>
                <a:lnTo>
                  <a:pt x="31368" y="383412"/>
                </a:lnTo>
                <a:lnTo>
                  <a:pt x="30860" y="382269"/>
                </a:lnTo>
                <a:lnTo>
                  <a:pt x="30860" y="271906"/>
                </a:lnTo>
                <a:lnTo>
                  <a:pt x="94251" y="271906"/>
                </a:lnTo>
                <a:lnTo>
                  <a:pt x="54219" y="248792"/>
                </a:lnTo>
                <a:lnTo>
                  <a:pt x="52831" y="248792"/>
                </a:lnTo>
                <a:lnTo>
                  <a:pt x="22606" y="230885"/>
                </a:lnTo>
                <a:close/>
              </a:path>
              <a:path w="881380" h="670560">
                <a:moveTo>
                  <a:pt x="89662" y="407669"/>
                </a:moveTo>
                <a:lnTo>
                  <a:pt x="84709" y="410463"/>
                </a:lnTo>
                <a:lnTo>
                  <a:pt x="70993" y="418845"/>
                </a:lnTo>
                <a:lnTo>
                  <a:pt x="103018" y="418845"/>
                </a:lnTo>
                <a:lnTo>
                  <a:pt x="103378" y="416686"/>
                </a:lnTo>
                <a:lnTo>
                  <a:pt x="100075" y="412749"/>
                </a:lnTo>
                <a:lnTo>
                  <a:pt x="96774" y="408177"/>
                </a:lnTo>
                <a:lnTo>
                  <a:pt x="89662" y="407669"/>
                </a:lnTo>
                <a:close/>
              </a:path>
              <a:path w="881380" h="670560">
                <a:moveTo>
                  <a:pt x="53340" y="248284"/>
                </a:moveTo>
                <a:lnTo>
                  <a:pt x="52831" y="248792"/>
                </a:lnTo>
                <a:lnTo>
                  <a:pt x="54219" y="248792"/>
                </a:lnTo>
                <a:lnTo>
                  <a:pt x="53340" y="248284"/>
                </a:lnTo>
                <a:close/>
              </a:path>
            </a:pathLst>
          </a:custGeom>
          <a:solidFill>
            <a:srgbClr val="A42C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617570" y="3732444"/>
            <a:ext cx="648206" cy="659040"/>
          </a:xfrm>
          <a:custGeom>
            <a:avLst/>
            <a:gdLst/>
            <a:ahLst/>
            <a:cxnLst/>
            <a:rect l="l" t="t" r="r" b="b"/>
            <a:pathLst>
              <a:path w="881380" h="672464">
                <a:moveTo>
                  <a:pt x="401650" y="599312"/>
                </a:moveTo>
                <a:lnTo>
                  <a:pt x="399999" y="602106"/>
                </a:lnTo>
                <a:lnTo>
                  <a:pt x="397789" y="604392"/>
                </a:lnTo>
                <a:lnTo>
                  <a:pt x="395046" y="605535"/>
                </a:lnTo>
                <a:lnTo>
                  <a:pt x="372491" y="618997"/>
                </a:lnTo>
                <a:lnTo>
                  <a:pt x="458850" y="669289"/>
                </a:lnTo>
                <a:lnTo>
                  <a:pt x="462153" y="671575"/>
                </a:lnTo>
                <a:lnTo>
                  <a:pt x="465963" y="672083"/>
                </a:lnTo>
                <a:lnTo>
                  <a:pt x="472566" y="672083"/>
                </a:lnTo>
                <a:lnTo>
                  <a:pt x="475869" y="671575"/>
                </a:lnTo>
                <a:lnTo>
                  <a:pt x="483107" y="667003"/>
                </a:lnTo>
                <a:lnTo>
                  <a:pt x="486409" y="661923"/>
                </a:lnTo>
                <a:lnTo>
                  <a:pt x="487425" y="656335"/>
                </a:lnTo>
                <a:lnTo>
                  <a:pt x="487425" y="632078"/>
                </a:lnTo>
                <a:lnTo>
                  <a:pt x="457200" y="632078"/>
                </a:lnTo>
                <a:lnTo>
                  <a:pt x="401650" y="599312"/>
                </a:lnTo>
                <a:close/>
              </a:path>
              <a:path w="881380" h="672464">
                <a:moveTo>
                  <a:pt x="94190" y="272541"/>
                </a:moveTo>
                <a:lnTo>
                  <a:pt x="30810" y="272541"/>
                </a:lnTo>
                <a:lnTo>
                  <a:pt x="457200" y="522604"/>
                </a:lnTo>
                <a:lnTo>
                  <a:pt x="457200" y="632078"/>
                </a:lnTo>
                <a:lnTo>
                  <a:pt x="487425" y="632078"/>
                </a:lnTo>
                <a:lnTo>
                  <a:pt x="487425" y="503300"/>
                </a:lnTo>
                <a:lnTo>
                  <a:pt x="484759" y="498220"/>
                </a:lnTo>
                <a:lnTo>
                  <a:pt x="482472" y="497204"/>
                </a:lnTo>
                <a:lnTo>
                  <a:pt x="94190" y="272541"/>
                </a:lnTo>
                <a:close/>
              </a:path>
              <a:path w="881380" h="672464">
                <a:moveTo>
                  <a:pt x="381292" y="493775"/>
                </a:moveTo>
                <a:lnTo>
                  <a:pt x="376339" y="496569"/>
                </a:lnTo>
                <a:lnTo>
                  <a:pt x="340029" y="518032"/>
                </a:lnTo>
                <a:lnTo>
                  <a:pt x="339470" y="525906"/>
                </a:lnTo>
                <a:lnTo>
                  <a:pt x="339522" y="604392"/>
                </a:lnTo>
                <a:lnTo>
                  <a:pt x="340029" y="610615"/>
                </a:lnTo>
                <a:lnTo>
                  <a:pt x="342226" y="612774"/>
                </a:lnTo>
                <a:lnTo>
                  <a:pt x="344423" y="615060"/>
                </a:lnTo>
                <a:lnTo>
                  <a:pt x="352132" y="618489"/>
                </a:lnTo>
                <a:lnTo>
                  <a:pt x="356527" y="615695"/>
                </a:lnTo>
                <a:lnTo>
                  <a:pt x="389547" y="595883"/>
                </a:lnTo>
                <a:lnTo>
                  <a:pt x="393941" y="593089"/>
                </a:lnTo>
                <a:lnTo>
                  <a:pt x="394640" y="589152"/>
                </a:lnTo>
                <a:lnTo>
                  <a:pt x="362584" y="589152"/>
                </a:lnTo>
                <a:lnTo>
                  <a:pt x="362584" y="528700"/>
                </a:lnTo>
                <a:lnTo>
                  <a:pt x="389547" y="512952"/>
                </a:lnTo>
                <a:lnTo>
                  <a:pt x="393941" y="510158"/>
                </a:lnTo>
                <a:lnTo>
                  <a:pt x="394500" y="503935"/>
                </a:lnTo>
                <a:lnTo>
                  <a:pt x="391744" y="499363"/>
                </a:lnTo>
                <a:lnTo>
                  <a:pt x="388442" y="495426"/>
                </a:lnTo>
                <a:lnTo>
                  <a:pt x="381292" y="493775"/>
                </a:lnTo>
                <a:close/>
              </a:path>
              <a:path w="881380" h="672464">
                <a:moveTo>
                  <a:pt x="880363" y="247141"/>
                </a:moveTo>
                <a:lnTo>
                  <a:pt x="491870" y="481329"/>
                </a:lnTo>
                <a:lnTo>
                  <a:pt x="497496" y="486005"/>
                </a:lnTo>
                <a:lnTo>
                  <a:pt x="501824" y="492061"/>
                </a:lnTo>
                <a:lnTo>
                  <a:pt x="504556" y="498855"/>
                </a:lnTo>
                <a:lnTo>
                  <a:pt x="504657" y="499363"/>
                </a:lnTo>
                <a:lnTo>
                  <a:pt x="505587" y="506221"/>
                </a:lnTo>
                <a:lnTo>
                  <a:pt x="505587" y="613409"/>
                </a:lnTo>
                <a:lnTo>
                  <a:pt x="867156" y="401827"/>
                </a:lnTo>
                <a:lnTo>
                  <a:pt x="872781" y="397448"/>
                </a:lnTo>
                <a:lnTo>
                  <a:pt x="877109" y="391556"/>
                </a:lnTo>
                <a:lnTo>
                  <a:pt x="879889" y="384736"/>
                </a:lnTo>
                <a:lnTo>
                  <a:pt x="880871" y="377570"/>
                </a:lnTo>
                <a:lnTo>
                  <a:pt x="880871" y="248919"/>
                </a:lnTo>
                <a:lnTo>
                  <a:pt x="880363" y="247141"/>
                </a:lnTo>
                <a:close/>
              </a:path>
              <a:path w="881380" h="672464">
                <a:moveTo>
                  <a:pt x="110045" y="430021"/>
                </a:moveTo>
                <a:lnTo>
                  <a:pt x="108394" y="432815"/>
                </a:lnTo>
                <a:lnTo>
                  <a:pt x="105638" y="435101"/>
                </a:lnTo>
                <a:lnTo>
                  <a:pt x="103441" y="436244"/>
                </a:lnTo>
                <a:lnTo>
                  <a:pt x="81432" y="449706"/>
                </a:lnTo>
                <a:lnTo>
                  <a:pt x="327913" y="593089"/>
                </a:lnTo>
                <a:lnTo>
                  <a:pt x="327913" y="557021"/>
                </a:lnTo>
                <a:lnTo>
                  <a:pt x="110045" y="430021"/>
                </a:lnTo>
                <a:close/>
              </a:path>
              <a:path w="881380" h="672464">
                <a:moveTo>
                  <a:pt x="381292" y="577849"/>
                </a:moveTo>
                <a:lnTo>
                  <a:pt x="376339" y="580643"/>
                </a:lnTo>
                <a:lnTo>
                  <a:pt x="362584" y="589152"/>
                </a:lnTo>
                <a:lnTo>
                  <a:pt x="394640" y="589152"/>
                </a:lnTo>
                <a:lnTo>
                  <a:pt x="395046" y="586866"/>
                </a:lnTo>
                <a:lnTo>
                  <a:pt x="391744" y="582929"/>
                </a:lnTo>
                <a:lnTo>
                  <a:pt x="388442" y="578357"/>
                </a:lnTo>
                <a:lnTo>
                  <a:pt x="381292" y="577849"/>
                </a:lnTo>
                <a:close/>
              </a:path>
              <a:path w="881380" h="672464">
                <a:moveTo>
                  <a:pt x="171107" y="395604"/>
                </a:moveTo>
                <a:lnTo>
                  <a:pt x="165061" y="399541"/>
                </a:lnTo>
                <a:lnTo>
                  <a:pt x="165061" y="424941"/>
                </a:lnTo>
                <a:lnTo>
                  <a:pt x="168909" y="431672"/>
                </a:lnTo>
                <a:lnTo>
                  <a:pt x="173862" y="434466"/>
                </a:lnTo>
                <a:lnTo>
                  <a:pt x="283908" y="498855"/>
                </a:lnTo>
                <a:lnTo>
                  <a:pt x="285559" y="499363"/>
                </a:lnTo>
                <a:lnTo>
                  <a:pt x="287210" y="499998"/>
                </a:lnTo>
                <a:lnTo>
                  <a:pt x="293255" y="499998"/>
                </a:lnTo>
                <a:lnTo>
                  <a:pt x="296557" y="496569"/>
                </a:lnTo>
                <a:lnTo>
                  <a:pt x="296557" y="473455"/>
                </a:lnTo>
                <a:lnTo>
                  <a:pt x="292709" y="466724"/>
                </a:lnTo>
                <a:lnTo>
                  <a:pt x="177711" y="399541"/>
                </a:lnTo>
                <a:lnTo>
                  <a:pt x="171107" y="395604"/>
                </a:lnTo>
                <a:close/>
              </a:path>
              <a:path w="881380" h="672464">
                <a:moveTo>
                  <a:pt x="481456" y="0"/>
                </a:moveTo>
                <a:lnTo>
                  <a:pt x="471550" y="0"/>
                </a:lnTo>
                <a:lnTo>
                  <a:pt x="466597" y="1142"/>
                </a:lnTo>
                <a:lnTo>
                  <a:pt x="462660" y="3428"/>
                </a:lnTo>
                <a:lnTo>
                  <a:pt x="71526" y="238124"/>
                </a:lnTo>
                <a:lnTo>
                  <a:pt x="473709" y="470661"/>
                </a:lnTo>
                <a:lnTo>
                  <a:pt x="870965" y="230758"/>
                </a:lnTo>
                <a:lnTo>
                  <a:pt x="869823" y="229615"/>
                </a:lnTo>
                <a:lnTo>
                  <a:pt x="868807" y="229107"/>
                </a:lnTo>
                <a:lnTo>
                  <a:pt x="867156" y="227964"/>
                </a:lnTo>
                <a:lnTo>
                  <a:pt x="486409" y="1142"/>
                </a:lnTo>
                <a:lnTo>
                  <a:pt x="481456" y="0"/>
                </a:lnTo>
                <a:close/>
              </a:path>
              <a:path w="881380" h="672464">
                <a:moveTo>
                  <a:pt x="89687" y="324484"/>
                </a:moveTo>
                <a:lnTo>
                  <a:pt x="84734" y="327278"/>
                </a:lnTo>
                <a:lnTo>
                  <a:pt x="48412" y="348741"/>
                </a:lnTo>
                <a:lnTo>
                  <a:pt x="47320" y="356615"/>
                </a:lnTo>
                <a:lnTo>
                  <a:pt x="47421" y="435101"/>
                </a:lnTo>
                <a:lnTo>
                  <a:pt x="48412" y="441324"/>
                </a:lnTo>
                <a:lnTo>
                  <a:pt x="50622" y="443483"/>
                </a:lnTo>
                <a:lnTo>
                  <a:pt x="52819" y="445769"/>
                </a:lnTo>
                <a:lnTo>
                  <a:pt x="59969" y="449198"/>
                </a:lnTo>
                <a:lnTo>
                  <a:pt x="64922" y="446404"/>
                </a:lnTo>
                <a:lnTo>
                  <a:pt x="97383" y="426592"/>
                </a:lnTo>
                <a:lnTo>
                  <a:pt x="102336" y="423798"/>
                </a:lnTo>
                <a:lnTo>
                  <a:pt x="103035" y="419861"/>
                </a:lnTo>
                <a:lnTo>
                  <a:pt x="70980" y="419861"/>
                </a:lnTo>
                <a:lnTo>
                  <a:pt x="70980" y="359409"/>
                </a:lnTo>
                <a:lnTo>
                  <a:pt x="97383" y="343661"/>
                </a:lnTo>
                <a:lnTo>
                  <a:pt x="102336" y="340867"/>
                </a:lnTo>
                <a:lnTo>
                  <a:pt x="102882" y="334644"/>
                </a:lnTo>
                <a:lnTo>
                  <a:pt x="99580" y="330072"/>
                </a:lnTo>
                <a:lnTo>
                  <a:pt x="96837" y="326135"/>
                </a:lnTo>
                <a:lnTo>
                  <a:pt x="89687" y="324484"/>
                </a:lnTo>
                <a:close/>
              </a:path>
              <a:path w="881380" h="672464">
                <a:moveTo>
                  <a:pt x="22555" y="231393"/>
                </a:moveTo>
                <a:lnTo>
                  <a:pt x="15405" y="231393"/>
                </a:lnTo>
                <a:lnTo>
                  <a:pt x="9347" y="234695"/>
                </a:lnTo>
                <a:lnTo>
                  <a:pt x="3301" y="238759"/>
                </a:lnTo>
                <a:lnTo>
                  <a:pt x="0" y="244855"/>
                </a:lnTo>
                <a:lnTo>
                  <a:pt x="0" y="389889"/>
                </a:lnTo>
                <a:lnTo>
                  <a:pt x="2197" y="400684"/>
                </a:lnTo>
                <a:lnTo>
                  <a:pt x="14859" y="410844"/>
                </a:lnTo>
                <a:lnTo>
                  <a:pt x="36309" y="423163"/>
                </a:lnTo>
                <a:lnTo>
                  <a:pt x="36309" y="387730"/>
                </a:lnTo>
                <a:lnTo>
                  <a:pt x="31356" y="384301"/>
                </a:lnTo>
                <a:lnTo>
                  <a:pt x="30810" y="383158"/>
                </a:lnTo>
                <a:lnTo>
                  <a:pt x="30810" y="272541"/>
                </a:lnTo>
                <a:lnTo>
                  <a:pt x="94190" y="272541"/>
                </a:lnTo>
                <a:lnTo>
                  <a:pt x="54243" y="249427"/>
                </a:lnTo>
                <a:lnTo>
                  <a:pt x="52819" y="249427"/>
                </a:lnTo>
                <a:lnTo>
                  <a:pt x="22555" y="231393"/>
                </a:lnTo>
                <a:close/>
              </a:path>
              <a:path w="881380" h="672464">
                <a:moveTo>
                  <a:pt x="89687" y="408558"/>
                </a:moveTo>
                <a:lnTo>
                  <a:pt x="84734" y="411352"/>
                </a:lnTo>
                <a:lnTo>
                  <a:pt x="70980" y="419861"/>
                </a:lnTo>
                <a:lnTo>
                  <a:pt x="103035" y="419861"/>
                </a:lnTo>
                <a:lnTo>
                  <a:pt x="103441" y="417575"/>
                </a:lnTo>
                <a:lnTo>
                  <a:pt x="100139" y="413638"/>
                </a:lnTo>
                <a:lnTo>
                  <a:pt x="96837" y="409066"/>
                </a:lnTo>
                <a:lnTo>
                  <a:pt x="89687" y="408558"/>
                </a:lnTo>
                <a:close/>
              </a:path>
              <a:path w="881380" h="672464">
                <a:moveTo>
                  <a:pt x="53365" y="248919"/>
                </a:moveTo>
                <a:lnTo>
                  <a:pt x="52819" y="249427"/>
                </a:lnTo>
                <a:lnTo>
                  <a:pt x="54243" y="249427"/>
                </a:lnTo>
                <a:lnTo>
                  <a:pt x="53365" y="248919"/>
                </a:lnTo>
                <a:close/>
              </a:path>
            </a:pathLst>
          </a:custGeom>
          <a:solidFill>
            <a:srgbClr val="0078D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1412229" y="3687637"/>
            <a:ext cx="648206" cy="659040"/>
          </a:xfrm>
          <a:custGeom>
            <a:avLst/>
            <a:gdLst/>
            <a:ahLst/>
            <a:cxnLst/>
            <a:rect l="l" t="t" r="r" b="b"/>
            <a:pathLst>
              <a:path w="881380" h="672464">
                <a:moveTo>
                  <a:pt x="401701" y="599312"/>
                </a:moveTo>
                <a:lnTo>
                  <a:pt x="400050" y="602106"/>
                </a:lnTo>
                <a:lnTo>
                  <a:pt x="397764" y="604392"/>
                </a:lnTo>
                <a:lnTo>
                  <a:pt x="395097" y="605535"/>
                </a:lnTo>
                <a:lnTo>
                  <a:pt x="372491" y="618997"/>
                </a:lnTo>
                <a:lnTo>
                  <a:pt x="458851" y="669289"/>
                </a:lnTo>
                <a:lnTo>
                  <a:pt x="462153" y="671576"/>
                </a:lnTo>
                <a:lnTo>
                  <a:pt x="465963" y="672083"/>
                </a:lnTo>
                <a:lnTo>
                  <a:pt x="472567" y="672083"/>
                </a:lnTo>
                <a:lnTo>
                  <a:pt x="475869" y="671576"/>
                </a:lnTo>
                <a:lnTo>
                  <a:pt x="483108" y="667003"/>
                </a:lnTo>
                <a:lnTo>
                  <a:pt x="486410" y="661923"/>
                </a:lnTo>
                <a:lnTo>
                  <a:pt x="487426" y="656335"/>
                </a:lnTo>
                <a:lnTo>
                  <a:pt x="487426" y="632078"/>
                </a:lnTo>
                <a:lnTo>
                  <a:pt x="457200" y="632078"/>
                </a:lnTo>
                <a:lnTo>
                  <a:pt x="401701" y="599312"/>
                </a:lnTo>
                <a:close/>
              </a:path>
              <a:path w="881380" h="672464">
                <a:moveTo>
                  <a:pt x="94167" y="272541"/>
                </a:moveTo>
                <a:lnTo>
                  <a:pt x="30861" y="272541"/>
                </a:lnTo>
                <a:lnTo>
                  <a:pt x="457200" y="522604"/>
                </a:lnTo>
                <a:lnTo>
                  <a:pt x="457200" y="632078"/>
                </a:lnTo>
                <a:lnTo>
                  <a:pt x="487426" y="632078"/>
                </a:lnTo>
                <a:lnTo>
                  <a:pt x="487426" y="503300"/>
                </a:lnTo>
                <a:lnTo>
                  <a:pt x="484759" y="498220"/>
                </a:lnTo>
                <a:lnTo>
                  <a:pt x="482473" y="497204"/>
                </a:lnTo>
                <a:lnTo>
                  <a:pt x="94167" y="272541"/>
                </a:lnTo>
                <a:close/>
              </a:path>
              <a:path w="881380" h="672464">
                <a:moveTo>
                  <a:pt x="381254" y="493775"/>
                </a:moveTo>
                <a:lnTo>
                  <a:pt x="376301" y="496569"/>
                </a:lnTo>
                <a:lnTo>
                  <a:pt x="343916" y="515746"/>
                </a:lnTo>
                <a:lnTo>
                  <a:pt x="339979" y="518032"/>
                </a:lnTo>
                <a:lnTo>
                  <a:pt x="339471" y="525906"/>
                </a:lnTo>
                <a:lnTo>
                  <a:pt x="339518" y="604392"/>
                </a:lnTo>
                <a:lnTo>
                  <a:pt x="339979" y="610615"/>
                </a:lnTo>
                <a:lnTo>
                  <a:pt x="342265" y="612774"/>
                </a:lnTo>
                <a:lnTo>
                  <a:pt x="344424" y="615060"/>
                </a:lnTo>
                <a:lnTo>
                  <a:pt x="352171" y="618489"/>
                </a:lnTo>
                <a:lnTo>
                  <a:pt x="356489" y="615695"/>
                </a:lnTo>
                <a:lnTo>
                  <a:pt x="389509" y="595883"/>
                </a:lnTo>
                <a:lnTo>
                  <a:pt x="393954" y="593089"/>
                </a:lnTo>
                <a:lnTo>
                  <a:pt x="394677" y="589152"/>
                </a:lnTo>
                <a:lnTo>
                  <a:pt x="362585" y="589152"/>
                </a:lnTo>
                <a:lnTo>
                  <a:pt x="362585" y="528701"/>
                </a:lnTo>
                <a:lnTo>
                  <a:pt x="389509" y="512952"/>
                </a:lnTo>
                <a:lnTo>
                  <a:pt x="393954" y="510158"/>
                </a:lnTo>
                <a:lnTo>
                  <a:pt x="394462" y="503935"/>
                </a:lnTo>
                <a:lnTo>
                  <a:pt x="391795" y="499363"/>
                </a:lnTo>
                <a:lnTo>
                  <a:pt x="388493" y="495426"/>
                </a:lnTo>
                <a:lnTo>
                  <a:pt x="381254" y="493775"/>
                </a:lnTo>
                <a:close/>
              </a:path>
              <a:path w="881380" h="672464">
                <a:moveTo>
                  <a:pt x="880364" y="247141"/>
                </a:moveTo>
                <a:lnTo>
                  <a:pt x="491871" y="481329"/>
                </a:lnTo>
                <a:lnTo>
                  <a:pt x="497496" y="486005"/>
                </a:lnTo>
                <a:lnTo>
                  <a:pt x="501824" y="492061"/>
                </a:lnTo>
                <a:lnTo>
                  <a:pt x="504556" y="498855"/>
                </a:lnTo>
                <a:lnTo>
                  <a:pt x="504657" y="499363"/>
                </a:lnTo>
                <a:lnTo>
                  <a:pt x="505587" y="506221"/>
                </a:lnTo>
                <a:lnTo>
                  <a:pt x="505587" y="613409"/>
                </a:lnTo>
                <a:lnTo>
                  <a:pt x="867156" y="401827"/>
                </a:lnTo>
                <a:lnTo>
                  <a:pt x="872781" y="397448"/>
                </a:lnTo>
                <a:lnTo>
                  <a:pt x="877109" y="391556"/>
                </a:lnTo>
                <a:lnTo>
                  <a:pt x="879889" y="384736"/>
                </a:lnTo>
                <a:lnTo>
                  <a:pt x="880872" y="377570"/>
                </a:lnTo>
                <a:lnTo>
                  <a:pt x="880872" y="248919"/>
                </a:lnTo>
                <a:lnTo>
                  <a:pt x="880364" y="247141"/>
                </a:lnTo>
                <a:close/>
              </a:path>
              <a:path w="881380" h="672464">
                <a:moveTo>
                  <a:pt x="109982" y="430021"/>
                </a:moveTo>
                <a:lnTo>
                  <a:pt x="108331" y="432815"/>
                </a:lnTo>
                <a:lnTo>
                  <a:pt x="105664" y="435101"/>
                </a:lnTo>
                <a:lnTo>
                  <a:pt x="103378" y="436244"/>
                </a:lnTo>
                <a:lnTo>
                  <a:pt x="81407" y="449706"/>
                </a:lnTo>
                <a:lnTo>
                  <a:pt x="327914" y="593089"/>
                </a:lnTo>
                <a:lnTo>
                  <a:pt x="327914" y="557021"/>
                </a:lnTo>
                <a:lnTo>
                  <a:pt x="109982" y="430021"/>
                </a:lnTo>
                <a:close/>
              </a:path>
              <a:path w="881380" h="672464">
                <a:moveTo>
                  <a:pt x="381254" y="577849"/>
                </a:moveTo>
                <a:lnTo>
                  <a:pt x="376301" y="580643"/>
                </a:lnTo>
                <a:lnTo>
                  <a:pt x="362585" y="589152"/>
                </a:lnTo>
                <a:lnTo>
                  <a:pt x="394677" y="589152"/>
                </a:lnTo>
                <a:lnTo>
                  <a:pt x="395097" y="586866"/>
                </a:lnTo>
                <a:lnTo>
                  <a:pt x="391795" y="582929"/>
                </a:lnTo>
                <a:lnTo>
                  <a:pt x="388493" y="578357"/>
                </a:lnTo>
                <a:lnTo>
                  <a:pt x="381254" y="577849"/>
                </a:lnTo>
                <a:close/>
              </a:path>
              <a:path w="881380" h="672464">
                <a:moveTo>
                  <a:pt x="171069" y="395604"/>
                </a:moveTo>
                <a:lnTo>
                  <a:pt x="165100" y="399541"/>
                </a:lnTo>
                <a:lnTo>
                  <a:pt x="165100" y="424941"/>
                </a:lnTo>
                <a:lnTo>
                  <a:pt x="168910" y="431672"/>
                </a:lnTo>
                <a:lnTo>
                  <a:pt x="173862" y="434466"/>
                </a:lnTo>
                <a:lnTo>
                  <a:pt x="283845" y="498855"/>
                </a:lnTo>
                <a:lnTo>
                  <a:pt x="285496" y="499363"/>
                </a:lnTo>
                <a:lnTo>
                  <a:pt x="287147" y="499998"/>
                </a:lnTo>
                <a:lnTo>
                  <a:pt x="293243" y="499998"/>
                </a:lnTo>
                <a:lnTo>
                  <a:pt x="296545" y="496569"/>
                </a:lnTo>
                <a:lnTo>
                  <a:pt x="296545" y="473455"/>
                </a:lnTo>
                <a:lnTo>
                  <a:pt x="292735" y="466724"/>
                </a:lnTo>
                <a:lnTo>
                  <a:pt x="177673" y="399541"/>
                </a:lnTo>
                <a:lnTo>
                  <a:pt x="171069" y="395604"/>
                </a:lnTo>
                <a:close/>
              </a:path>
              <a:path w="881380" h="672464">
                <a:moveTo>
                  <a:pt x="481457" y="0"/>
                </a:moveTo>
                <a:lnTo>
                  <a:pt x="471551" y="0"/>
                </a:lnTo>
                <a:lnTo>
                  <a:pt x="466598" y="1142"/>
                </a:lnTo>
                <a:lnTo>
                  <a:pt x="462661" y="3428"/>
                </a:lnTo>
                <a:lnTo>
                  <a:pt x="71501" y="238124"/>
                </a:lnTo>
                <a:lnTo>
                  <a:pt x="473710" y="470661"/>
                </a:lnTo>
                <a:lnTo>
                  <a:pt x="870966" y="230758"/>
                </a:lnTo>
                <a:lnTo>
                  <a:pt x="869823" y="229615"/>
                </a:lnTo>
                <a:lnTo>
                  <a:pt x="868807" y="229107"/>
                </a:lnTo>
                <a:lnTo>
                  <a:pt x="867156" y="227964"/>
                </a:lnTo>
                <a:lnTo>
                  <a:pt x="486410" y="1142"/>
                </a:lnTo>
                <a:lnTo>
                  <a:pt x="481457" y="0"/>
                </a:lnTo>
                <a:close/>
              </a:path>
              <a:path w="881380" h="672464">
                <a:moveTo>
                  <a:pt x="89662" y="324484"/>
                </a:moveTo>
                <a:lnTo>
                  <a:pt x="84709" y="327278"/>
                </a:lnTo>
                <a:lnTo>
                  <a:pt x="52324" y="346455"/>
                </a:lnTo>
                <a:lnTo>
                  <a:pt x="48387" y="348741"/>
                </a:lnTo>
                <a:lnTo>
                  <a:pt x="47371" y="356615"/>
                </a:lnTo>
                <a:lnTo>
                  <a:pt x="47465" y="435101"/>
                </a:lnTo>
                <a:lnTo>
                  <a:pt x="48387" y="441324"/>
                </a:lnTo>
                <a:lnTo>
                  <a:pt x="50673" y="443483"/>
                </a:lnTo>
                <a:lnTo>
                  <a:pt x="52832" y="445769"/>
                </a:lnTo>
                <a:lnTo>
                  <a:pt x="59943" y="449198"/>
                </a:lnTo>
                <a:lnTo>
                  <a:pt x="64897" y="446404"/>
                </a:lnTo>
                <a:lnTo>
                  <a:pt x="97409" y="426592"/>
                </a:lnTo>
                <a:lnTo>
                  <a:pt x="102362" y="423798"/>
                </a:lnTo>
                <a:lnTo>
                  <a:pt x="103004" y="419861"/>
                </a:lnTo>
                <a:lnTo>
                  <a:pt x="70993" y="419861"/>
                </a:lnTo>
                <a:lnTo>
                  <a:pt x="70993" y="359409"/>
                </a:lnTo>
                <a:lnTo>
                  <a:pt x="97409" y="343661"/>
                </a:lnTo>
                <a:lnTo>
                  <a:pt x="102362" y="340867"/>
                </a:lnTo>
                <a:lnTo>
                  <a:pt x="102870" y="334644"/>
                </a:lnTo>
                <a:lnTo>
                  <a:pt x="99568" y="330072"/>
                </a:lnTo>
                <a:lnTo>
                  <a:pt x="96774" y="326135"/>
                </a:lnTo>
                <a:lnTo>
                  <a:pt x="89662" y="324484"/>
                </a:lnTo>
                <a:close/>
              </a:path>
              <a:path w="881380" h="672464">
                <a:moveTo>
                  <a:pt x="22606" y="231393"/>
                </a:moveTo>
                <a:lnTo>
                  <a:pt x="15367" y="231393"/>
                </a:lnTo>
                <a:lnTo>
                  <a:pt x="9398" y="234695"/>
                </a:lnTo>
                <a:lnTo>
                  <a:pt x="3302" y="238759"/>
                </a:lnTo>
                <a:lnTo>
                  <a:pt x="0" y="244855"/>
                </a:lnTo>
                <a:lnTo>
                  <a:pt x="0" y="389889"/>
                </a:lnTo>
                <a:lnTo>
                  <a:pt x="2159" y="400684"/>
                </a:lnTo>
                <a:lnTo>
                  <a:pt x="14859" y="410844"/>
                </a:lnTo>
                <a:lnTo>
                  <a:pt x="36322" y="423163"/>
                </a:lnTo>
                <a:lnTo>
                  <a:pt x="36322" y="387730"/>
                </a:lnTo>
                <a:lnTo>
                  <a:pt x="31368" y="384301"/>
                </a:lnTo>
                <a:lnTo>
                  <a:pt x="30861" y="383158"/>
                </a:lnTo>
                <a:lnTo>
                  <a:pt x="30861" y="272541"/>
                </a:lnTo>
                <a:lnTo>
                  <a:pt x="94167" y="272541"/>
                </a:lnTo>
                <a:lnTo>
                  <a:pt x="54218" y="249427"/>
                </a:lnTo>
                <a:lnTo>
                  <a:pt x="52832" y="249427"/>
                </a:lnTo>
                <a:lnTo>
                  <a:pt x="22606" y="231393"/>
                </a:lnTo>
                <a:close/>
              </a:path>
              <a:path w="881380" h="672464">
                <a:moveTo>
                  <a:pt x="89662" y="408558"/>
                </a:moveTo>
                <a:lnTo>
                  <a:pt x="84709" y="411352"/>
                </a:lnTo>
                <a:lnTo>
                  <a:pt x="70993" y="419861"/>
                </a:lnTo>
                <a:lnTo>
                  <a:pt x="103004" y="419861"/>
                </a:lnTo>
                <a:lnTo>
                  <a:pt x="103378" y="417575"/>
                </a:lnTo>
                <a:lnTo>
                  <a:pt x="100076" y="413638"/>
                </a:lnTo>
                <a:lnTo>
                  <a:pt x="96774" y="409066"/>
                </a:lnTo>
                <a:lnTo>
                  <a:pt x="89662" y="408558"/>
                </a:lnTo>
                <a:close/>
              </a:path>
              <a:path w="881380" h="672464">
                <a:moveTo>
                  <a:pt x="53340" y="248919"/>
                </a:moveTo>
                <a:lnTo>
                  <a:pt x="52832" y="249427"/>
                </a:lnTo>
                <a:lnTo>
                  <a:pt x="54218" y="249427"/>
                </a:lnTo>
                <a:lnTo>
                  <a:pt x="53340" y="248919"/>
                </a:lnTo>
                <a:close/>
              </a:path>
            </a:pathLst>
          </a:custGeom>
          <a:solidFill>
            <a:srgbClr val="00BB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59536" y="4625602"/>
            <a:ext cx="219960" cy="412600"/>
          </a:xfrm>
          <a:custGeom>
            <a:avLst/>
            <a:gdLst/>
            <a:ahLst/>
            <a:cxnLst/>
            <a:rect l="l" t="t" r="r" b="b"/>
            <a:pathLst>
              <a:path w="299084" h="421004">
                <a:moveTo>
                  <a:pt x="149351" y="0"/>
                </a:moveTo>
                <a:lnTo>
                  <a:pt x="102329" y="9270"/>
                </a:lnTo>
                <a:lnTo>
                  <a:pt x="64408" y="34734"/>
                </a:lnTo>
                <a:lnTo>
                  <a:pt x="39088" y="72866"/>
                </a:lnTo>
                <a:lnTo>
                  <a:pt x="29870" y="120141"/>
                </a:lnTo>
                <a:lnTo>
                  <a:pt x="29870" y="180212"/>
                </a:lnTo>
                <a:lnTo>
                  <a:pt x="17327" y="199088"/>
                </a:lnTo>
                <a:lnTo>
                  <a:pt x="7934" y="221106"/>
                </a:lnTo>
                <a:lnTo>
                  <a:pt x="2041" y="245221"/>
                </a:lnTo>
                <a:lnTo>
                  <a:pt x="0" y="270382"/>
                </a:lnTo>
                <a:lnTo>
                  <a:pt x="7646" y="317756"/>
                </a:lnTo>
                <a:lnTo>
                  <a:pt x="28914" y="358984"/>
                </a:lnTo>
                <a:lnTo>
                  <a:pt x="61294" y="391550"/>
                </a:lnTo>
                <a:lnTo>
                  <a:pt x="102276" y="412935"/>
                </a:lnTo>
                <a:lnTo>
                  <a:pt x="149351" y="420623"/>
                </a:lnTo>
                <a:lnTo>
                  <a:pt x="196427" y="412935"/>
                </a:lnTo>
                <a:lnTo>
                  <a:pt x="237409" y="391550"/>
                </a:lnTo>
                <a:lnTo>
                  <a:pt x="238429" y="390524"/>
                </a:lnTo>
                <a:lnTo>
                  <a:pt x="149351" y="390524"/>
                </a:lnTo>
                <a:lnTo>
                  <a:pt x="102329" y="380736"/>
                </a:lnTo>
                <a:lnTo>
                  <a:pt x="64408" y="354409"/>
                </a:lnTo>
                <a:lnTo>
                  <a:pt x="39088" y="316104"/>
                </a:lnTo>
                <a:lnTo>
                  <a:pt x="29870" y="270382"/>
                </a:lnTo>
                <a:lnTo>
                  <a:pt x="39088" y="223107"/>
                </a:lnTo>
                <a:lnTo>
                  <a:pt x="64408" y="184975"/>
                </a:lnTo>
                <a:lnTo>
                  <a:pt x="102329" y="159511"/>
                </a:lnTo>
                <a:lnTo>
                  <a:pt x="149351" y="150240"/>
                </a:lnTo>
                <a:lnTo>
                  <a:pt x="59740" y="150240"/>
                </a:lnTo>
                <a:lnTo>
                  <a:pt x="59740" y="120141"/>
                </a:lnTo>
                <a:lnTo>
                  <a:pt x="66916" y="83891"/>
                </a:lnTo>
                <a:lnTo>
                  <a:pt x="86344" y="55403"/>
                </a:lnTo>
                <a:lnTo>
                  <a:pt x="114872" y="36774"/>
                </a:lnTo>
                <a:lnTo>
                  <a:pt x="149351" y="30098"/>
                </a:lnTo>
                <a:lnTo>
                  <a:pt x="227392" y="30098"/>
                </a:lnTo>
                <a:lnTo>
                  <a:pt x="196374" y="9270"/>
                </a:lnTo>
                <a:lnTo>
                  <a:pt x="149351" y="0"/>
                </a:lnTo>
                <a:close/>
              </a:path>
              <a:path w="299084" h="421004">
                <a:moveTo>
                  <a:pt x="227392" y="30098"/>
                </a:moveTo>
                <a:lnTo>
                  <a:pt x="149351" y="30098"/>
                </a:lnTo>
                <a:lnTo>
                  <a:pt x="183831" y="36774"/>
                </a:lnTo>
                <a:lnTo>
                  <a:pt x="212359" y="55403"/>
                </a:lnTo>
                <a:lnTo>
                  <a:pt x="231787" y="83891"/>
                </a:lnTo>
                <a:lnTo>
                  <a:pt x="238963" y="120141"/>
                </a:lnTo>
                <a:lnTo>
                  <a:pt x="238963" y="150240"/>
                </a:lnTo>
                <a:lnTo>
                  <a:pt x="149351" y="150240"/>
                </a:lnTo>
                <a:lnTo>
                  <a:pt x="196374" y="159511"/>
                </a:lnTo>
                <a:lnTo>
                  <a:pt x="234295" y="184975"/>
                </a:lnTo>
                <a:lnTo>
                  <a:pt x="259615" y="223107"/>
                </a:lnTo>
                <a:lnTo>
                  <a:pt x="268833" y="270382"/>
                </a:lnTo>
                <a:lnTo>
                  <a:pt x="259615" y="316104"/>
                </a:lnTo>
                <a:lnTo>
                  <a:pt x="234295" y="354409"/>
                </a:lnTo>
                <a:lnTo>
                  <a:pt x="196374" y="380736"/>
                </a:lnTo>
                <a:lnTo>
                  <a:pt x="149351" y="390524"/>
                </a:lnTo>
                <a:lnTo>
                  <a:pt x="238429" y="390524"/>
                </a:lnTo>
                <a:lnTo>
                  <a:pt x="269789" y="358984"/>
                </a:lnTo>
                <a:lnTo>
                  <a:pt x="291057" y="317756"/>
                </a:lnTo>
                <a:lnTo>
                  <a:pt x="298703" y="270382"/>
                </a:lnTo>
                <a:lnTo>
                  <a:pt x="296662" y="245221"/>
                </a:lnTo>
                <a:lnTo>
                  <a:pt x="290769" y="221106"/>
                </a:lnTo>
                <a:lnTo>
                  <a:pt x="281376" y="199088"/>
                </a:lnTo>
                <a:lnTo>
                  <a:pt x="268833" y="180212"/>
                </a:lnTo>
                <a:lnTo>
                  <a:pt x="268833" y="120141"/>
                </a:lnTo>
                <a:lnTo>
                  <a:pt x="259615" y="72866"/>
                </a:lnTo>
                <a:lnTo>
                  <a:pt x="234295" y="34734"/>
                </a:lnTo>
                <a:lnTo>
                  <a:pt x="227392" y="30098"/>
                </a:lnTo>
                <a:close/>
              </a:path>
              <a:path w="299084" h="421004">
                <a:moveTo>
                  <a:pt x="149351" y="225297"/>
                </a:moveTo>
                <a:lnTo>
                  <a:pt x="138383" y="227357"/>
                </a:lnTo>
                <a:lnTo>
                  <a:pt x="128816" y="233298"/>
                </a:lnTo>
                <a:lnTo>
                  <a:pt x="122048" y="242764"/>
                </a:lnTo>
                <a:lnTo>
                  <a:pt x="119481" y="255396"/>
                </a:lnTo>
                <a:lnTo>
                  <a:pt x="120765" y="263219"/>
                </a:lnTo>
                <a:lnTo>
                  <a:pt x="124148" y="269970"/>
                </a:lnTo>
                <a:lnTo>
                  <a:pt x="128932" y="276006"/>
                </a:lnTo>
                <a:lnTo>
                  <a:pt x="134416" y="281685"/>
                </a:lnTo>
                <a:lnTo>
                  <a:pt x="134416" y="330453"/>
                </a:lnTo>
                <a:lnTo>
                  <a:pt x="164287" y="330453"/>
                </a:lnTo>
                <a:lnTo>
                  <a:pt x="164287" y="281685"/>
                </a:lnTo>
                <a:lnTo>
                  <a:pt x="169771" y="276006"/>
                </a:lnTo>
                <a:lnTo>
                  <a:pt x="174555" y="269970"/>
                </a:lnTo>
                <a:lnTo>
                  <a:pt x="177938" y="263219"/>
                </a:lnTo>
                <a:lnTo>
                  <a:pt x="179222" y="255396"/>
                </a:lnTo>
                <a:lnTo>
                  <a:pt x="177180" y="242764"/>
                </a:lnTo>
                <a:lnTo>
                  <a:pt x="171288" y="233298"/>
                </a:lnTo>
                <a:lnTo>
                  <a:pt x="161895" y="227357"/>
                </a:lnTo>
                <a:lnTo>
                  <a:pt x="149351" y="225297"/>
                </a:lnTo>
                <a:close/>
              </a:path>
              <a:path w="299084" h="421004">
                <a:moveTo>
                  <a:pt x="149351" y="120141"/>
                </a:moveTo>
                <a:lnTo>
                  <a:pt x="124848" y="122201"/>
                </a:lnTo>
                <a:lnTo>
                  <a:pt x="101746" y="128142"/>
                </a:lnTo>
                <a:lnTo>
                  <a:pt x="80043" y="137608"/>
                </a:lnTo>
                <a:lnTo>
                  <a:pt x="59740" y="150240"/>
                </a:lnTo>
                <a:lnTo>
                  <a:pt x="238963" y="150240"/>
                </a:lnTo>
                <a:lnTo>
                  <a:pt x="218660" y="137608"/>
                </a:lnTo>
                <a:lnTo>
                  <a:pt x="196957" y="128142"/>
                </a:lnTo>
                <a:lnTo>
                  <a:pt x="173855" y="122201"/>
                </a:lnTo>
                <a:lnTo>
                  <a:pt x="149351" y="120141"/>
                </a:lnTo>
                <a:close/>
              </a:path>
            </a:pathLst>
          </a:custGeom>
          <a:solidFill>
            <a:srgbClr val="15ADE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853369" y="4214869"/>
            <a:ext cx="648206" cy="657173"/>
          </a:xfrm>
          <a:custGeom>
            <a:avLst/>
            <a:gdLst/>
            <a:ahLst/>
            <a:cxnLst/>
            <a:rect l="l" t="t" r="r" b="b"/>
            <a:pathLst>
              <a:path w="881379" h="670560">
                <a:moveTo>
                  <a:pt x="401700" y="597915"/>
                </a:moveTo>
                <a:lnTo>
                  <a:pt x="400050" y="600709"/>
                </a:lnTo>
                <a:lnTo>
                  <a:pt x="397763" y="602995"/>
                </a:lnTo>
                <a:lnTo>
                  <a:pt x="395097" y="604138"/>
                </a:lnTo>
                <a:lnTo>
                  <a:pt x="372490" y="617600"/>
                </a:lnTo>
                <a:lnTo>
                  <a:pt x="458850" y="667765"/>
                </a:lnTo>
                <a:lnTo>
                  <a:pt x="462152" y="670051"/>
                </a:lnTo>
                <a:lnTo>
                  <a:pt x="465963" y="670559"/>
                </a:lnTo>
                <a:lnTo>
                  <a:pt x="472566" y="670559"/>
                </a:lnTo>
                <a:lnTo>
                  <a:pt x="475868" y="670051"/>
                </a:lnTo>
                <a:lnTo>
                  <a:pt x="483108" y="665479"/>
                </a:lnTo>
                <a:lnTo>
                  <a:pt x="486410" y="660399"/>
                </a:lnTo>
                <a:lnTo>
                  <a:pt x="487425" y="654811"/>
                </a:lnTo>
                <a:lnTo>
                  <a:pt x="487425" y="630554"/>
                </a:lnTo>
                <a:lnTo>
                  <a:pt x="457200" y="630554"/>
                </a:lnTo>
                <a:lnTo>
                  <a:pt x="401700" y="597915"/>
                </a:lnTo>
                <a:close/>
              </a:path>
              <a:path w="881379" h="670560">
                <a:moveTo>
                  <a:pt x="94251" y="271906"/>
                </a:moveTo>
                <a:lnTo>
                  <a:pt x="30861" y="271906"/>
                </a:lnTo>
                <a:lnTo>
                  <a:pt x="457200" y="521334"/>
                </a:lnTo>
                <a:lnTo>
                  <a:pt x="457200" y="630554"/>
                </a:lnTo>
                <a:lnTo>
                  <a:pt x="487425" y="630554"/>
                </a:lnTo>
                <a:lnTo>
                  <a:pt x="487425" y="502157"/>
                </a:lnTo>
                <a:lnTo>
                  <a:pt x="484759" y="497204"/>
                </a:lnTo>
                <a:lnTo>
                  <a:pt x="482473" y="496061"/>
                </a:lnTo>
                <a:lnTo>
                  <a:pt x="94251" y="271906"/>
                </a:lnTo>
                <a:close/>
              </a:path>
              <a:path w="881379" h="670560">
                <a:moveTo>
                  <a:pt x="381253" y="492632"/>
                </a:moveTo>
                <a:lnTo>
                  <a:pt x="376300" y="495426"/>
                </a:lnTo>
                <a:lnTo>
                  <a:pt x="343915" y="514603"/>
                </a:lnTo>
                <a:lnTo>
                  <a:pt x="339978" y="516889"/>
                </a:lnTo>
                <a:lnTo>
                  <a:pt x="339692" y="521334"/>
                </a:lnTo>
                <a:lnTo>
                  <a:pt x="339595" y="604138"/>
                </a:lnTo>
                <a:lnTo>
                  <a:pt x="339978" y="609218"/>
                </a:lnTo>
                <a:lnTo>
                  <a:pt x="344424" y="613663"/>
                </a:lnTo>
                <a:lnTo>
                  <a:pt x="352171" y="617092"/>
                </a:lnTo>
                <a:lnTo>
                  <a:pt x="356488" y="614298"/>
                </a:lnTo>
                <a:lnTo>
                  <a:pt x="389509" y="594613"/>
                </a:lnTo>
                <a:lnTo>
                  <a:pt x="393953" y="591692"/>
                </a:lnTo>
                <a:lnTo>
                  <a:pt x="394692" y="587755"/>
                </a:lnTo>
                <a:lnTo>
                  <a:pt x="362585" y="587755"/>
                </a:lnTo>
                <a:lnTo>
                  <a:pt x="362585" y="527557"/>
                </a:lnTo>
                <a:lnTo>
                  <a:pt x="389509" y="511809"/>
                </a:lnTo>
                <a:lnTo>
                  <a:pt x="393953" y="509015"/>
                </a:lnTo>
                <a:lnTo>
                  <a:pt x="394462" y="502792"/>
                </a:lnTo>
                <a:lnTo>
                  <a:pt x="391795" y="498220"/>
                </a:lnTo>
                <a:lnTo>
                  <a:pt x="388492" y="494283"/>
                </a:lnTo>
                <a:lnTo>
                  <a:pt x="381253" y="492632"/>
                </a:lnTo>
                <a:close/>
              </a:path>
              <a:path w="881379" h="670560">
                <a:moveTo>
                  <a:pt x="880363" y="246633"/>
                </a:moveTo>
                <a:lnTo>
                  <a:pt x="491871" y="480313"/>
                </a:lnTo>
                <a:lnTo>
                  <a:pt x="497496" y="484915"/>
                </a:lnTo>
                <a:lnTo>
                  <a:pt x="501824" y="490934"/>
                </a:lnTo>
                <a:lnTo>
                  <a:pt x="504555" y="497712"/>
                </a:lnTo>
                <a:lnTo>
                  <a:pt x="504657" y="498220"/>
                </a:lnTo>
                <a:lnTo>
                  <a:pt x="505587" y="505078"/>
                </a:lnTo>
                <a:lnTo>
                  <a:pt x="505587" y="612012"/>
                </a:lnTo>
                <a:lnTo>
                  <a:pt x="867155" y="400811"/>
                </a:lnTo>
                <a:lnTo>
                  <a:pt x="872781" y="396505"/>
                </a:lnTo>
                <a:lnTo>
                  <a:pt x="877109" y="390651"/>
                </a:lnTo>
                <a:lnTo>
                  <a:pt x="879889" y="383845"/>
                </a:lnTo>
                <a:lnTo>
                  <a:pt x="880872" y="376681"/>
                </a:lnTo>
                <a:lnTo>
                  <a:pt x="880872" y="248284"/>
                </a:lnTo>
                <a:lnTo>
                  <a:pt x="880363" y="246633"/>
                </a:lnTo>
                <a:close/>
              </a:path>
              <a:path w="881379" h="670560">
                <a:moveTo>
                  <a:pt x="109982" y="429005"/>
                </a:moveTo>
                <a:lnTo>
                  <a:pt x="108330" y="431799"/>
                </a:lnTo>
                <a:lnTo>
                  <a:pt x="105663" y="434085"/>
                </a:lnTo>
                <a:lnTo>
                  <a:pt x="103377" y="435228"/>
                </a:lnTo>
                <a:lnTo>
                  <a:pt x="81407" y="448690"/>
                </a:lnTo>
                <a:lnTo>
                  <a:pt x="327913" y="591692"/>
                </a:lnTo>
                <a:lnTo>
                  <a:pt x="327913" y="555751"/>
                </a:lnTo>
                <a:lnTo>
                  <a:pt x="109982" y="429005"/>
                </a:lnTo>
                <a:close/>
              </a:path>
              <a:path w="881379" h="670560">
                <a:moveTo>
                  <a:pt x="381253" y="576579"/>
                </a:moveTo>
                <a:lnTo>
                  <a:pt x="376300" y="579373"/>
                </a:lnTo>
                <a:lnTo>
                  <a:pt x="362585" y="587755"/>
                </a:lnTo>
                <a:lnTo>
                  <a:pt x="394692" y="587755"/>
                </a:lnTo>
                <a:lnTo>
                  <a:pt x="395097" y="585596"/>
                </a:lnTo>
                <a:lnTo>
                  <a:pt x="391795" y="581659"/>
                </a:lnTo>
                <a:lnTo>
                  <a:pt x="388492" y="577087"/>
                </a:lnTo>
                <a:lnTo>
                  <a:pt x="381253" y="576579"/>
                </a:lnTo>
                <a:close/>
              </a:path>
              <a:path w="881379" h="670560">
                <a:moveTo>
                  <a:pt x="171068" y="394715"/>
                </a:moveTo>
                <a:lnTo>
                  <a:pt x="165100" y="398652"/>
                </a:lnTo>
                <a:lnTo>
                  <a:pt x="165100" y="423925"/>
                </a:lnTo>
                <a:lnTo>
                  <a:pt x="168910" y="430656"/>
                </a:lnTo>
                <a:lnTo>
                  <a:pt x="283845" y="497712"/>
                </a:lnTo>
                <a:lnTo>
                  <a:pt x="285496" y="498220"/>
                </a:lnTo>
                <a:lnTo>
                  <a:pt x="287147" y="498855"/>
                </a:lnTo>
                <a:lnTo>
                  <a:pt x="293242" y="498855"/>
                </a:lnTo>
                <a:lnTo>
                  <a:pt x="296545" y="495426"/>
                </a:lnTo>
                <a:lnTo>
                  <a:pt x="296545" y="472312"/>
                </a:lnTo>
                <a:lnTo>
                  <a:pt x="292735" y="465581"/>
                </a:lnTo>
                <a:lnTo>
                  <a:pt x="287782" y="462787"/>
                </a:lnTo>
                <a:lnTo>
                  <a:pt x="177673" y="398652"/>
                </a:lnTo>
                <a:lnTo>
                  <a:pt x="171068" y="394715"/>
                </a:lnTo>
                <a:close/>
              </a:path>
              <a:path w="881379" h="670560">
                <a:moveTo>
                  <a:pt x="481457" y="0"/>
                </a:moveTo>
                <a:lnTo>
                  <a:pt x="471550" y="0"/>
                </a:lnTo>
                <a:lnTo>
                  <a:pt x="466598" y="1142"/>
                </a:lnTo>
                <a:lnTo>
                  <a:pt x="462661" y="3428"/>
                </a:lnTo>
                <a:lnTo>
                  <a:pt x="71500" y="237616"/>
                </a:lnTo>
                <a:lnTo>
                  <a:pt x="473710" y="469518"/>
                </a:lnTo>
                <a:lnTo>
                  <a:pt x="870965" y="230250"/>
                </a:lnTo>
                <a:lnTo>
                  <a:pt x="869823" y="229107"/>
                </a:lnTo>
                <a:lnTo>
                  <a:pt x="868807" y="228599"/>
                </a:lnTo>
                <a:lnTo>
                  <a:pt x="867155" y="227456"/>
                </a:lnTo>
                <a:lnTo>
                  <a:pt x="486410" y="1142"/>
                </a:lnTo>
                <a:lnTo>
                  <a:pt x="481457" y="0"/>
                </a:lnTo>
                <a:close/>
              </a:path>
              <a:path w="881379" h="670560">
                <a:moveTo>
                  <a:pt x="89662" y="323722"/>
                </a:moveTo>
                <a:lnTo>
                  <a:pt x="84709" y="326516"/>
                </a:lnTo>
                <a:lnTo>
                  <a:pt x="52324" y="345693"/>
                </a:lnTo>
                <a:lnTo>
                  <a:pt x="48387" y="347979"/>
                </a:lnTo>
                <a:lnTo>
                  <a:pt x="47371" y="355853"/>
                </a:lnTo>
                <a:lnTo>
                  <a:pt x="47447" y="434085"/>
                </a:lnTo>
                <a:lnTo>
                  <a:pt x="48387" y="440308"/>
                </a:lnTo>
                <a:lnTo>
                  <a:pt x="52832" y="444753"/>
                </a:lnTo>
                <a:lnTo>
                  <a:pt x="59943" y="448182"/>
                </a:lnTo>
                <a:lnTo>
                  <a:pt x="64897" y="445388"/>
                </a:lnTo>
                <a:lnTo>
                  <a:pt x="97409" y="425703"/>
                </a:lnTo>
                <a:lnTo>
                  <a:pt x="102362" y="422782"/>
                </a:lnTo>
                <a:lnTo>
                  <a:pt x="103018" y="418845"/>
                </a:lnTo>
                <a:lnTo>
                  <a:pt x="70992" y="418845"/>
                </a:lnTo>
                <a:lnTo>
                  <a:pt x="70992" y="358647"/>
                </a:lnTo>
                <a:lnTo>
                  <a:pt x="97409" y="342899"/>
                </a:lnTo>
                <a:lnTo>
                  <a:pt x="102362" y="340105"/>
                </a:lnTo>
                <a:lnTo>
                  <a:pt x="102870" y="333882"/>
                </a:lnTo>
                <a:lnTo>
                  <a:pt x="99567" y="329310"/>
                </a:lnTo>
                <a:lnTo>
                  <a:pt x="96774" y="325373"/>
                </a:lnTo>
                <a:lnTo>
                  <a:pt x="89662" y="323722"/>
                </a:lnTo>
                <a:close/>
              </a:path>
              <a:path w="881379" h="670560">
                <a:moveTo>
                  <a:pt x="22605" y="230885"/>
                </a:moveTo>
                <a:lnTo>
                  <a:pt x="15366" y="230885"/>
                </a:lnTo>
                <a:lnTo>
                  <a:pt x="9398" y="234187"/>
                </a:lnTo>
                <a:lnTo>
                  <a:pt x="3301" y="238124"/>
                </a:lnTo>
                <a:lnTo>
                  <a:pt x="0" y="244347"/>
                </a:lnTo>
                <a:lnTo>
                  <a:pt x="0" y="389000"/>
                </a:lnTo>
                <a:lnTo>
                  <a:pt x="2159" y="399795"/>
                </a:lnTo>
                <a:lnTo>
                  <a:pt x="14859" y="409828"/>
                </a:lnTo>
                <a:lnTo>
                  <a:pt x="36322" y="422274"/>
                </a:lnTo>
                <a:lnTo>
                  <a:pt x="36322" y="386841"/>
                </a:lnTo>
                <a:lnTo>
                  <a:pt x="31368" y="383412"/>
                </a:lnTo>
                <a:lnTo>
                  <a:pt x="30861" y="382269"/>
                </a:lnTo>
                <a:lnTo>
                  <a:pt x="30861" y="271906"/>
                </a:lnTo>
                <a:lnTo>
                  <a:pt x="94251" y="271906"/>
                </a:lnTo>
                <a:lnTo>
                  <a:pt x="54219" y="248792"/>
                </a:lnTo>
                <a:lnTo>
                  <a:pt x="52832" y="248792"/>
                </a:lnTo>
                <a:lnTo>
                  <a:pt x="22605" y="230885"/>
                </a:lnTo>
                <a:close/>
              </a:path>
              <a:path w="881379" h="670560">
                <a:moveTo>
                  <a:pt x="89662" y="407669"/>
                </a:moveTo>
                <a:lnTo>
                  <a:pt x="84709" y="410463"/>
                </a:lnTo>
                <a:lnTo>
                  <a:pt x="70992" y="418845"/>
                </a:lnTo>
                <a:lnTo>
                  <a:pt x="103018" y="418845"/>
                </a:lnTo>
                <a:lnTo>
                  <a:pt x="103377" y="416686"/>
                </a:lnTo>
                <a:lnTo>
                  <a:pt x="100075" y="412749"/>
                </a:lnTo>
                <a:lnTo>
                  <a:pt x="96774" y="408177"/>
                </a:lnTo>
                <a:lnTo>
                  <a:pt x="89662" y="407669"/>
                </a:lnTo>
                <a:close/>
              </a:path>
              <a:path w="881379" h="670560">
                <a:moveTo>
                  <a:pt x="53339" y="248284"/>
                </a:moveTo>
                <a:lnTo>
                  <a:pt x="52832" y="248792"/>
                </a:lnTo>
                <a:lnTo>
                  <a:pt x="54219" y="248792"/>
                </a:lnTo>
                <a:lnTo>
                  <a:pt x="53339" y="248284"/>
                </a:lnTo>
                <a:close/>
              </a:path>
            </a:pathLst>
          </a:custGeom>
          <a:solidFill>
            <a:srgbClr val="000000">
              <a:alpha val="12156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3443150" y="3733939"/>
            <a:ext cx="648206" cy="659040"/>
          </a:xfrm>
          <a:custGeom>
            <a:avLst/>
            <a:gdLst/>
            <a:ahLst/>
            <a:cxnLst/>
            <a:rect l="l" t="t" r="r" b="b"/>
            <a:pathLst>
              <a:path w="881379" h="672464">
                <a:moveTo>
                  <a:pt x="401700" y="599313"/>
                </a:moveTo>
                <a:lnTo>
                  <a:pt x="400050" y="602107"/>
                </a:lnTo>
                <a:lnTo>
                  <a:pt x="397763" y="604393"/>
                </a:lnTo>
                <a:lnTo>
                  <a:pt x="395097" y="605536"/>
                </a:lnTo>
                <a:lnTo>
                  <a:pt x="372491" y="618998"/>
                </a:lnTo>
                <a:lnTo>
                  <a:pt x="458850" y="669290"/>
                </a:lnTo>
                <a:lnTo>
                  <a:pt x="462152" y="671576"/>
                </a:lnTo>
                <a:lnTo>
                  <a:pt x="465963" y="672084"/>
                </a:lnTo>
                <a:lnTo>
                  <a:pt x="472567" y="672084"/>
                </a:lnTo>
                <a:lnTo>
                  <a:pt x="475869" y="671576"/>
                </a:lnTo>
                <a:lnTo>
                  <a:pt x="483108" y="667004"/>
                </a:lnTo>
                <a:lnTo>
                  <a:pt x="486410" y="661924"/>
                </a:lnTo>
                <a:lnTo>
                  <a:pt x="487425" y="656336"/>
                </a:lnTo>
                <a:lnTo>
                  <a:pt x="487425" y="632079"/>
                </a:lnTo>
                <a:lnTo>
                  <a:pt x="457200" y="632079"/>
                </a:lnTo>
                <a:lnTo>
                  <a:pt x="401700" y="599313"/>
                </a:lnTo>
                <a:close/>
              </a:path>
              <a:path w="881379" h="672464">
                <a:moveTo>
                  <a:pt x="94167" y="272542"/>
                </a:moveTo>
                <a:lnTo>
                  <a:pt x="30861" y="272542"/>
                </a:lnTo>
                <a:lnTo>
                  <a:pt x="457200" y="522605"/>
                </a:lnTo>
                <a:lnTo>
                  <a:pt x="457200" y="632079"/>
                </a:lnTo>
                <a:lnTo>
                  <a:pt x="487425" y="632079"/>
                </a:lnTo>
                <a:lnTo>
                  <a:pt x="487425" y="503301"/>
                </a:lnTo>
                <a:lnTo>
                  <a:pt x="484759" y="498221"/>
                </a:lnTo>
                <a:lnTo>
                  <a:pt x="482473" y="497205"/>
                </a:lnTo>
                <a:lnTo>
                  <a:pt x="94167" y="272542"/>
                </a:lnTo>
                <a:close/>
              </a:path>
              <a:path w="881379" h="672464">
                <a:moveTo>
                  <a:pt x="381254" y="493776"/>
                </a:moveTo>
                <a:lnTo>
                  <a:pt x="376300" y="496570"/>
                </a:lnTo>
                <a:lnTo>
                  <a:pt x="343916" y="515747"/>
                </a:lnTo>
                <a:lnTo>
                  <a:pt x="339979" y="518033"/>
                </a:lnTo>
                <a:lnTo>
                  <a:pt x="339471" y="525907"/>
                </a:lnTo>
                <a:lnTo>
                  <a:pt x="339518" y="604393"/>
                </a:lnTo>
                <a:lnTo>
                  <a:pt x="339979" y="610616"/>
                </a:lnTo>
                <a:lnTo>
                  <a:pt x="342264" y="612775"/>
                </a:lnTo>
                <a:lnTo>
                  <a:pt x="344424" y="615061"/>
                </a:lnTo>
                <a:lnTo>
                  <a:pt x="352171" y="618490"/>
                </a:lnTo>
                <a:lnTo>
                  <a:pt x="356488" y="615696"/>
                </a:lnTo>
                <a:lnTo>
                  <a:pt x="389509" y="595884"/>
                </a:lnTo>
                <a:lnTo>
                  <a:pt x="393954" y="593090"/>
                </a:lnTo>
                <a:lnTo>
                  <a:pt x="394677" y="589153"/>
                </a:lnTo>
                <a:lnTo>
                  <a:pt x="362585" y="589153"/>
                </a:lnTo>
                <a:lnTo>
                  <a:pt x="362585" y="528701"/>
                </a:lnTo>
                <a:lnTo>
                  <a:pt x="389509" y="512953"/>
                </a:lnTo>
                <a:lnTo>
                  <a:pt x="393954" y="510159"/>
                </a:lnTo>
                <a:lnTo>
                  <a:pt x="394462" y="503936"/>
                </a:lnTo>
                <a:lnTo>
                  <a:pt x="391795" y="499364"/>
                </a:lnTo>
                <a:lnTo>
                  <a:pt x="388493" y="495427"/>
                </a:lnTo>
                <a:lnTo>
                  <a:pt x="381254" y="493776"/>
                </a:lnTo>
                <a:close/>
              </a:path>
              <a:path w="881379" h="672464">
                <a:moveTo>
                  <a:pt x="880363" y="247142"/>
                </a:moveTo>
                <a:lnTo>
                  <a:pt x="491871" y="481330"/>
                </a:lnTo>
                <a:lnTo>
                  <a:pt x="497496" y="486005"/>
                </a:lnTo>
                <a:lnTo>
                  <a:pt x="501824" y="492061"/>
                </a:lnTo>
                <a:lnTo>
                  <a:pt x="504556" y="498856"/>
                </a:lnTo>
                <a:lnTo>
                  <a:pt x="504657" y="499364"/>
                </a:lnTo>
                <a:lnTo>
                  <a:pt x="505587" y="506222"/>
                </a:lnTo>
                <a:lnTo>
                  <a:pt x="505587" y="613410"/>
                </a:lnTo>
                <a:lnTo>
                  <a:pt x="867156" y="401828"/>
                </a:lnTo>
                <a:lnTo>
                  <a:pt x="872781" y="397448"/>
                </a:lnTo>
                <a:lnTo>
                  <a:pt x="877109" y="391556"/>
                </a:lnTo>
                <a:lnTo>
                  <a:pt x="879889" y="384736"/>
                </a:lnTo>
                <a:lnTo>
                  <a:pt x="880872" y="377571"/>
                </a:lnTo>
                <a:lnTo>
                  <a:pt x="880872" y="248920"/>
                </a:lnTo>
                <a:lnTo>
                  <a:pt x="880363" y="247142"/>
                </a:lnTo>
                <a:close/>
              </a:path>
              <a:path w="881379" h="672464">
                <a:moveTo>
                  <a:pt x="109982" y="430022"/>
                </a:moveTo>
                <a:lnTo>
                  <a:pt x="108331" y="432816"/>
                </a:lnTo>
                <a:lnTo>
                  <a:pt x="105663" y="435102"/>
                </a:lnTo>
                <a:lnTo>
                  <a:pt x="103377" y="436245"/>
                </a:lnTo>
                <a:lnTo>
                  <a:pt x="81407" y="449707"/>
                </a:lnTo>
                <a:lnTo>
                  <a:pt x="327913" y="593090"/>
                </a:lnTo>
                <a:lnTo>
                  <a:pt x="327913" y="557022"/>
                </a:lnTo>
                <a:lnTo>
                  <a:pt x="109982" y="430022"/>
                </a:lnTo>
                <a:close/>
              </a:path>
              <a:path w="881379" h="672464">
                <a:moveTo>
                  <a:pt x="381254" y="577850"/>
                </a:moveTo>
                <a:lnTo>
                  <a:pt x="376300" y="580644"/>
                </a:lnTo>
                <a:lnTo>
                  <a:pt x="362585" y="589153"/>
                </a:lnTo>
                <a:lnTo>
                  <a:pt x="394677" y="589153"/>
                </a:lnTo>
                <a:lnTo>
                  <a:pt x="395097" y="586867"/>
                </a:lnTo>
                <a:lnTo>
                  <a:pt x="391795" y="582930"/>
                </a:lnTo>
                <a:lnTo>
                  <a:pt x="388493" y="578358"/>
                </a:lnTo>
                <a:lnTo>
                  <a:pt x="381254" y="577850"/>
                </a:lnTo>
                <a:close/>
              </a:path>
              <a:path w="881379" h="672464">
                <a:moveTo>
                  <a:pt x="171069" y="395605"/>
                </a:moveTo>
                <a:lnTo>
                  <a:pt x="165100" y="399542"/>
                </a:lnTo>
                <a:lnTo>
                  <a:pt x="165100" y="424942"/>
                </a:lnTo>
                <a:lnTo>
                  <a:pt x="168910" y="431673"/>
                </a:lnTo>
                <a:lnTo>
                  <a:pt x="173862" y="434467"/>
                </a:lnTo>
                <a:lnTo>
                  <a:pt x="283845" y="498856"/>
                </a:lnTo>
                <a:lnTo>
                  <a:pt x="285496" y="499364"/>
                </a:lnTo>
                <a:lnTo>
                  <a:pt x="287147" y="499999"/>
                </a:lnTo>
                <a:lnTo>
                  <a:pt x="293243" y="499999"/>
                </a:lnTo>
                <a:lnTo>
                  <a:pt x="296545" y="496570"/>
                </a:lnTo>
                <a:lnTo>
                  <a:pt x="296545" y="473456"/>
                </a:lnTo>
                <a:lnTo>
                  <a:pt x="292735" y="466725"/>
                </a:lnTo>
                <a:lnTo>
                  <a:pt x="177673" y="399542"/>
                </a:lnTo>
                <a:lnTo>
                  <a:pt x="171069" y="395605"/>
                </a:lnTo>
                <a:close/>
              </a:path>
              <a:path w="881379" h="672464">
                <a:moveTo>
                  <a:pt x="481457" y="0"/>
                </a:moveTo>
                <a:lnTo>
                  <a:pt x="471550" y="0"/>
                </a:lnTo>
                <a:lnTo>
                  <a:pt x="466598" y="1143"/>
                </a:lnTo>
                <a:lnTo>
                  <a:pt x="462661" y="3429"/>
                </a:lnTo>
                <a:lnTo>
                  <a:pt x="71500" y="238125"/>
                </a:lnTo>
                <a:lnTo>
                  <a:pt x="473710" y="470662"/>
                </a:lnTo>
                <a:lnTo>
                  <a:pt x="870966" y="230759"/>
                </a:lnTo>
                <a:lnTo>
                  <a:pt x="869823" y="229616"/>
                </a:lnTo>
                <a:lnTo>
                  <a:pt x="868807" y="229108"/>
                </a:lnTo>
                <a:lnTo>
                  <a:pt x="867156" y="227965"/>
                </a:lnTo>
                <a:lnTo>
                  <a:pt x="486410" y="1143"/>
                </a:lnTo>
                <a:lnTo>
                  <a:pt x="481457" y="0"/>
                </a:lnTo>
                <a:close/>
              </a:path>
              <a:path w="881379" h="672464">
                <a:moveTo>
                  <a:pt x="89662" y="324485"/>
                </a:moveTo>
                <a:lnTo>
                  <a:pt x="84709" y="327279"/>
                </a:lnTo>
                <a:lnTo>
                  <a:pt x="52324" y="346456"/>
                </a:lnTo>
                <a:lnTo>
                  <a:pt x="48387" y="348742"/>
                </a:lnTo>
                <a:lnTo>
                  <a:pt x="47371" y="356616"/>
                </a:lnTo>
                <a:lnTo>
                  <a:pt x="47465" y="435102"/>
                </a:lnTo>
                <a:lnTo>
                  <a:pt x="48387" y="441325"/>
                </a:lnTo>
                <a:lnTo>
                  <a:pt x="50673" y="443484"/>
                </a:lnTo>
                <a:lnTo>
                  <a:pt x="52832" y="445770"/>
                </a:lnTo>
                <a:lnTo>
                  <a:pt x="59944" y="449199"/>
                </a:lnTo>
                <a:lnTo>
                  <a:pt x="64897" y="446405"/>
                </a:lnTo>
                <a:lnTo>
                  <a:pt x="97409" y="426593"/>
                </a:lnTo>
                <a:lnTo>
                  <a:pt x="102362" y="423799"/>
                </a:lnTo>
                <a:lnTo>
                  <a:pt x="103004" y="419862"/>
                </a:lnTo>
                <a:lnTo>
                  <a:pt x="70993" y="419862"/>
                </a:lnTo>
                <a:lnTo>
                  <a:pt x="70993" y="359410"/>
                </a:lnTo>
                <a:lnTo>
                  <a:pt x="97409" y="343662"/>
                </a:lnTo>
                <a:lnTo>
                  <a:pt x="102362" y="340868"/>
                </a:lnTo>
                <a:lnTo>
                  <a:pt x="102870" y="334645"/>
                </a:lnTo>
                <a:lnTo>
                  <a:pt x="99568" y="330073"/>
                </a:lnTo>
                <a:lnTo>
                  <a:pt x="96774" y="326136"/>
                </a:lnTo>
                <a:lnTo>
                  <a:pt x="89662" y="324485"/>
                </a:lnTo>
                <a:close/>
              </a:path>
              <a:path w="881379" h="672464">
                <a:moveTo>
                  <a:pt x="22606" y="231394"/>
                </a:moveTo>
                <a:lnTo>
                  <a:pt x="15367" y="231394"/>
                </a:lnTo>
                <a:lnTo>
                  <a:pt x="9398" y="234696"/>
                </a:lnTo>
                <a:lnTo>
                  <a:pt x="3301" y="238760"/>
                </a:lnTo>
                <a:lnTo>
                  <a:pt x="0" y="244856"/>
                </a:lnTo>
                <a:lnTo>
                  <a:pt x="0" y="389890"/>
                </a:lnTo>
                <a:lnTo>
                  <a:pt x="2159" y="400685"/>
                </a:lnTo>
                <a:lnTo>
                  <a:pt x="14859" y="410845"/>
                </a:lnTo>
                <a:lnTo>
                  <a:pt x="36322" y="423164"/>
                </a:lnTo>
                <a:lnTo>
                  <a:pt x="36322" y="387731"/>
                </a:lnTo>
                <a:lnTo>
                  <a:pt x="31369" y="384302"/>
                </a:lnTo>
                <a:lnTo>
                  <a:pt x="30861" y="383159"/>
                </a:lnTo>
                <a:lnTo>
                  <a:pt x="30861" y="272542"/>
                </a:lnTo>
                <a:lnTo>
                  <a:pt x="94167" y="272542"/>
                </a:lnTo>
                <a:lnTo>
                  <a:pt x="54218" y="249428"/>
                </a:lnTo>
                <a:lnTo>
                  <a:pt x="52832" y="249428"/>
                </a:lnTo>
                <a:lnTo>
                  <a:pt x="22606" y="231394"/>
                </a:lnTo>
                <a:close/>
              </a:path>
              <a:path w="881379" h="672464">
                <a:moveTo>
                  <a:pt x="89662" y="408559"/>
                </a:moveTo>
                <a:lnTo>
                  <a:pt x="84709" y="411353"/>
                </a:lnTo>
                <a:lnTo>
                  <a:pt x="70993" y="419862"/>
                </a:lnTo>
                <a:lnTo>
                  <a:pt x="103004" y="419862"/>
                </a:lnTo>
                <a:lnTo>
                  <a:pt x="103377" y="417576"/>
                </a:lnTo>
                <a:lnTo>
                  <a:pt x="100075" y="413639"/>
                </a:lnTo>
                <a:lnTo>
                  <a:pt x="96774" y="409067"/>
                </a:lnTo>
                <a:lnTo>
                  <a:pt x="89662" y="408559"/>
                </a:lnTo>
                <a:close/>
              </a:path>
              <a:path w="881379" h="672464">
                <a:moveTo>
                  <a:pt x="53339" y="248920"/>
                </a:moveTo>
                <a:lnTo>
                  <a:pt x="52832" y="249428"/>
                </a:lnTo>
                <a:lnTo>
                  <a:pt x="54218" y="249428"/>
                </a:lnTo>
                <a:lnTo>
                  <a:pt x="53339" y="248920"/>
                </a:lnTo>
                <a:close/>
              </a:path>
            </a:pathLst>
          </a:custGeom>
          <a:solidFill>
            <a:srgbClr val="000000">
              <a:alpha val="12156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4237810" y="3689131"/>
            <a:ext cx="648206" cy="659040"/>
          </a:xfrm>
          <a:custGeom>
            <a:avLst/>
            <a:gdLst/>
            <a:ahLst/>
            <a:cxnLst/>
            <a:rect l="l" t="t" r="r" b="b"/>
            <a:pathLst>
              <a:path w="881379" h="672464">
                <a:moveTo>
                  <a:pt x="401700" y="599312"/>
                </a:moveTo>
                <a:lnTo>
                  <a:pt x="400050" y="602106"/>
                </a:lnTo>
                <a:lnTo>
                  <a:pt x="397763" y="604392"/>
                </a:lnTo>
                <a:lnTo>
                  <a:pt x="395096" y="605535"/>
                </a:lnTo>
                <a:lnTo>
                  <a:pt x="372490" y="618997"/>
                </a:lnTo>
                <a:lnTo>
                  <a:pt x="458850" y="669289"/>
                </a:lnTo>
                <a:lnTo>
                  <a:pt x="462152" y="671575"/>
                </a:lnTo>
                <a:lnTo>
                  <a:pt x="465963" y="672083"/>
                </a:lnTo>
                <a:lnTo>
                  <a:pt x="472566" y="672083"/>
                </a:lnTo>
                <a:lnTo>
                  <a:pt x="475868" y="671575"/>
                </a:lnTo>
                <a:lnTo>
                  <a:pt x="483107" y="667003"/>
                </a:lnTo>
                <a:lnTo>
                  <a:pt x="486409" y="661923"/>
                </a:lnTo>
                <a:lnTo>
                  <a:pt x="487425" y="656335"/>
                </a:lnTo>
                <a:lnTo>
                  <a:pt x="487425" y="632078"/>
                </a:lnTo>
                <a:lnTo>
                  <a:pt x="457200" y="632078"/>
                </a:lnTo>
                <a:lnTo>
                  <a:pt x="401700" y="599312"/>
                </a:lnTo>
                <a:close/>
              </a:path>
              <a:path w="881379" h="672464">
                <a:moveTo>
                  <a:pt x="94167" y="272541"/>
                </a:moveTo>
                <a:lnTo>
                  <a:pt x="30860" y="272541"/>
                </a:lnTo>
                <a:lnTo>
                  <a:pt x="457200" y="522604"/>
                </a:lnTo>
                <a:lnTo>
                  <a:pt x="457200" y="632078"/>
                </a:lnTo>
                <a:lnTo>
                  <a:pt x="487425" y="632078"/>
                </a:lnTo>
                <a:lnTo>
                  <a:pt x="487425" y="503300"/>
                </a:lnTo>
                <a:lnTo>
                  <a:pt x="484758" y="498220"/>
                </a:lnTo>
                <a:lnTo>
                  <a:pt x="482472" y="497204"/>
                </a:lnTo>
                <a:lnTo>
                  <a:pt x="94167" y="272541"/>
                </a:lnTo>
                <a:close/>
              </a:path>
              <a:path w="881379" h="672464">
                <a:moveTo>
                  <a:pt x="381253" y="493775"/>
                </a:moveTo>
                <a:lnTo>
                  <a:pt x="376300" y="496569"/>
                </a:lnTo>
                <a:lnTo>
                  <a:pt x="343915" y="515746"/>
                </a:lnTo>
                <a:lnTo>
                  <a:pt x="339978" y="518032"/>
                </a:lnTo>
                <a:lnTo>
                  <a:pt x="339470" y="525906"/>
                </a:lnTo>
                <a:lnTo>
                  <a:pt x="339518" y="604392"/>
                </a:lnTo>
                <a:lnTo>
                  <a:pt x="339978" y="610615"/>
                </a:lnTo>
                <a:lnTo>
                  <a:pt x="342264" y="612774"/>
                </a:lnTo>
                <a:lnTo>
                  <a:pt x="344423" y="615060"/>
                </a:lnTo>
                <a:lnTo>
                  <a:pt x="352170" y="618489"/>
                </a:lnTo>
                <a:lnTo>
                  <a:pt x="356488" y="615695"/>
                </a:lnTo>
                <a:lnTo>
                  <a:pt x="389508" y="595883"/>
                </a:lnTo>
                <a:lnTo>
                  <a:pt x="393953" y="593089"/>
                </a:lnTo>
                <a:lnTo>
                  <a:pt x="394677" y="589152"/>
                </a:lnTo>
                <a:lnTo>
                  <a:pt x="362584" y="589152"/>
                </a:lnTo>
                <a:lnTo>
                  <a:pt x="362584" y="528700"/>
                </a:lnTo>
                <a:lnTo>
                  <a:pt x="389508" y="512952"/>
                </a:lnTo>
                <a:lnTo>
                  <a:pt x="393953" y="510158"/>
                </a:lnTo>
                <a:lnTo>
                  <a:pt x="394461" y="503935"/>
                </a:lnTo>
                <a:lnTo>
                  <a:pt x="391794" y="499363"/>
                </a:lnTo>
                <a:lnTo>
                  <a:pt x="388492" y="495426"/>
                </a:lnTo>
                <a:lnTo>
                  <a:pt x="381253" y="493775"/>
                </a:lnTo>
                <a:close/>
              </a:path>
              <a:path w="881379" h="672464">
                <a:moveTo>
                  <a:pt x="880363" y="247141"/>
                </a:moveTo>
                <a:lnTo>
                  <a:pt x="491870" y="481329"/>
                </a:lnTo>
                <a:lnTo>
                  <a:pt x="497496" y="486005"/>
                </a:lnTo>
                <a:lnTo>
                  <a:pt x="501824" y="492061"/>
                </a:lnTo>
                <a:lnTo>
                  <a:pt x="504556" y="498855"/>
                </a:lnTo>
                <a:lnTo>
                  <a:pt x="504657" y="499363"/>
                </a:lnTo>
                <a:lnTo>
                  <a:pt x="505586" y="506221"/>
                </a:lnTo>
                <a:lnTo>
                  <a:pt x="505586" y="613409"/>
                </a:lnTo>
                <a:lnTo>
                  <a:pt x="867155" y="401827"/>
                </a:lnTo>
                <a:lnTo>
                  <a:pt x="872781" y="397448"/>
                </a:lnTo>
                <a:lnTo>
                  <a:pt x="877109" y="391556"/>
                </a:lnTo>
                <a:lnTo>
                  <a:pt x="879889" y="384736"/>
                </a:lnTo>
                <a:lnTo>
                  <a:pt x="880872" y="377570"/>
                </a:lnTo>
                <a:lnTo>
                  <a:pt x="880872" y="248919"/>
                </a:lnTo>
                <a:lnTo>
                  <a:pt x="880363" y="247141"/>
                </a:lnTo>
                <a:close/>
              </a:path>
              <a:path w="881379" h="672464">
                <a:moveTo>
                  <a:pt x="109981" y="430021"/>
                </a:moveTo>
                <a:lnTo>
                  <a:pt x="108330" y="432815"/>
                </a:lnTo>
                <a:lnTo>
                  <a:pt x="105663" y="435101"/>
                </a:lnTo>
                <a:lnTo>
                  <a:pt x="103377" y="436244"/>
                </a:lnTo>
                <a:lnTo>
                  <a:pt x="81406" y="449706"/>
                </a:lnTo>
                <a:lnTo>
                  <a:pt x="327913" y="593089"/>
                </a:lnTo>
                <a:lnTo>
                  <a:pt x="327913" y="557021"/>
                </a:lnTo>
                <a:lnTo>
                  <a:pt x="109981" y="430021"/>
                </a:lnTo>
                <a:close/>
              </a:path>
              <a:path w="881379" h="672464">
                <a:moveTo>
                  <a:pt x="381253" y="577849"/>
                </a:moveTo>
                <a:lnTo>
                  <a:pt x="376300" y="580643"/>
                </a:lnTo>
                <a:lnTo>
                  <a:pt x="362584" y="589152"/>
                </a:lnTo>
                <a:lnTo>
                  <a:pt x="394677" y="589152"/>
                </a:lnTo>
                <a:lnTo>
                  <a:pt x="395096" y="586866"/>
                </a:lnTo>
                <a:lnTo>
                  <a:pt x="391794" y="582929"/>
                </a:lnTo>
                <a:lnTo>
                  <a:pt x="388492" y="578357"/>
                </a:lnTo>
                <a:lnTo>
                  <a:pt x="381253" y="577849"/>
                </a:lnTo>
                <a:close/>
              </a:path>
              <a:path w="881379" h="672464">
                <a:moveTo>
                  <a:pt x="171068" y="395604"/>
                </a:moveTo>
                <a:lnTo>
                  <a:pt x="165100" y="399541"/>
                </a:lnTo>
                <a:lnTo>
                  <a:pt x="165100" y="424941"/>
                </a:lnTo>
                <a:lnTo>
                  <a:pt x="168909" y="431672"/>
                </a:lnTo>
                <a:lnTo>
                  <a:pt x="173862" y="434466"/>
                </a:lnTo>
                <a:lnTo>
                  <a:pt x="283844" y="498855"/>
                </a:lnTo>
                <a:lnTo>
                  <a:pt x="285495" y="499363"/>
                </a:lnTo>
                <a:lnTo>
                  <a:pt x="287146" y="499998"/>
                </a:lnTo>
                <a:lnTo>
                  <a:pt x="293242" y="499998"/>
                </a:lnTo>
                <a:lnTo>
                  <a:pt x="296544" y="496569"/>
                </a:lnTo>
                <a:lnTo>
                  <a:pt x="296544" y="473455"/>
                </a:lnTo>
                <a:lnTo>
                  <a:pt x="292734" y="466724"/>
                </a:lnTo>
                <a:lnTo>
                  <a:pt x="177672" y="399541"/>
                </a:lnTo>
                <a:lnTo>
                  <a:pt x="171068" y="395604"/>
                </a:lnTo>
                <a:close/>
              </a:path>
              <a:path w="881379" h="672464">
                <a:moveTo>
                  <a:pt x="481456" y="0"/>
                </a:moveTo>
                <a:lnTo>
                  <a:pt x="471550" y="0"/>
                </a:lnTo>
                <a:lnTo>
                  <a:pt x="466597" y="1142"/>
                </a:lnTo>
                <a:lnTo>
                  <a:pt x="462660" y="3428"/>
                </a:lnTo>
                <a:lnTo>
                  <a:pt x="71500" y="238124"/>
                </a:lnTo>
                <a:lnTo>
                  <a:pt x="473709" y="470661"/>
                </a:lnTo>
                <a:lnTo>
                  <a:pt x="870965" y="230758"/>
                </a:lnTo>
                <a:lnTo>
                  <a:pt x="869823" y="229615"/>
                </a:lnTo>
                <a:lnTo>
                  <a:pt x="868806" y="229107"/>
                </a:lnTo>
                <a:lnTo>
                  <a:pt x="867155" y="227964"/>
                </a:lnTo>
                <a:lnTo>
                  <a:pt x="486409" y="1142"/>
                </a:lnTo>
                <a:lnTo>
                  <a:pt x="481456" y="0"/>
                </a:lnTo>
                <a:close/>
              </a:path>
              <a:path w="881379" h="672464">
                <a:moveTo>
                  <a:pt x="89661" y="324484"/>
                </a:moveTo>
                <a:lnTo>
                  <a:pt x="84708" y="327278"/>
                </a:lnTo>
                <a:lnTo>
                  <a:pt x="52323" y="346455"/>
                </a:lnTo>
                <a:lnTo>
                  <a:pt x="48386" y="348741"/>
                </a:lnTo>
                <a:lnTo>
                  <a:pt x="47370" y="356615"/>
                </a:lnTo>
                <a:lnTo>
                  <a:pt x="47465" y="435101"/>
                </a:lnTo>
                <a:lnTo>
                  <a:pt x="48386" y="441324"/>
                </a:lnTo>
                <a:lnTo>
                  <a:pt x="50672" y="443483"/>
                </a:lnTo>
                <a:lnTo>
                  <a:pt x="52831" y="445769"/>
                </a:lnTo>
                <a:lnTo>
                  <a:pt x="59943" y="449198"/>
                </a:lnTo>
                <a:lnTo>
                  <a:pt x="64896" y="446404"/>
                </a:lnTo>
                <a:lnTo>
                  <a:pt x="97408" y="426592"/>
                </a:lnTo>
                <a:lnTo>
                  <a:pt x="102361" y="423798"/>
                </a:lnTo>
                <a:lnTo>
                  <a:pt x="103004" y="419861"/>
                </a:lnTo>
                <a:lnTo>
                  <a:pt x="70992" y="419861"/>
                </a:lnTo>
                <a:lnTo>
                  <a:pt x="70992" y="359409"/>
                </a:lnTo>
                <a:lnTo>
                  <a:pt x="97408" y="343661"/>
                </a:lnTo>
                <a:lnTo>
                  <a:pt x="102361" y="340867"/>
                </a:lnTo>
                <a:lnTo>
                  <a:pt x="102869" y="334644"/>
                </a:lnTo>
                <a:lnTo>
                  <a:pt x="99567" y="330072"/>
                </a:lnTo>
                <a:lnTo>
                  <a:pt x="96773" y="326135"/>
                </a:lnTo>
                <a:lnTo>
                  <a:pt x="89661" y="324484"/>
                </a:lnTo>
                <a:close/>
              </a:path>
              <a:path w="881379" h="672464">
                <a:moveTo>
                  <a:pt x="22605" y="231393"/>
                </a:moveTo>
                <a:lnTo>
                  <a:pt x="15366" y="231393"/>
                </a:lnTo>
                <a:lnTo>
                  <a:pt x="9397" y="234695"/>
                </a:lnTo>
                <a:lnTo>
                  <a:pt x="3301" y="238759"/>
                </a:lnTo>
                <a:lnTo>
                  <a:pt x="0" y="244855"/>
                </a:lnTo>
                <a:lnTo>
                  <a:pt x="0" y="389889"/>
                </a:lnTo>
                <a:lnTo>
                  <a:pt x="2158" y="400684"/>
                </a:lnTo>
                <a:lnTo>
                  <a:pt x="14858" y="410844"/>
                </a:lnTo>
                <a:lnTo>
                  <a:pt x="36321" y="423163"/>
                </a:lnTo>
                <a:lnTo>
                  <a:pt x="36321" y="387730"/>
                </a:lnTo>
                <a:lnTo>
                  <a:pt x="31368" y="384301"/>
                </a:lnTo>
                <a:lnTo>
                  <a:pt x="30860" y="383158"/>
                </a:lnTo>
                <a:lnTo>
                  <a:pt x="30860" y="272541"/>
                </a:lnTo>
                <a:lnTo>
                  <a:pt x="94167" y="272541"/>
                </a:lnTo>
                <a:lnTo>
                  <a:pt x="54218" y="249427"/>
                </a:lnTo>
                <a:lnTo>
                  <a:pt x="52831" y="249427"/>
                </a:lnTo>
                <a:lnTo>
                  <a:pt x="22605" y="231393"/>
                </a:lnTo>
                <a:close/>
              </a:path>
              <a:path w="881379" h="672464">
                <a:moveTo>
                  <a:pt x="89661" y="408558"/>
                </a:moveTo>
                <a:lnTo>
                  <a:pt x="84708" y="411352"/>
                </a:lnTo>
                <a:lnTo>
                  <a:pt x="70992" y="419861"/>
                </a:lnTo>
                <a:lnTo>
                  <a:pt x="103004" y="419861"/>
                </a:lnTo>
                <a:lnTo>
                  <a:pt x="103377" y="417575"/>
                </a:lnTo>
                <a:lnTo>
                  <a:pt x="100075" y="413638"/>
                </a:lnTo>
                <a:lnTo>
                  <a:pt x="96773" y="409066"/>
                </a:lnTo>
                <a:lnTo>
                  <a:pt x="89661" y="408558"/>
                </a:lnTo>
                <a:close/>
              </a:path>
              <a:path w="881379" h="672464">
                <a:moveTo>
                  <a:pt x="53339" y="248919"/>
                </a:moveTo>
                <a:lnTo>
                  <a:pt x="52831" y="249427"/>
                </a:lnTo>
                <a:lnTo>
                  <a:pt x="54218" y="249427"/>
                </a:lnTo>
                <a:lnTo>
                  <a:pt x="53339" y="248919"/>
                </a:lnTo>
                <a:close/>
              </a:path>
            </a:pathLst>
          </a:custGeom>
          <a:solidFill>
            <a:srgbClr val="000000">
              <a:alpha val="12156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1812361" y="4473257"/>
            <a:ext cx="1890912" cy="565069"/>
          </a:xfrm>
          <a:custGeom>
            <a:avLst/>
            <a:gdLst/>
            <a:ahLst/>
            <a:cxnLst/>
            <a:rect l="l" t="t" r="r" b="b"/>
            <a:pathLst>
              <a:path w="2571115" h="576579">
                <a:moveTo>
                  <a:pt x="288036" y="0"/>
                </a:moveTo>
                <a:lnTo>
                  <a:pt x="0" y="288035"/>
                </a:lnTo>
                <a:lnTo>
                  <a:pt x="288036" y="576071"/>
                </a:lnTo>
                <a:lnTo>
                  <a:pt x="288036" y="432053"/>
                </a:lnTo>
                <a:lnTo>
                  <a:pt x="2426970" y="432053"/>
                </a:lnTo>
                <a:lnTo>
                  <a:pt x="2570988" y="288035"/>
                </a:lnTo>
                <a:lnTo>
                  <a:pt x="2426970" y="144017"/>
                </a:lnTo>
                <a:lnTo>
                  <a:pt x="288036" y="144017"/>
                </a:lnTo>
                <a:lnTo>
                  <a:pt x="288036" y="0"/>
                </a:lnTo>
                <a:close/>
              </a:path>
              <a:path w="2571115" h="576579">
                <a:moveTo>
                  <a:pt x="2426970" y="432053"/>
                </a:moveTo>
                <a:lnTo>
                  <a:pt x="2282952" y="432053"/>
                </a:lnTo>
                <a:lnTo>
                  <a:pt x="2282952" y="576071"/>
                </a:lnTo>
                <a:lnTo>
                  <a:pt x="2426970" y="432053"/>
                </a:lnTo>
                <a:close/>
              </a:path>
              <a:path w="2571115" h="576579">
                <a:moveTo>
                  <a:pt x="2282952" y="0"/>
                </a:moveTo>
                <a:lnTo>
                  <a:pt x="2282952" y="144017"/>
                </a:lnTo>
                <a:lnTo>
                  <a:pt x="2426970" y="144017"/>
                </a:lnTo>
                <a:lnTo>
                  <a:pt x="2282952" y="0"/>
                </a:lnTo>
                <a:close/>
              </a:path>
            </a:pathLst>
          </a:custGeom>
          <a:solidFill>
            <a:srgbClr val="095BB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 txBox="1"/>
          <p:nvPr/>
        </p:nvSpPr>
        <p:spPr>
          <a:xfrm>
            <a:off x="2134316" y="4633817"/>
            <a:ext cx="1246441" cy="379892"/>
          </a:xfrm>
          <a:prstGeom prst="rect">
            <a:avLst/>
          </a:prstGeom>
        </p:spPr>
        <p:txBody>
          <a:bodyPr vert="horz" wrap="square" lIns="0" tIns="10458" rIns="0" bIns="0" rtlCol="0">
            <a:spAutoFit/>
          </a:bodyPr>
          <a:lstStyle/>
          <a:p>
            <a:pPr marL="10458">
              <a:spcBef>
                <a:spcPts val="82"/>
              </a:spcBef>
            </a:pPr>
            <a:r>
              <a:rPr sz="1200" b="1" spc="-16" dirty="0">
                <a:solidFill>
                  <a:srgbClr val="FFFFFF"/>
                </a:solidFill>
                <a:latin typeface="Arial"/>
                <a:cs typeface="Arial"/>
              </a:rPr>
              <a:t>Azure </a:t>
            </a:r>
            <a:r>
              <a:rPr sz="1200" b="1" spc="-21" dirty="0">
                <a:solidFill>
                  <a:srgbClr val="FFFFFF"/>
                </a:solidFill>
                <a:latin typeface="Arial"/>
                <a:cs typeface="Arial"/>
              </a:rPr>
              <a:t>Site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33" dirty="0">
                <a:solidFill>
                  <a:srgbClr val="FFFFFF"/>
                </a:solidFill>
                <a:latin typeface="Arial"/>
                <a:cs typeface="Arial"/>
              </a:rPr>
              <a:t>Recovery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123083" y="2490647"/>
            <a:ext cx="914400" cy="720028"/>
          </a:xfrm>
          <a:custGeom>
            <a:avLst/>
            <a:gdLst/>
            <a:ahLst/>
            <a:cxnLst/>
            <a:rect l="l" t="t" r="r" b="b"/>
            <a:pathLst>
              <a:path w="1243330" h="734695">
                <a:moveTo>
                  <a:pt x="615119" y="0"/>
                </a:moveTo>
                <a:lnTo>
                  <a:pt x="0" y="362162"/>
                </a:lnTo>
                <a:lnTo>
                  <a:pt x="640979" y="734661"/>
                </a:lnTo>
                <a:lnTo>
                  <a:pt x="1243157" y="366040"/>
                </a:lnTo>
                <a:lnTo>
                  <a:pt x="615119" y="0"/>
                </a:lnTo>
                <a:close/>
              </a:path>
            </a:pathLst>
          </a:custGeom>
          <a:solidFill>
            <a:srgbClr val="B6BEC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593509" y="2848898"/>
            <a:ext cx="445525" cy="590585"/>
          </a:xfrm>
          <a:custGeom>
            <a:avLst/>
            <a:gdLst/>
            <a:ahLst/>
            <a:cxnLst/>
            <a:rect l="l" t="t" r="r" b="b"/>
            <a:pathLst>
              <a:path w="605790" h="602614">
                <a:moveTo>
                  <a:pt x="605244" y="0"/>
                </a:moveTo>
                <a:lnTo>
                  <a:pt x="0" y="370083"/>
                </a:lnTo>
                <a:lnTo>
                  <a:pt x="14" y="602078"/>
                </a:lnTo>
                <a:lnTo>
                  <a:pt x="605244" y="233709"/>
                </a:lnTo>
                <a:lnTo>
                  <a:pt x="605244" y="0"/>
                </a:lnTo>
                <a:close/>
              </a:path>
            </a:pathLst>
          </a:custGeom>
          <a:solidFill>
            <a:srgbClr val="5162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122977" y="2843781"/>
            <a:ext cx="471677" cy="596808"/>
          </a:xfrm>
          <a:custGeom>
            <a:avLst/>
            <a:gdLst/>
            <a:ahLst/>
            <a:cxnLst/>
            <a:rect l="l" t="t" r="r" b="b"/>
            <a:pathLst>
              <a:path w="641350" h="608964">
                <a:moveTo>
                  <a:pt x="0" y="0"/>
                </a:moveTo>
                <a:lnTo>
                  <a:pt x="0" y="237155"/>
                </a:lnTo>
                <a:lnTo>
                  <a:pt x="640960" y="608352"/>
                </a:lnTo>
                <a:lnTo>
                  <a:pt x="640960" y="374632"/>
                </a:lnTo>
                <a:lnTo>
                  <a:pt x="0" y="0"/>
                </a:lnTo>
                <a:close/>
              </a:path>
            </a:pathLst>
          </a:custGeom>
          <a:solidFill>
            <a:srgbClr val="5162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131851" y="2863985"/>
            <a:ext cx="461403" cy="566936"/>
          </a:xfrm>
          <a:custGeom>
            <a:avLst/>
            <a:gdLst/>
            <a:ahLst/>
            <a:cxnLst/>
            <a:rect l="l" t="t" r="r" b="b"/>
            <a:pathLst>
              <a:path w="627380" h="578485">
                <a:moveTo>
                  <a:pt x="0" y="0"/>
                </a:moveTo>
                <a:lnTo>
                  <a:pt x="0" y="214823"/>
                </a:lnTo>
                <a:lnTo>
                  <a:pt x="626814" y="577975"/>
                </a:lnTo>
                <a:lnTo>
                  <a:pt x="626814" y="363161"/>
                </a:lnTo>
                <a:lnTo>
                  <a:pt x="0" y="0"/>
                </a:lnTo>
                <a:close/>
              </a:path>
            </a:pathLst>
          </a:custGeom>
          <a:solidFill>
            <a:srgbClr val="CED0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147499" y="2898268"/>
            <a:ext cx="427312" cy="491013"/>
          </a:xfrm>
          <a:custGeom>
            <a:avLst/>
            <a:gdLst/>
            <a:ahLst/>
            <a:cxnLst/>
            <a:rect l="l" t="t" r="r" b="b"/>
            <a:pathLst>
              <a:path w="581025" h="501014">
                <a:moveTo>
                  <a:pt x="0" y="0"/>
                </a:moveTo>
                <a:lnTo>
                  <a:pt x="0" y="164985"/>
                </a:lnTo>
                <a:lnTo>
                  <a:pt x="580711" y="500639"/>
                </a:lnTo>
                <a:lnTo>
                  <a:pt x="580711" y="339099"/>
                </a:lnTo>
                <a:lnTo>
                  <a:pt x="0" y="0"/>
                </a:lnTo>
                <a:close/>
              </a:path>
            </a:pathLst>
          </a:custGeom>
          <a:solidFill>
            <a:srgbClr val="677D8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396692" y="3106522"/>
            <a:ext cx="127026" cy="230882"/>
          </a:xfrm>
          <a:custGeom>
            <a:avLst/>
            <a:gdLst/>
            <a:ahLst/>
            <a:cxnLst/>
            <a:rect l="l" t="t" r="r" b="b"/>
            <a:pathLst>
              <a:path w="172720" h="235585">
                <a:moveTo>
                  <a:pt x="0" y="0"/>
                </a:moveTo>
                <a:lnTo>
                  <a:pt x="0" y="135762"/>
                </a:lnTo>
                <a:lnTo>
                  <a:pt x="172283" y="235432"/>
                </a:lnTo>
                <a:lnTo>
                  <a:pt x="172283" y="101392"/>
                </a:lnTo>
                <a:lnTo>
                  <a:pt x="0" y="0"/>
                </a:lnTo>
                <a:close/>
              </a:path>
            </a:pathLst>
          </a:custGeom>
          <a:solidFill>
            <a:srgbClr val="95A6A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212953" y="2965049"/>
            <a:ext cx="127026" cy="230882"/>
          </a:xfrm>
          <a:custGeom>
            <a:avLst/>
            <a:gdLst/>
            <a:ahLst/>
            <a:cxnLst/>
            <a:rect l="l" t="t" r="r" b="b"/>
            <a:pathLst>
              <a:path w="172720" h="235585">
                <a:moveTo>
                  <a:pt x="0" y="0"/>
                </a:moveTo>
                <a:lnTo>
                  <a:pt x="0" y="135762"/>
                </a:lnTo>
                <a:lnTo>
                  <a:pt x="172300" y="235439"/>
                </a:lnTo>
                <a:lnTo>
                  <a:pt x="172300" y="101377"/>
                </a:lnTo>
                <a:lnTo>
                  <a:pt x="0" y="0"/>
                </a:lnTo>
                <a:close/>
              </a:path>
            </a:pathLst>
          </a:custGeom>
          <a:solidFill>
            <a:srgbClr val="95A6A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47019" y="3118742"/>
            <a:ext cx="41097" cy="59743"/>
          </a:xfrm>
          <a:custGeom>
            <a:avLst/>
            <a:gdLst/>
            <a:ahLst/>
            <a:cxnLst/>
            <a:rect l="l" t="t" r="r" b="b"/>
            <a:pathLst>
              <a:path w="55879" h="60960">
                <a:moveTo>
                  <a:pt x="16806" y="0"/>
                </a:moveTo>
                <a:lnTo>
                  <a:pt x="7715" y="3463"/>
                </a:lnTo>
                <a:lnTo>
                  <a:pt x="1798" y="11174"/>
                </a:lnTo>
                <a:lnTo>
                  <a:pt x="0" y="21518"/>
                </a:lnTo>
                <a:lnTo>
                  <a:pt x="2287" y="33169"/>
                </a:lnTo>
                <a:lnTo>
                  <a:pt x="8628" y="44798"/>
                </a:lnTo>
                <a:lnTo>
                  <a:pt x="18006" y="54176"/>
                </a:lnTo>
                <a:lnTo>
                  <a:pt x="28559" y="59680"/>
                </a:lnTo>
                <a:lnTo>
                  <a:pt x="39013" y="60903"/>
                </a:lnTo>
                <a:lnTo>
                  <a:pt x="48098" y="57433"/>
                </a:lnTo>
                <a:lnTo>
                  <a:pt x="54015" y="49729"/>
                </a:lnTo>
                <a:lnTo>
                  <a:pt x="55813" y="39383"/>
                </a:lnTo>
                <a:lnTo>
                  <a:pt x="53526" y="27729"/>
                </a:lnTo>
                <a:lnTo>
                  <a:pt x="47185" y="16098"/>
                </a:lnTo>
                <a:lnTo>
                  <a:pt x="37809" y="6723"/>
                </a:lnTo>
                <a:lnTo>
                  <a:pt x="27260" y="1221"/>
                </a:lnTo>
                <a:lnTo>
                  <a:pt x="1680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347019" y="3118742"/>
            <a:ext cx="41097" cy="59743"/>
          </a:xfrm>
          <a:custGeom>
            <a:avLst/>
            <a:gdLst/>
            <a:ahLst/>
            <a:cxnLst/>
            <a:rect l="l" t="t" r="r" b="b"/>
            <a:pathLst>
              <a:path w="55879" h="60960">
                <a:moveTo>
                  <a:pt x="7715" y="3463"/>
                </a:moveTo>
                <a:lnTo>
                  <a:pt x="1798" y="11174"/>
                </a:lnTo>
                <a:lnTo>
                  <a:pt x="0" y="21518"/>
                </a:lnTo>
                <a:lnTo>
                  <a:pt x="2287" y="33169"/>
                </a:lnTo>
                <a:lnTo>
                  <a:pt x="8628" y="44798"/>
                </a:lnTo>
                <a:lnTo>
                  <a:pt x="18006" y="54176"/>
                </a:lnTo>
                <a:lnTo>
                  <a:pt x="28559" y="59680"/>
                </a:lnTo>
                <a:lnTo>
                  <a:pt x="39013" y="60903"/>
                </a:lnTo>
                <a:lnTo>
                  <a:pt x="48098" y="57433"/>
                </a:lnTo>
                <a:lnTo>
                  <a:pt x="54015" y="49729"/>
                </a:lnTo>
                <a:lnTo>
                  <a:pt x="55813" y="39383"/>
                </a:lnTo>
                <a:lnTo>
                  <a:pt x="53526" y="27729"/>
                </a:lnTo>
                <a:lnTo>
                  <a:pt x="47185" y="16098"/>
                </a:lnTo>
                <a:lnTo>
                  <a:pt x="37809" y="6723"/>
                </a:lnTo>
                <a:lnTo>
                  <a:pt x="27260" y="1221"/>
                </a:lnTo>
                <a:lnTo>
                  <a:pt x="16806" y="0"/>
                </a:lnTo>
                <a:lnTo>
                  <a:pt x="7715" y="3463"/>
                </a:lnTo>
              </a:path>
            </a:pathLst>
          </a:custGeom>
          <a:ln w="1121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169074" y="2985912"/>
            <a:ext cx="27086" cy="39206"/>
          </a:xfrm>
          <a:custGeom>
            <a:avLst/>
            <a:gdLst/>
            <a:ahLst/>
            <a:cxnLst/>
            <a:rect l="l" t="t" r="r" b="b"/>
            <a:pathLst>
              <a:path w="36829" h="40005">
                <a:moveTo>
                  <a:pt x="11010" y="0"/>
                </a:moveTo>
                <a:lnTo>
                  <a:pt x="5053" y="2268"/>
                </a:lnTo>
                <a:lnTo>
                  <a:pt x="1177" y="7317"/>
                </a:lnTo>
                <a:lnTo>
                  <a:pt x="0" y="14097"/>
                </a:lnTo>
                <a:lnTo>
                  <a:pt x="1501" y="21739"/>
                </a:lnTo>
                <a:lnTo>
                  <a:pt x="5662" y="29372"/>
                </a:lnTo>
                <a:lnTo>
                  <a:pt x="11807" y="35518"/>
                </a:lnTo>
                <a:lnTo>
                  <a:pt x="18722" y="39123"/>
                </a:lnTo>
                <a:lnTo>
                  <a:pt x="25574" y="39922"/>
                </a:lnTo>
                <a:lnTo>
                  <a:pt x="31531" y="37651"/>
                </a:lnTo>
                <a:lnTo>
                  <a:pt x="35407" y="32603"/>
                </a:lnTo>
                <a:lnTo>
                  <a:pt x="36584" y="25824"/>
                </a:lnTo>
                <a:lnTo>
                  <a:pt x="35083" y="18186"/>
                </a:lnTo>
                <a:lnTo>
                  <a:pt x="30923" y="10562"/>
                </a:lnTo>
                <a:lnTo>
                  <a:pt x="24777" y="4414"/>
                </a:lnTo>
                <a:lnTo>
                  <a:pt x="17862" y="804"/>
                </a:lnTo>
                <a:lnTo>
                  <a:pt x="11010" y="0"/>
                </a:lnTo>
                <a:close/>
              </a:path>
            </a:pathLst>
          </a:custGeom>
          <a:solidFill>
            <a:srgbClr val="39B54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32099" y="3252995"/>
            <a:ext cx="33158" cy="53520"/>
          </a:xfrm>
          <a:custGeom>
            <a:avLst/>
            <a:gdLst/>
            <a:ahLst/>
            <a:cxnLst/>
            <a:rect l="l" t="t" r="r" b="b"/>
            <a:pathLst>
              <a:path w="45084" h="54610">
                <a:moveTo>
                  <a:pt x="0" y="0"/>
                </a:moveTo>
                <a:lnTo>
                  <a:pt x="0" y="29208"/>
                </a:lnTo>
                <a:lnTo>
                  <a:pt x="44779" y="54284"/>
                </a:lnTo>
                <a:lnTo>
                  <a:pt x="44779" y="25777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32099" y="3252995"/>
            <a:ext cx="33158" cy="53520"/>
          </a:xfrm>
          <a:custGeom>
            <a:avLst/>
            <a:gdLst/>
            <a:ahLst/>
            <a:cxnLst/>
            <a:rect l="l" t="t" r="r" b="b"/>
            <a:pathLst>
              <a:path w="45084" h="54610">
                <a:moveTo>
                  <a:pt x="0" y="29208"/>
                </a:moveTo>
                <a:lnTo>
                  <a:pt x="0" y="0"/>
                </a:lnTo>
                <a:lnTo>
                  <a:pt x="44779" y="25777"/>
                </a:lnTo>
                <a:lnTo>
                  <a:pt x="44779" y="54284"/>
                </a:lnTo>
                <a:lnTo>
                  <a:pt x="0" y="29208"/>
                </a:lnTo>
                <a:close/>
              </a:path>
            </a:pathLst>
          </a:custGeom>
          <a:ln w="1121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122977" y="2490647"/>
            <a:ext cx="915801" cy="949665"/>
          </a:xfrm>
          <a:custGeom>
            <a:avLst/>
            <a:gdLst/>
            <a:ahLst/>
            <a:cxnLst/>
            <a:rect l="l" t="t" r="r" b="b"/>
            <a:pathLst>
              <a:path w="1245235" h="969010">
                <a:moveTo>
                  <a:pt x="0" y="597482"/>
                </a:moveTo>
                <a:lnTo>
                  <a:pt x="0" y="360327"/>
                </a:lnTo>
                <a:lnTo>
                  <a:pt x="615265" y="0"/>
                </a:lnTo>
                <a:lnTo>
                  <a:pt x="1245037" y="365548"/>
                </a:lnTo>
                <a:lnTo>
                  <a:pt x="1245037" y="599257"/>
                </a:lnTo>
                <a:lnTo>
                  <a:pt x="640960" y="968680"/>
                </a:lnTo>
                <a:lnTo>
                  <a:pt x="0" y="597482"/>
                </a:lnTo>
                <a:close/>
              </a:path>
            </a:pathLst>
          </a:custGeom>
          <a:ln w="1121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121269" y="2234002"/>
            <a:ext cx="916735" cy="953398"/>
          </a:xfrm>
          <a:custGeom>
            <a:avLst/>
            <a:gdLst/>
            <a:ahLst/>
            <a:cxnLst/>
            <a:rect l="l" t="t" r="r" b="b"/>
            <a:pathLst>
              <a:path w="1246505" h="972820">
                <a:moveTo>
                  <a:pt x="609406" y="0"/>
                </a:moveTo>
                <a:lnTo>
                  <a:pt x="0" y="358417"/>
                </a:lnTo>
                <a:lnTo>
                  <a:pt x="3564" y="598332"/>
                </a:lnTo>
                <a:lnTo>
                  <a:pt x="643268" y="972742"/>
                </a:lnTo>
                <a:lnTo>
                  <a:pt x="1246149" y="606045"/>
                </a:lnTo>
                <a:lnTo>
                  <a:pt x="1246149" y="368487"/>
                </a:lnTo>
                <a:lnTo>
                  <a:pt x="60940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120488" y="2097295"/>
            <a:ext cx="918145" cy="1090760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206351" y="2724413"/>
            <a:ext cx="290207" cy="325985"/>
          </a:xfrm>
          <a:prstGeom prst="rect">
            <a:avLst/>
          </a:prstGeom>
          <a:blipFill>
            <a:blip r:embed="rId3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90082" y="2097294"/>
            <a:ext cx="237240" cy="363437"/>
          </a:xfrm>
          <a:custGeom>
            <a:avLst/>
            <a:gdLst/>
            <a:ahLst/>
            <a:cxnLst/>
            <a:rect l="l" t="t" r="r" b="b"/>
            <a:pathLst>
              <a:path w="322580" h="370839">
                <a:moveTo>
                  <a:pt x="164252" y="370635"/>
                </a:moveTo>
                <a:lnTo>
                  <a:pt x="0" y="270420"/>
                </a:lnTo>
                <a:lnTo>
                  <a:pt x="0" y="87818"/>
                </a:lnTo>
                <a:lnTo>
                  <a:pt x="161350" y="0"/>
                </a:lnTo>
                <a:lnTo>
                  <a:pt x="322222" y="94083"/>
                </a:lnTo>
                <a:lnTo>
                  <a:pt x="322222" y="276686"/>
                </a:lnTo>
                <a:lnTo>
                  <a:pt x="164252" y="370635"/>
                </a:lnTo>
                <a:close/>
              </a:path>
            </a:pathLst>
          </a:custGeom>
          <a:ln w="11215">
            <a:solidFill>
              <a:srgbClr val="4140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391490" y="2099926"/>
            <a:ext cx="233971" cy="357836"/>
          </a:xfrm>
          <a:custGeom>
            <a:avLst/>
            <a:gdLst/>
            <a:ahLst/>
            <a:cxnLst/>
            <a:rect l="l" t="t" r="r" b="b"/>
            <a:pathLst>
              <a:path w="318134" h="365125">
                <a:moveTo>
                  <a:pt x="0" y="86565"/>
                </a:moveTo>
                <a:lnTo>
                  <a:pt x="0" y="265662"/>
                </a:lnTo>
                <a:lnTo>
                  <a:pt x="162023" y="364533"/>
                </a:lnTo>
                <a:lnTo>
                  <a:pt x="162023" y="275000"/>
                </a:lnTo>
                <a:lnTo>
                  <a:pt x="131557" y="275000"/>
                </a:lnTo>
                <a:lnTo>
                  <a:pt x="121057" y="267884"/>
                </a:lnTo>
                <a:lnTo>
                  <a:pt x="120779" y="259531"/>
                </a:lnTo>
                <a:lnTo>
                  <a:pt x="108479" y="259531"/>
                </a:lnTo>
                <a:lnTo>
                  <a:pt x="98832" y="254504"/>
                </a:lnTo>
                <a:lnTo>
                  <a:pt x="97559" y="248641"/>
                </a:lnTo>
                <a:lnTo>
                  <a:pt x="88347" y="248641"/>
                </a:lnTo>
                <a:lnTo>
                  <a:pt x="78701" y="243629"/>
                </a:lnTo>
                <a:lnTo>
                  <a:pt x="79483" y="231068"/>
                </a:lnTo>
                <a:lnTo>
                  <a:pt x="57313" y="231068"/>
                </a:lnTo>
                <a:lnTo>
                  <a:pt x="44734" y="223550"/>
                </a:lnTo>
                <a:lnTo>
                  <a:pt x="29210" y="166238"/>
                </a:lnTo>
                <a:lnTo>
                  <a:pt x="130584" y="166238"/>
                </a:lnTo>
                <a:lnTo>
                  <a:pt x="0" y="86565"/>
                </a:lnTo>
                <a:close/>
              </a:path>
              <a:path w="318134" h="365125">
                <a:moveTo>
                  <a:pt x="162023" y="216435"/>
                </a:moveTo>
                <a:lnTo>
                  <a:pt x="115194" y="216435"/>
                </a:lnTo>
                <a:lnTo>
                  <a:pt x="129463" y="224803"/>
                </a:lnTo>
                <a:lnTo>
                  <a:pt x="131557" y="275000"/>
                </a:lnTo>
                <a:lnTo>
                  <a:pt x="162023" y="275000"/>
                </a:lnTo>
                <a:lnTo>
                  <a:pt x="162023" y="216435"/>
                </a:lnTo>
                <a:close/>
              </a:path>
              <a:path w="318134" h="365125">
                <a:moveTo>
                  <a:pt x="119801" y="230233"/>
                </a:moveTo>
                <a:lnTo>
                  <a:pt x="108479" y="259531"/>
                </a:lnTo>
                <a:lnTo>
                  <a:pt x="120779" y="259531"/>
                </a:lnTo>
                <a:lnTo>
                  <a:pt x="119801" y="230233"/>
                </a:lnTo>
                <a:close/>
              </a:path>
              <a:path w="318134" h="365125">
                <a:moveTo>
                  <a:pt x="90023" y="213928"/>
                </a:moveTo>
                <a:lnTo>
                  <a:pt x="88347" y="248641"/>
                </a:lnTo>
                <a:lnTo>
                  <a:pt x="97559" y="248641"/>
                </a:lnTo>
                <a:lnTo>
                  <a:pt x="90023" y="213928"/>
                </a:lnTo>
                <a:close/>
              </a:path>
              <a:path w="318134" h="365125">
                <a:moveTo>
                  <a:pt x="162023" y="196356"/>
                </a:moveTo>
                <a:lnTo>
                  <a:pt x="81647" y="196356"/>
                </a:lnTo>
                <a:lnTo>
                  <a:pt x="95482" y="205560"/>
                </a:lnTo>
                <a:lnTo>
                  <a:pt x="104291" y="244882"/>
                </a:lnTo>
                <a:lnTo>
                  <a:pt x="115194" y="216435"/>
                </a:lnTo>
                <a:lnTo>
                  <a:pt x="162023" y="216435"/>
                </a:lnTo>
                <a:lnTo>
                  <a:pt x="162023" y="196356"/>
                </a:lnTo>
                <a:close/>
              </a:path>
              <a:path w="318134" h="365125">
                <a:moveTo>
                  <a:pt x="161439" y="185063"/>
                </a:moveTo>
                <a:lnTo>
                  <a:pt x="62772" y="185063"/>
                </a:lnTo>
                <a:lnTo>
                  <a:pt x="74094" y="193014"/>
                </a:lnTo>
                <a:lnTo>
                  <a:pt x="57313" y="231068"/>
                </a:lnTo>
                <a:lnTo>
                  <a:pt x="79483" y="231068"/>
                </a:lnTo>
                <a:lnTo>
                  <a:pt x="81647" y="196356"/>
                </a:lnTo>
                <a:lnTo>
                  <a:pt x="162023" y="196356"/>
                </a:lnTo>
                <a:lnTo>
                  <a:pt x="161903" y="185347"/>
                </a:lnTo>
                <a:lnTo>
                  <a:pt x="161439" y="185063"/>
                </a:lnTo>
                <a:close/>
              </a:path>
              <a:path w="318134" h="365125">
                <a:moveTo>
                  <a:pt x="130584" y="166238"/>
                </a:moveTo>
                <a:lnTo>
                  <a:pt x="29210" y="166238"/>
                </a:lnTo>
                <a:lnTo>
                  <a:pt x="40950" y="172503"/>
                </a:lnTo>
                <a:lnTo>
                  <a:pt x="51450" y="215599"/>
                </a:lnTo>
                <a:lnTo>
                  <a:pt x="62772" y="185063"/>
                </a:lnTo>
                <a:lnTo>
                  <a:pt x="161439" y="185063"/>
                </a:lnTo>
                <a:lnTo>
                  <a:pt x="130584" y="166238"/>
                </a:lnTo>
                <a:close/>
              </a:path>
              <a:path w="318134" h="365125">
                <a:moveTo>
                  <a:pt x="162023" y="185276"/>
                </a:moveTo>
                <a:close/>
              </a:path>
              <a:path w="318134" h="365125">
                <a:moveTo>
                  <a:pt x="159047" y="0"/>
                </a:moveTo>
                <a:lnTo>
                  <a:pt x="891" y="86079"/>
                </a:lnTo>
                <a:lnTo>
                  <a:pt x="162023" y="184392"/>
                </a:lnTo>
                <a:lnTo>
                  <a:pt x="162023" y="185276"/>
                </a:lnTo>
                <a:lnTo>
                  <a:pt x="317615" y="92740"/>
                </a:lnTo>
                <a:lnTo>
                  <a:pt x="159047" y="0"/>
                </a:lnTo>
                <a:close/>
              </a:path>
              <a:path w="318134" h="365125">
                <a:moveTo>
                  <a:pt x="0" y="85535"/>
                </a:moveTo>
                <a:lnTo>
                  <a:pt x="0" y="86565"/>
                </a:lnTo>
                <a:lnTo>
                  <a:pt x="891" y="86079"/>
                </a:lnTo>
                <a:lnTo>
                  <a:pt x="0" y="85535"/>
                </a:lnTo>
                <a:close/>
              </a:path>
            </a:pathLst>
          </a:custGeom>
          <a:solidFill>
            <a:srgbClr val="EEEE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557211" y="2235435"/>
            <a:ext cx="236965" cy="363236"/>
          </a:xfrm>
          <a:prstGeom prst="rect">
            <a:avLst/>
          </a:prstGeom>
          <a:blipFill>
            <a:blip r:embed="rId4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557211" y="2235434"/>
            <a:ext cx="237240" cy="363437"/>
          </a:xfrm>
          <a:custGeom>
            <a:avLst/>
            <a:gdLst/>
            <a:ahLst/>
            <a:cxnLst/>
            <a:rect l="l" t="t" r="r" b="b"/>
            <a:pathLst>
              <a:path w="322580" h="370839">
                <a:moveTo>
                  <a:pt x="164237" y="370635"/>
                </a:moveTo>
                <a:lnTo>
                  <a:pt x="0" y="270420"/>
                </a:lnTo>
                <a:lnTo>
                  <a:pt x="0" y="87818"/>
                </a:lnTo>
                <a:lnTo>
                  <a:pt x="161350" y="0"/>
                </a:lnTo>
                <a:lnTo>
                  <a:pt x="322207" y="94068"/>
                </a:lnTo>
                <a:lnTo>
                  <a:pt x="322207" y="276686"/>
                </a:lnTo>
                <a:lnTo>
                  <a:pt x="164237" y="370635"/>
                </a:lnTo>
                <a:close/>
              </a:path>
            </a:pathLst>
          </a:custGeom>
          <a:ln w="11215">
            <a:solidFill>
              <a:srgbClr val="4140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558619" y="2238066"/>
            <a:ext cx="233971" cy="357836"/>
          </a:xfrm>
          <a:custGeom>
            <a:avLst/>
            <a:gdLst/>
            <a:ahLst/>
            <a:cxnLst/>
            <a:rect l="l" t="t" r="r" b="b"/>
            <a:pathLst>
              <a:path w="318134" h="365125">
                <a:moveTo>
                  <a:pt x="0" y="86565"/>
                </a:moveTo>
                <a:lnTo>
                  <a:pt x="0" y="265662"/>
                </a:lnTo>
                <a:lnTo>
                  <a:pt x="162023" y="364533"/>
                </a:lnTo>
                <a:lnTo>
                  <a:pt x="162023" y="275000"/>
                </a:lnTo>
                <a:lnTo>
                  <a:pt x="131542" y="275000"/>
                </a:lnTo>
                <a:lnTo>
                  <a:pt x="121057" y="267884"/>
                </a:lnTo>
                <a:lnTo>
                  <a:pt x="120778" y="259516"/>
                </a:lnTo>
                <a:lnTo>
                  <a:pt x="108479" y="259516"/>
                </a:lnTo>
                <a:lnTo>
                  <a:pt x="98832" y="254504"/>
                </a:lnTo>
                <a:lnTo>
                  <a:pt x="97560" y="248641"/>
                </a:lnTo>
                <a:lnTo>
                  <a:pt x="88347" y="248641"/>
                </a:lnTo>
                <a:lnTo>
                  <a:pt x="78701" y="243614"/>
                </a:lnTo>
                <a:lnTo>
                  <a:pt x="79479" y="231068"/>
                </a:lnTo>
                <a:lnTo>
                  <a:pt x="57313" y="231068"/>
                </a:lnTo>
                <a:lnTo>
                  <a:pt x="44719" y="223535"/>
                </a:lnTo>
                <a:lnTo>
                  <a:pt x="29195" y="166223"/>
                </a:lnTo>
                <a:lnTo>
                  <a:pt x="130567" y="166223"/>
                </a:lnTo>
                <a:lnTo>
                  <a:pt x="0" y="86565"/>
                </a:lnTo>
                <a:close/>
              </a:path>
              <a:path w="318134" h="365125">
                <a:moveTo>
                  <a:pt x="162023" y="216420"/>
                </a:moveTo>
                <a:lnTo>
                  <a:pt x="115194" y="216420"/>
                </a:lnTo>
                <a:lnTo>
                  <a:pt x="129448" y="224788"/>
                </a:lnTo>
                <a:lnTo>
                  <a:pt x="131542" y="275000"/>
                </a:lnTo>
                <a:lnTo>
                  <a:pt x="162023" y="275000"/>
                </a:lnTo>
                <a:lnTo>
                  <a:pt x="162023" y="216420"/>
                </a:lnTo>
                <a:close/>
              </a:path>
              <a:path w="318134" h="365125">
                <a:moveTo>
                  <a:pt x="119801" y="230233"/>
                </a:moveTo>
                <a:lnTo>
                  <a:pt x="108479" y="259516"/>
                </a:lnTo>
                <a:lnTo>
                  <a:pt x="120778" y="259516"/>
                </a:lnTo>
                <a:lnTo>
                  <a:pt x="119801" y="230233"/>
                </a:lnTo>
                <a:close/>
              </a:path>
              <a:path w="318134" h="365125">
                <a:moveTo>
                  <a:pt x="90023" y="213914"/>
                </a:moveTo>
                <a:lnTo>
                  <a:pt x="88347" y="248641"/>
                </a:lnTo>
                <a:lnTo>
                  <a:pt x="97560" y="248641"/>
                </a:lnTo>
                <a:lnTo>
                  <a:pt x="90023" y="213914"/>
                </a:lnTo>
                <a:close/>
              </a:path>
              <a:path w="318134" h="365125">
                <a:moveTo>
                  <a:pt x="162023" y="196341"/>
                </a:moveTo>
                <a:lnTo>
                  <a:pt x="81632" y="196341"/>
                </a:lnTo>
                <a:lnTo>
                  <a:pt x="95482" y="205545"/>
                </a:lnTo>
                <a:lnTo>
                  <a:pt x="104291" y="244867"/>
                </a:lnTo>
                <a:lnTo>
                  <a:pt x="115194" y="216420"/>
                </a:lnTo>
                <a:lnTo>
                  <a:pt x="162023" y="216420"/>
                </a:lnTo>
                <a:lnTo>
                  <a:pt x="162023" y="196341"/>
                </a:lnTo>
                <a:close/>
              </a:path>
              <a:path w="318134" h="365125">
                <a:moveTo>
                  <a:pt x="161424" y="185049"/>
                </a:moveTo>
                <a:lnTo>
                  <a:pt x="62757" y="185049"/>
                </a:lnTo>
                <a:lnTo>
                  <a:pt x="74094" y="192999"/>
                </a:lnTo>
                <a:lnTo>
                  <a:pt x="57313" y="231068"/>
                </a:lnTo>
                <a:lnTo>
                  <a:pt x="79479" y="231068"/>
                </a:lnTo>
                <a:lnTo>
                  <a:pt x="81632" y="196341"/>
                </a:lnTo>
                <a:lnTo>
                  <a:pt x="162023" y="196341"/>
                </a:lnTo>
                <a:lnTo>
                  <a:pt x="162023" y="185332"/>
                </a:lnTo>
                <a:lnTo>
                  <a:pt x="161889" y="185332"/>
                </a:lnTo>
                <a:lnTo>
                  <a:pt x="161424" y="185049"/>
                </a:lnTo>
                <a:close/>
              </a:path>
              <a:path w="318134" h="365125">
                <a:moveTo>
                  <a:pt x="130567" y="166223"/>
                </a:moveTo>
                <a:lnTo>
                  <a:pt x="29195" y="166223"/>
                </a:lnTo>
                <a:lnTo>
                  <a:pt x="40950" y="172503"/>
                </a:lnTo>
                <a:lnTo>
                  <a:pt x="51435" y="215599"/>
                </a:lnTo>
                <a:lnTo>
                  <a:pt x="62757" y="185049"/>
                </a:lnTo>
                <a:lnTo>
                  <a:pt x="161424" y="185049"/>
                </a:lnTo>
                <a:lnTo>
                  <a:pt x="130567" y="166223"/>
                </a:lnTo>
                <a:close/>
              </a:path>
              <a:path w="318134" h="365125">
                <a:moveTo>
                  <a:pt x="162023" y="185252"/>
                </a:moveTo>
                <a:lnTo>
                  <a:pt x="161889" y="185332"/>
                </a:lnTo>
                <a:lnTo>
                  <a:pt x="162023" y="185332"/>
                </a:lnTo>
                <a:close/>
              </a:path>
              <a:path w="318134" h="365125">
                <a:moveTo>
                  <a:pt x="159047" y="0"/>
                </a:moveTo>
                <a:lnTo>
                  <a:pt x="904" y="86072"/>
                </a:lnTo>
                <a:lnTo>
                  <a:pt x="162023" y="184377"/>
                </a:lnTo>
                <a:lnTo>
                  <a:pt x="162023" y="185252"/>
                </a:lnTo>
                <a:lnTo>
                  <a:pt x="317601" y="92740"/>
                </a:lnTo>
                <a:lnTo>
                  <a:pt x="159047" y="0"/>
                </a:lnTo>
                <a:close/>
              </a:path>
              <a:path w="318134" h="365125">
                <a:moveTo>
                  <a:pt x="0" y="85520"/>
                </a:moveTo>
                <a:lnTo>
                  <a:pt x="0" y="86565"/>
                </a:lnTo>
                <a:lnTo>
                  <a:pt x="904" y="86072"/>
                </a:lnTo>
                <a:lnTo>
                  <a:pt x="0" y="85520"/>
                </a:lnTo>
                <a:close/>
              </a:path>
            </a:pathLst>
          </a:custGeom>
          <a:solidFill>
            <a:srgbClr val="EEEE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726836" y="2372083"/>
            <a:ext cx="236965" cy="363236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726836" y="2372083"/>
            <a:ext cx="237240" cy="363437"/>
          </a:xfrm>
          <a:custGeom>
            <a:avLst/>
            <a:gdLst/>
            <a:ahLst/>
            <a:cxnLst/>
            <a:rect l="l" t="t" r="r" b="b"/>
            <a:pathLst>
              <a:path w="322580" h="370839">
                <a:moveTo>
                  <a:pt x="164237" y="370635"/>
                </a:moveTo>
                <a:lnTo>
                  <a:pt x="0" y="270420"/>
                </a:lnTo>
                <a:lnTo>
                  <a:pt x="0" y="87818"/>
                </a:lnTo>
                <a:lnTo>
                  <a:pt x="161335" y="0"/>
                </a:lnTo>
                <a:lnTo>
                  <a:pt x="322207" y="94083"/>
                </a:lnTo>
                <a:lnTo>
                  <a:pt x="322207" y="276686"/>
                </a:lnTo>
                <a:lnTo>
                  <a:pt x="164237" y="370635"/>
                </a:lnTo>
                <a:close/>
              </a:path>
            </a:pathLst>
          </a:custGeom>
          <a:ln w="11215">
            <a:solidFill>
              <a:srgbClr val="4140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728233" y="2374715"/>
            <a:ext cx="233971" cy="357836"/>
          </a:xfrm>
          <a:custGeom>
            <a:avLst/>
            <a:gdLst/>
            <a:ahLst/>
            <a:cxnLst/>
            <a:rect l="l" t="t" r="r" b="b"/>
            <a:pathLst>
              <a:path w="318134" h="365125">
                <a:moveTo>
                  <a:pt x="0" y="86565"/>
                </a:moveTo>
                <a:lnTo>
                  <a:pt x="0" y="265662"/>
                </a:lnTo>
                <a:lnTo>
                  <a:pt x="162038" y="364533"/>
                </a:lnTo>
                <a:lnTo>
                  <a:pt x="162038" y="275000"/>
                </a:lnTo>
                <a:lnTo>
                  <a:pt x="131557" y="275000"/>
                </a:lnTo>
                <a:lnTo>
                  <a:pt x="121072" y="267884"/>
                </a:lnTo>
                <a:lnTo>
                  <a:pt x="120790" y="259516"/>
                </a:lnTo>
                <a:lnTo>
                  <a:pt x="108479" y="259516"/>
                </a:lnTo>
                <a:lnTo>
                  <a:pt x="98832" y="254504"/>
                </a:lnTo>
                <a:lnTo>
                  <a:pt x="97562" y="248641"/>
                </a:lnTo>
                <a:lnTo>
                  <a:pt x="88347" y="248641"/>
                </a:lnTo>
                <a:lnTo>
                  <a:pt x="78701" y="243614"/>
                </a:lnTo>
                <a:lnTo>
                  <a:pt x="79482" y="231068"/>
                </a:lnTo>
                <a:lnTo>
                  <a:pt x="57313" y="231068"/>
                </a:lnTo>
                <a:lnTo>
                  <a:pt x="44734" y="223535"/>
                </a:lnTo>
                <a:lnTo>
                  <a:pt x="29210" y="166223"/>
                </a:lnTo>
                <a:lnTo>
                  <a:pt x="130579" y="166223"/>
                </a:lnTo>
                <a:lnTo>
                  <a:pt x="0" y="86565"/>
                </a:lnTo>
                <a:close/>
              </a:path>
              <a:path w="318134" h="365125">
                <a:moveTo>
                  <a:pt x="162038" y="216420"/>
                </a:moveTo>
                <a:lnTo>
                  <a:pt x="115194" y="216420"/>
                </a:lnTo>
                <a:lnTo>
                  <a:pt x="129463" y="224788"/>
                </a:lnTo>
                <a:lnTo>
                  <a:pt x="131557" y="275000"/>
                </a:lnTo>
                <a:lnTo>
                  <a:pt x="162038" y="275000"/>
                </a:lnTo>
                <a:lnTo>
                  <a:pt x="162038" y="216420"/>
                </a:lnTo>
                <a:close/>
              </a:path>
              <a:path w="318134" h="365125">
                <a:moveTo>
                  <a:pt x="119801" y="230233"/>
                </a:moveTo>
                <a:lnTo>
                  <a:pt x="108479" y="259516"/>
                </a:lnTo>
                <a:lnTo>
                  <a:pt x="120790" y="259516"/>
                </a:lnTo>
                <a:lnTo>
                  <a:pt x="119801" y="230233"/>
                </a:lnTo>
                <a:close/>
              </a:path>
              <a:path w="318134" h="365125">
                <a:moveTo>
                  <a:pt x="90038" y="213914"/>
                </a:moveTo>
                <a:lnTo>
                  <a:pt x="88347" y="248641"/>
                </a:lnTo>
                <a:lnTo>
                  <a:pt x="97562" y="248641"/>
                </a:lnTo>
                <a:lnTo>
                  <a:pt x="90038" y="213914"/>
                </a:lnTo>
                <a:close/>
              </a:path>
              <a:path w="318134" h="365125">
                <a:moveTo>
                  <a:pt x="162038" y="196341"/>
                </a:moveTo>
                <a:lnTo>
                  <a:pt x="81647" y="196341"/>
                </a:lnTo>
                <a:lnTo>
                  <a:pt x="95482" y="205560"/>
                </a:lnTo>
                <a:lnTo>
                  <a:pt x="104291" y="244882"/>
                </a:lnTo>
                <a:lnTo>
                  <a:pt x="115194" y="216420"/>
                </a:lnTo>
                <a:lnTo>
                  <a:pt x="162038" y="216420"/>
                </a:lnTo>
                <a:lnTo>
                  <a:pt x="162038" y="196341"/>
                </a:lnTo>
                <a:close/>
              </a:path>
              <a:path w="318134" h="365125">
                <a:moveTo>
                  <a:pt x="161439" y="185049"/>
                </a:moveTo>
                <a:lnTo>
                  <a:pt x="62772" y="185049"/>
                </a:lnTo>
                <a:lnTo>
                  <a:pt x="74094" y="192999"/>
                </a:lnTo>
                <a:lnTo>
                  <a:pt x="57313" y="231068"/>
                </a:lnTo>
                <a:lnTo>
                  <a:pt x="79482" y="231068"/>
                </a:lnTo>
                <a:lnTo>
                  <a:pt x="81647" y="196341"/>
                </a:lnTo>
                <a:lnTo>
                  <a:pt x="162038" y="196341"/>
                </a:lnTo>
                <a:lnTo>
                  <a:pt x="162038" y="185332"/>
                </a:lnTo>
                <a:lnTo>
                  <a:pt x="161903" y="185332"/>
                </a:lnTo>
                <a:lnTo>
                  <a:pt x="161439" y="185049"/>
                </a:lnTo>
                <a:close/>
              </a:path>
              <a:path w="318134" h="365125">
                <a:moveTo>
                  <a:pt x="130579" y="166223"/>
                </a:moveTo>
                <a:lnTo>
                  <a:pt x="29210" y="166223"/>
                </a:lnTo>
                <a:lnTo>
                  <a:pt x="40950" y="172503"/>
                </a:lnTo>
                <a:lnTo>
                  <a:pt x="51450" y="215599"/>
                </a:lnTo>
                <a:lnTo>
                  <a:pt x="62772" y="185049"/>
                </a:lnTo>
                <a:lnTo>
                  <a:pt x="161439" y="185049"/>
                </a:lnTo>
                <a:lnTo>
                  <a:pt x="130579" y="166223"/>
                </a:lnTo>
                <a:close/>
              </a:path>
              <a:path w="318134" h="365125">
                <a:moveTo>
                  <a:pt x="162038" y="185252"/>
                </a:moveTo>
                <a:lnTo>
                  <a:pt x="161903" y="185332"/>
                </a:lnTo>
                <a:lnTo>
                  <a:pt x="162038" y="185332"/>
                </a:lnTo>
                <a:close/>
              </a:path>
              <a:path w="318134" h="365125">
                <a:moveTo>
                  <a:pt x="159047" y="0"/>
                </a:moveTo>
                <a:lnTo>
                  <a:pt x="904" y="86072"/>
                </a:lnTo>
                <a:lnTo>
                  <a:pt x="162038" y="184377"/>
                </a:lnTo>
                <a:lnTo>
                  <a:pt x="162038" y="185252"/>
                </a:lnTo>
                <a:lnTo>
                  <a:pt x="317615" y="92740"/>
                </a:lnTo>
                <a:lnTo>
                  <a:pt x="159047" y="0"/>
                </a:lnTo>
                <a:close/>
              </a:path>
              <a:path w="318134" h="365125">
                <a:moveTo>
                  <a:pt x="0" y="85520"/>
                </a:moveTo>
                <a:lnTo>
                  <a:pt x="0" y="86565"/>
                </a:lnTo>
                <a:lnTo>
                  <a:pt x="904" y="86072"/>
                </a:lnTo>
                <a:lnTo>
                  <a:pt x="0" y="85520"/>
                </a:lnTo>
                <a:close/>
              </a:path>
            </a:pathLst>
          </a:custGeom>
          <a:solidFill>
            <a:srgbClr val="EEEE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178060" y="2275580"/>
            <a:ext cx="236969" cy="363236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178060" y="2275579"/>
            <a:ext cx="237240" cy="363437"/>
          </a:xfrm>
          <a:custGeom>
            <a:avLst/>
            <a:gdLst/>
            <a:ahLst/>
            <a:cxnLst/>
            <a:rect l="l" t="t" r="r" b="b"/>
            <a:pathLst>
              <a:path w="322580" h="370839">
                <a:moveTo>
                  <a:pt x="164241" y="370635"/>
                </a:moveTo>
                <a:lnTo>
                  <a:pt x="0" y="270420"/>
                </a:lnTo>
                <a:lnTo>
                  <a:pt x="0" y="87818"/>
                </a:lnTo>
                <a:lnTo>
                  <a:pt x="161355" y="0"/>
                </a:lnTo>
                <a:lnTo>
                  <a:pt x="322212" y="94083"/>
                </a:lnTo>
                <a:lnTo>
                  <a:pt x="322212" y="276686"/>
                </a:lnTo>
                <a:lnTo>
                  <a:pt x="164241" y="370635"/>
                </a:lnTo>
                <a:close/>
              </a:path>
            </a:pathLst>
          </a:custGeom>
          <a:ln w="11215">
            <a:solidFill>
              <a:srgbClr val="4140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179468" y="2278211"/>
            <a:ext cx="233971" cy="357836"/>
          </a:xfrm>
          <a:custGeom>
            <a:avLst/>
            <a:gdLst/>
            <a:ahLst/>
            <a:cxnLst/>
            <a:rect l="l" t="t" r="r" b="b"/>
            <a:pathLst>
              <a:path w="318134" h="365125">
                <a:moveTo>
                  <a:pt x="0" y="86565"/>
                </a:moveTo>
                <a:lnTo>
                  <a:pt x="0" y="265662"/>
                </a:lnTo>
                <a:lnTo>
                  <a:pt x="162028" y="364533"/>
                </a:lnTo>
                <a:lnTo>
                  <a:pt x="162028" y="275000"/>
                </a:lnTo>
                <a:lnTo>
                  <a:pt x="131546" y="275000"/>
                </a:lnTo>
                <a:lnTo>
                  <a:pt x="121062" y="267884"/>
                </a:lnTo>
                <a:lnTo>
                  <a:pt x="120783" y="259516"/>
                </a:lnTo>
                <a:lnTo>
                  <a:pt x="108468" y="259516"/>
                </a:lnTo>
                <a:lnTo>
                  <a:pt x="98836" y="254504"/>
                </a:lnTo>
                <a:lnTo>
                  <a:pt x="97564" y="248641"/>
                </a:lnTo>
                <a:lnTo>
                  <a:pt x="88337" y="248641"/>
                </a:lnTo>
                <a:lnTo>
                  <a:pt x="78705" y="243629"/>
                </a:lnTo>
                <a:lnTo>
                  <a:pt x="79484" y="231068"/>
                </a:lnTo>
                <a:lnTo>
                  <a:pt x="57302" y="231068"/>
                </a:lnTo>
                <a:lnTo>
                  <a:pt x="44724" y="223550"/>
                </a:lnTo>
                <a:lnTo>
                  <a:pt x="29202" y="166223"/>
                </a:lnTo>
                <a:lnTo>
                  <a:pt x="130551" y="166223"/>
                </a:lnTo>
                <a:lnTo>
                  <a:pt x="0" y="86565"/>
                </a:lnTo>
                <a:close/>
              </a:path>
              <a:path w="318134" h="365125">
                <a:moveTo>
                  <a:pt x="162028" y="216435"/>
                </a:moveTo>
                <a:lnTo>
                  <a:pt x="115184" y="216435"/>
                </a:lnTo>
                <a:lnTo>
                  <a:pt x="129452" y="224803"/>
                </a:lnTo>
                <a:lnTo>
                  <a:pt x="131546" y="275000"/>
                </a:lnTo>
                <a:lnTo>
                  <a:pt x="162028" y="275000"/>
                </a:lnTo>
                <a:lnTo>
                  <a:pt x="162028" y="216435"/>
                </a:lnTo>
                <a:close/>
              </a:path>
              <a:path w="318134" h="365125">
                <a:moveTo>
                  <a:pt x="119805" y="230233"/>
                </a:moveTo>
                <a:lnTo>
                  <a:pt x="108468" y="259516"/>
                </a:lnTo>
                <a:lnTo>
                  <a:pt x="120783" y="259516"/>
                </a:lnTo>
                <a:lnTo>
                  <a:pt x="119805" y="230233"/>
                </a:lnTo>
                <a:close/>
              </a:path>
              <a:path w="318134" h="365125">
                <a:moveTo>
                  <a:pt x="90027" y="213914"/>
                </a:moveTo>
                <a:lnTo>
                  <a:pt x="88337" y="248641"/>
                </a:lnTo>
                <a:lnTo>
                  <a:pt x="97564" y="248641"/>
                </a:lnTo>
                <a:lnTo>
                  <a:pt x="90027" y="213914"/>
                </a:lnTo>
                <a:close/>
              </a:path>
              <a:path w="318134" h="365125">
                <a:moveTo>
                  <a:pt x="162028" y="196356"/>
                </a:moveTo>
                <a:lnTo>
                  <a:pt x="81636" y="196356"/>
                </a:lnTo>
                <a:lnTo>
                  <a:pt x="95486" y="205560"/>
                </a:lnTo>
                <a:lnTo>
                  <a:pt x="104281" y="244882"/>
                </a:lnTo>
                <a:lnTo>
                  <a:pt x="115184" y="216435"/>
                </a:lnTo>
                <a:lnTo>
                  <a:pt x="162028" y="216435"/>
                </a:lnTo>
                <a:lnTo>
                  <a:pt x="162028" y="196356"/>
                </a:lnTo>
                <a:close/>
              </a:path>
              <a:path w="318134" h="365125">
                <a:moveTo>
                  <a:pt x="161404" y="185049"/>
                </a:moveTo>
                <a:lnTo>
                  <a:pt x="62761" y="185049"/>
                </a:lnTo>
                <a:lnTo>
                  <a:pt x="74083" y="193014"/>
                </a:lnTo>
                <a:lnTo>
                  <a:pt x="57302" y="231068"/>
                </a:lnTo>
                <a:lnTo>
                  <a:pt x="79484" y="231068"/>
                </a:lnTo>
                <a:lnTo>
                  <a:pt x="81636" y="196356"/>
                </a:lnTo>
                <a:lnTo>
                  <a:pt x="162028" y="196356"/>
                </a:lnTo>
                <a:lnTo>
                  <a:pt x="162028" y="185347"/>
                </a:lnTo>
                <a:lnTo>
                  <a:pt x="161893" y="185347"/>
                </a:lnTo>
                <a:lnTo>
                  <a:pt x="161404" y="185049"/>
                </a:lnTo>
                <a:close/>
              </a:path>
              <a:path w="318134" h="365125">
                <a:moveTo>
                  <a:pt x="130551" y="166223"/>
                </a:moveTo>
                <a:lnTo>
                  <a:pt x="29202" y="166223"/>
                </a:lnTo>
                <a:lnTo>
                  <a:pt x="40949" y="172503"/>
                </a:lnTo>
                <a:lnTo>
                  <a:pt x="51439" y="215599"/>
                </a:lnTo>
                <a:lnTo>
                  <a:pt x="62761" y="185049"/>
                </a:lnTo>
                <a:lnTo>
                  <a:pt x="161404" y="185049"/>
                </a:lnTo>
                <a:lnTo>
                  <a:pt x="130551" y="166223"/>
                </a:lnTo>
                <a:close/>
              </a:path>
              <a:path w="318134" h="365125">
                <a:moveTo>
                  <a:pt x="162028" y="185267"/>
                </a:moveTo>
                <a:lnTo>
                  <a:pt x="161893" y="185347"/>
                </a:lnTo>
                <a:lnTo>
                  <a:pt x="162028" y="185347"/>
                </a:lnTo>
                <a:close/>
              </a:path>
              <a:path w="318134" h="365125">
                <a:moveTo>
                  <a:pt x="159036" y="0"/>
                </a:moveTo>
                <a:lnTo>
                  <a:pt x="891" y="86079"/>
                </a:lnTo>
                <a:lnTo>
                  <a:pt x="162028" y="184392"/>
                </a:lnTo>
                <a:lnTo>
                  <a:pt x="162028" y="185267"/>
                </a:lnTo>
                <a:lnTo>
                  <a:pt x="317605" y="92740"/>
                </a:lnTo>
                <a:lnTo>
                  <a:pt x="159036" y="0"/>
                </a:lnTo>
                <a:close/>
              </a:path>
              <a:path w="318134" h="365125">
                <a:moveTo>
                  <a:pt x="0" y="85535"/>
                </a:moveTo>
                <a:lnTo>
                  <a:pt x="0" y="86565"/>
                </a:lnTo>
                <a:lnTo>
                  <a:pt x="891" y="86079"/>
                </a:lnTo>
                <a:lnTo>
                  <a:pt x="0" y="85535"/>
                </a:lnTo>
                <a:close/>
              </a:path>
            </a:pathLst>
          </a:custGeom>
          <a:solidFill>
            <a:srgbClr val="EEEE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345181" y="2413719"/>
            <a:ext cx="236976" cy="363236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345181" y="2413718"/>
            <a:ext cx="237240" cy="363437"/>
          </a:xfrm>
          <a:custGeom>
            <a:avLst/>
            <a:gdLst/>
            <a:ahLst/>
            <a:cxnLst/>
            <a:rect l="l" t="t" r="r" b="b"/>
            <a:pathLst>
              <a:path w="322580" h="370839">
                <a:moveTo>
                  <a:pt x="164252" y="370635"/>
                </a:moveTo>
                <a:lnTo>
                  <a:pt x="0" y="270420"/>
                </a:lnTo>
                <a:lnTo>
                  <a:pt x="0" y="87803"/>
                </a:lnTo>
                <a:lnTo>
                  <a:pt x="161350" y="0"/>
                </a:lnTo>
                <a:lnTo>
                  <a:pt x="322222" y="94068"/>
                </a:lnTo>
                <a:lnTo>
                  <a:pt x="322222" y="276671"/>
                </a:lnTo>
                <a:lnTo>
                  <a:pt x="164252" y="370635"/>
                </a:lnTo>
                <a:close/>
              </a:path>
            </a:pathLst>
          </a:custGeom>
          <a:ln w="11215">
            <a:solidFill>
              <a:srgbClr val="4140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346589" y="2416350"/>
            <a:ext cx="233971" cy="357836"/>
          </a:xfrm>
          <a:custGeom>
            <a:avLst/>
            <a:gdLst/>
            <a:ahLst/>
            <a:cxnLst/>
            <a:rect l="l" t="t" r="r" b="b"/>
            <a:pathLst>
              <a:path w="318134" h="365125">
                <a:moveTo>
                  <a:pt x="0" y="86565"/>
                </a:moveTo>
                <a:lnTo>
                  <a:pt x="0" y="265662"/>
                </a:lnTo>
                <a:lnTo>
                  <a:pt x="162023" y="364519"/>
                </a:lnTo>
                <a:lnTo>
                  <a:pt x="162023" y="275000"/>
                </a:lnTo>
                <a:lnTo>
                  <a:pt x="131557" y="275000"/>
                </a:lnTo>
                <a:lnTo>
                  <a:pt x="121057" y="267884"/>
                </a:lnTo>
                <a:lnTo>
                  <a:pt x="120778" y="259516"/>
                </a:lnTo>
                <a:lnTo>
                  <a:pt x="108479" y="259516"/>
                </a:lnTo>
                <a:lnTo>
                  <a:pt x="98832" y="254504"/>
                </a:lnTo>
                <a:lnTo>
                  <a:pt x="97560" y="248641"/>
                </a:lnTo>
                <a:lnTo>
                  <a:pt x="88347" y="248641"/>
                </a:lnTo>
                <a:lnTo>
                  <a:pt x="78701" y="243614"/>
                </a:lnTo>
                <a:lnTo>
                  <a:pt x="79482" y="231068"/>
                </a:lnTo>
                <a:lnTo>
                  <a:pt x="57313" y="231068"/>
                </a:lnTo>
                <a:lnTo>
                  <a:pt x="44734" y="223535"/>
                </a:lnTo>
                <a:lnTo>
                  <a:pt x="29210" y="166223"/>
                </a:lnTo>
                <a:lnTo>
                  <a:pt x="130579" y="166223"/>
                </a:lnTo>
                <a:lnTo>
                  <a:pt x="0" y="86565"/>
                </a:lnTo>
                <a:close/>
              </a:path>
              <a:path w="318134" h="365125">
                <a:moveTo>
                  <a:pt x="162023" y="216420"/>
                </a:moveTo>
                <a:lnTo>
                  <a:pt x="115194" y="216420"/>
                </a:lnTo>
                <a:lnTo>
                  <a:pt x="129463" y="224788"/>
                </a:lnTo>
                <a:lnTo>
                  <a:pt x="131557" y="275000"/>
                </a:lnTo>
                <a:lnTo>
                  <a:pt x="162023" y="275000"/>
                </a:lnTo>
                <a:lnTo>
                  <a:pt x="162023" y="216420"/>
                </a:lnTo>
                <a:close/>
              </a:path>
              <a:path w="318134" h="365125">
                <a:moveTo>
                  <a:pt x="119801" y="230233"/>
                </a:moveTo>
                <a:lnTo>
                  <a:pt x="108479" y="259516"/>
                </a:lnTo>
                <a:lnTo>
                  <a:pt x="120778" y="259516"/>
                </a:lnTo>
                <a:lnTo>
                  <a:pt x="119801" y="230233"/>
                </a:lnTo>
                <a:close/>
              </a:path>
              <a:path w="318134" h="365125">
                <a:moveTo>
                  <a:pt x="90023" y="213914"/>
                </a:moveTo>
                <a:lnTo>
                  <a:pt x="88347" y="248641"/>
                </a:lnTo>
                <a:lnTo>
                  <a:pt x="97560" y="248641"/>
                </a:lnTo>
                <a:lnTo>
                  <a:pt x="90023" y="213914"/>
                </a:lnTo>
                <a:close/>
              </a:path>
              <a:path w="318134" h="365125">
                <a:moveTo>
                  <a:pt x="162023" y="196341"/>
                </a:moveTo>
                <a:lnTo>
                  <a:pt x="81647" y="196341"/>
                </a:lnTo>
                <a:lnTo>
                  <a:pt x="95482" y="205545"/>
                </a:lnTo>
                <a:lnTo>
                  <a:pt x="104291" y="244867"/>
                </a:lnTo>
                <a:lnTo>
                  <a:pt x="115194" y="216420"/>
                </a:lnTo>
                <a:lnTo>
                  <a:pt x="162023" y="216420"/>
                </a:lnTo>
                <a:lnTo>
                  <a:pt x="162023" y="196341"/>
                </a:lnTo>
                <a:close/>
              </a:path>
              <a:path w="318134" h="365125">
                <a:moveTo>
                  <a:pt x="161439" y="185049"/>
                </a:moveTo>
                <a:lnTo>
                  <a:pt x="62772" y="185049"/>
                </a:lnTo>
                <a:lnTo>
                  <a:pt x="74094" y="192999"/>
                </a:lnTo>
                <a:lnTo>
                  <a:pt x="57313" y="231068"/>
                </a:lnTo>
                <a:lnTo>
                  <a:pt x="79482" y="231068"/>
                </a:lnTo>
                <a:lnTo>
                  <a:pt x="81647" y="196341"/>
                </a:lnTo>
                <a:lnTo>
                  <a:pt x="162023" y="196341"/>
                </a:lnTo>
                <a:lnTo>
                  <a:pt x="161903" y="185332"/>
                </a:lnTo>
                <a:lnTo>
                  <a:pt x="161439" y="185049"/>
                </a:lnTo>
                <a:close/>
              </a:path>
              <a:path w="318134" h="365125">
                <a:moveTo>
                  <a:pt x="130579" y="166223"/>
                </a:moveTo>
                <a:lnTo>
                  <a:pt x="29210" y="166223"/>
                </a:lnTo>
                <a:lnTo>
                  <a:pt x="40950" y="172503"/>
                </a:lnTo>
                <a:lnTo>
                  <a:pt x="51450" y="215584"/>
                </a:lnTo>
                <a:lnTo>
                  <a:pt x="62772" y="185049"/>
                </a:lnTo>
                <a:lnTo>
                  <a:pt x="161439" y="185049"/>
                </a:lnTo>
                <a:lnTo>
                  <a:pt x="130579" y="166223"/>
                </a:lnTo>
                <a:close/>
              </a:path>
              <a:path w="318134" h="365125">
                <a:moveTo>
                  <a:pt x="162023" y="185261"/>
                </a:moveTo>
                <a:close/>
              </a:path>
              <a:path w="318134" h="365125">
                <a:moveTo>
                  <a:pt x="159047" y="0"/>
                </a:moveTo>
                <a:lnTo>
                  <a:pt x="904" y="86072"/>
                </a:lnTo>
                <a:lnTo>
                  <a:pt x="162023" y="184377"/>
                </a:lnTo>
                <a:lnTo>
                  <a:pt x="162023" y="185261"/>
                </a:lnTo>
                <a:lnTo>
                  <a:pt x="317615" y="92725"/>
                </a:lnTo>
                <a:lnTo>
                  <a:pt x="159047" y="0"/>
                </a:lnTo>
                <a:close/>
              </a:path>
              <a:path w="318134" h="365125">
                <a:moveTo>
                  <a:pt x="0" y="85520"/>
                </a:moveTo>
                <a:lnTo>
                  <a:pt x="0" y="86565"/>
                </a:lnTo>
                <a:lnTo>
                  <a:pt x="904" y="86072"/>
                </a:lnTo>
                <a:lnTo>
                  <a:pt x="0" y="85520"/>
                </a:lnTo>
                <a:close/>
              </a:path>
            </a:pathLst>
          </a:custGeom>
          <a:solidFill>
            <a:srgbClr val="EEEE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514807" y="2550367"/>
            <a:ext cx="236965" cy="363236"/>
          </a:xfrm>
          <a:prstGeom prst="rect">
            <a:avLst/>
          </a:prstGeom>
          <a:blipFill>
            <a:blip r:embed="rId4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514806" y="2550367"/>
            <a:ext cx="237240" cy="363437"/>
          </a:xfrm>
          <a:custGeom>
            <a:avLst/>
            <a:gdLst/>
            <a:ahLst/>
            <a:cxnLst/>
            <a:rect l="l" t="t" r="r" b="b"/>
            <a:pathLst>
              <a:path w="322580" h="370839">
                <a:moveTo>
                  <a:pt x="164237" y="370635"/>
                </a:moveTo>
                <a:lnTo>
                  <a:pt x="0" y="270420"/>
                </a:lnTo>
                <a:lnTo>
                  <a:pt x="0" y="87803"/>
                </a:lnTo>
                <a:lnTo>
                  <a:pt x="161350" y="0"/>
                </a:lnTo>
                <a:lnTo>
                  <a:pt x="322207" y="94068"/>
                </a:lnTo>
                <a:lnTo>
                  <a:pt x="322207" y="276671"/>
                </a:lnTo>
                <a:lnTo>
                  <a:pt x="164237" y="370635"/>
                </a:lnTo>
                <a:close/>
              </a:path>
            </a:pathLst>
          </a:custGeom>
          <a:ln w="11215">
            <a:solidFill>
              <a:srgbClr val="4140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516215" y="2552999"/>
            <a:ext cx="233971" cy="357836"/>
          </a:xfrm>
          <a:custGeom>
            <a:avLst/>
            <a:gdLst/>
            <a:ahLst/>
            <a:cxnLst/>
            <a:rect l="l" t="t" r="r" b="b"/>
            <a:pathLst>
              <a:path w="318134" h="365125">
                <a:moveTo>
                  <a:pt x="0" y="86565"/>
                </a:moveTo>
                <a:lnTo>
                  <a:pt x="0" y="265662"/>
                </a:lnTo>
                <a:lnTo>
                  <a:pt x="162023" y="364519"/>
                </a:lnTo>
                <a:lnTo>
                  <a:pt x="162023" y="275000"/>
                </a:lnTo>
                <a:lnTo>
                  <a:pt x="131542" y="275000"/>
                </a:lnTo>
                <a:lnTo>
                  <a:pt x="121057" y="267884"/>
                </a:lnTo>
                <a:lnTo>
                  <a:pt x="120778" y="259516"/>
                </a:lnTo>
                <a:lnTo>
                  <a:pt x="108479" y="259516"/>
                </a:lnTo>
                <a:lnTo>
                  <a:pt x="98832" y="254504"/>
                </a:lnTo>
                <a:lnTo>
                  <a:pt x="97560" y="248641"/>
                </a:lnTo>
                <a:lnTo>
                  <a:pt x="88347" y="248641"/>
                </a:lnTo>
                <a:lnTo>
                  <a:pt x="78701" y="243614"/>
                </a:lnTo>
                <a:lnTo>
                  <a:pt x="79479" y="231068"/>
                </a:lnTo>
                <a:lnTo>
                  <a:pt x="57313" y="231068"/>
                </a:lnTo>
                <a:lnTo>
                  <a:pt x="44719" y="223535"/>
                </a:lnTo>
                <a:lnTo>
                  <a:pt x="29195" y="166223"/>
                </a:lnTo>
                <a:lnTo>
                  <a:pt x="130567" y="166223"/>
                </a:lnTo>
                <a:lnTo>
                  <a:pt x="0" y="86565"/>
                </a:lnTo>
                <a:close/>
              </a:path>
              <a:path w="318134" h="365125">
                <a:moveTo>
                  <a:pt x="162023" y="216420"/>
                </a:moveTo>
                <a:lnTo>
                  <a:pt x="115194" y="216420"/>
                </a:lnTo>
                <a:lnTo>
                  <a:pt x="129448" y="224788"/>
                </a:lnTo>
                <a:lnTo>
                  <a:pt x="131542" y="275000"/>
                </a:lnTo>
                <a:lnTo>
                  <a:pt x="162023" y="275000"/>
                </a:lnTo>
                <a:lnTo>
                  <a:pt x="162023" y="216420"/>
                </a:lnTo>
                <a:close/>
              </a:path>
              <a:path w="318134" h="365125">
                <a:moveTo>
                  <a:pt x="119801" y="230233"/>
                </a:moveTo>
                <a:lnTo>
                  <a:pt x="108479" y="259516"/>
                </a:lnTo>
                <a:lnTo>
                  <a:pt x="120778" y="259516"/>
                </a:lnTo>
                <a:lnTo>
                  <a:pt x="119801" y="230233"/>
                </a:lnTo>
                <a:close/>
              </a:path>
              <a:path w="318134" h="365125">
                <a:moveTo>
                  <a:pt x="90023" y="213914"/>
                </a:moveTo>
                <a:lnTo>
                  <a:pt x="88347" y="248641"/>
                </a:lnTo>
                <a:lnTo>
                  <a:pt x="97560" y="248641"/>
                </a:lnTo>
                <a:lnTo>
                  <a:pt x="90023" y="213914"/>
                </a:lnTo>
                <a:close/>
              </a:path>
              <a:path w="318134" h="365125">
                <a:moveTo>
                  <a:pt x="162023" y="196341"/>
                </a:moveTo>
                <a:lnTo>
                  <a:pt x="81632" y="196341"/>
                </a:lnTo>
                <a:lnTo>
                  <a:pt x="95482" y="205545"/>
                </a:lnTo>
                <a:lnTo>
                  <a:pt x="104291" y="244867"/>
                </a:lnTo>
                <a:lnTo>
                  <a:pt x="115194" y="216420"/>
                </a:lnTo>
                <a:lnTo>
                  <a:pt x="162023" y="216420"/>
                </a:lnTo>
                <a:lnTo>
                  <a:pt x="162023" y="196341"/>
                </a:lnTo>
                <a:close/>
              </a:path>
              <a:path w="318134" h="365125">
                <a:moveTo>
                  <a:pt x="161424" y="185049"/>
                </a:moveTo>
                <a:lnTo>
                  <a:pt x="62757" y="185049"/>
                </a:lnTo>
                <a:lnTo>
                  <a:pt x="74079" y="192999"/>
                </a:lnTo>
                <a:lnTo>
                  <a:pt x="57313" y="231068"/>
                </a:lnTo>
                <a:lnTo>
                  <a:pt x="79479" y="231068"/>
                </a:lnTo>
                <a:lnTo>
                  <a:pt x="81632" y="196341"/>
                </a:lnTo>
                <a:lnTo>
                  <a:pt x="162023" y="196341"/>
                </a:lnTo>
                <a:lnTo>
                  <a:pt x="162023" y="185332"/>
                </a:lnTo>
                <a:lnTo>
                  <a:pt x="161889" y="185332"/>
                </a:lnTo>
                <a:lnTo>
                  <a:pt x="161424" y="185049"/>
                </a:lnTo>
                <a:close/>
              </a:path>
              <a:path w="318134" h="365125">
                <a:moveTo>
                  <a:pt x="130567" y="166223"/>
                </a:moveTo>
                <a:lnTo>
                  <a:pt x="29195" y="166223"/>
                </a:lnTo>
                <a:lnTo>
                  <a:pt x="40950" y="172503"/>
                </a:lnTo>
                <a:lnTo>
                  <a:pt x="51435" y="215584"/>
                </a:lnTo>
                <a:lnTo>
                  <a:pt x="62757" y="185049"/>
                </a:lnTo>
                <a:lnTo>
                  <a:pt x="161424" y="185049"/>
                </a:lnTo>
                <a:lnTo>
                  <a:pt x="130567" y="166223"/>
                </a:lnTo>
                <a:close/>
              </a:path>
              <a:path w="318134" h="365125">
                <a:moveTo>
                  <a:pt x="162023" y="185252"/>
                </a:moveTo>
                <a:lnTo>
                  <a:pt x="161889" y="185332"/>
                </a:lnTo>
                <a:lnTo>
                  <a:pt x="162023" y="185332"/>
                </a:lnTo>
                <a:close/>
              </a:path>
              <a:path w="318134" h="365125">
                <a:moveTo>
                  <a:pt x="159032" y="0"/>
                </a:moveTo>
                <a:lnTo>
                  <a:pt x="904" y="86072"/>
                </a:lnTo>
                <a:lnTo>
                  <a:pt x="162023" y="184377"/>
                </a:lnTo>
                <a:lnTo>
                  <a:pt x="162023" y="185252"/>
                </a:lnTo>
                <a:lnTo>
                  <a:pt x="317601" y="92725"/>
                </a:lnTo>
                <a:lnTo>
                  <a:pt x="159032" y="0"/>
                </a:lnTo>
                <a:close/>
              </a:path>
              <a:path w="318134" h="365125">
                <a:moveTo>
                  <a:pt x="0" y="85520"/>
                </a:moveTo>
                <a:lnTo>
                  <a:pt x="0" y="86565"/>
                </a:lnTo>
                <a:lnTo>
                  <a:pt x="904" y="86072"/>
                </a:lnTo>
                <a:lnTo>
                  <a:pt x="0" y="85520"/>
                </a:lnTo>
                <a:close/>
              </a:path>
            </a:pathLst>
          </a:custGeom>
          <a:solidFill>
            <a:srgbClr val="EEEE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1591203" y="2482361"/>
            <a:ext cx="838745" cy="662152"/>
          </a:xfrm>
          <a:custGeom>
            <a:avLst/>
            <a:gdLst/>
            <a:ahLst/>
            <a:cxnLst/>
            <a:rect l="l" t="t" r="r" b="b"/>
            <a:pathLst>
              <a:path w="1140460" h="675639">
                <a:moveTo>
                  <a:pt x="564057" y="0"/>
                </a:moveTo>
                <a:lnTo>
                  <a:pt x="0" y="332817"/>
                </a:lnTo>
                <a:lnTo>
                  <a:pt x="587761" y="675121"/>
                </a:lnTo>
                <a:lnTo>
                  <a:pt x="1139956" y="336372"/>
                </a:lnTo>
                <a:lnTo>
                  <a:pt x="564057" y="0"/>
                </a:lnTo>
                <a:close/>
              </a:path>
            </a:pathLst>
          </a:custGeom>
          <a:solidFill>
            <a:srgbClr val="B6BEC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2022575" y="2811581"/>
            <a:ext cx="408631" cy="542666"/>
          </a:xfrm>
          <a:custGeom>
            <a:avLst/>
            <a:gdLst/>
            <a:ahLst/>
            <a:cxnLst/>
            <a:rect l="l" t="t" r="r" b="b"/>
            <a:pathLst>
              <a:path w="555625" h="553720">
                <a:moveTo>
                  <a:pt x="555001" y="0"/>
                </a:moveTo>
                <a:lnTo>
                  <a:pt x="0" y="340089"/>
                </a:lnTo>
                <a:lnTo>
                  <a:pt x="17" y="553279"/>
                </a:lnTo>
                <a:lnTo>
                  <a:pt x="555001" y="214766"/>
                </a:lnTo>
                <a:lnTo>
                  <a:pt x="555001" y="0"/>
                </a:lnTo>
                <a:close/>
              </a:path>
            </a:pathLst>
          </a:custGeom>
          <a:solidFill>
            <a:srgbClr val="5162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1591106" y="2806888"/>
            <a:ext cx="432449" cy="548267"/>
          </a:xfrm>
          <a:custGeom>
            <a:avLst/>
            <a:gdLst/>
            <a:ahLst/>
            <a:cxnLst/>
            <a:rect l="l" t="t" r="r" b="b"/>
            <a:pathLst>
              <a:path w="588010" h="559435">
                <a:moveTo>
                  <a:pt x="0" y="0"/>
                </a:moveTo>
                <a:lnTo>
                  <a:pt x="0" y="217929"/>
                </a:lnTo>
                <a:lnTo>
                  <a:pt x="587750" y="559035"/>
                </a:lnTo>
                <a:lnTo>
                  <a:pt x="587750" y="344270"/>
                </a:lnTo>
                <a:lnTo>
                  <a:pt x="0" y="0"/>
                </a:lnTo>
                <a:close/>
              </a:path>
            </a:pathLst>
          </a:custGeom>
          <a:solidFill>
            <a:srgbClr val="5162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1599244" y="2825450"/>
            <a:ext cx="423108" cy="520884"/>
          </a:xfrm>
          <a:custGeom>
            <a:avLst/>
            <a:gdLst/>
            <a:ahLst/>
            <a:cxnLst/>
            <a:rect l="l" t="t" r="r" b="b"/>
            <a:pathLst>
              <a:path w="575310" h="531495">
                <a:moveTo>
                  <a:pt x="0" y="0"/>
                </a:moveTo>
                <a:lnTo>
                  <a:pt x="0" y="197399"/>
                </a:lnTo>
                <a:lnTo>
                  <a:pt x="574790" y="531126"/>
                </a:lnTo>
                <a:lnTo>
                  <a:pt x="574790" y="333728"/>
                </a:lnTo>
                <a:lnTo>
                  <a:pt x="0" y="0"/>
                </a:lnTo>
                <a:close/>
              </a:path>
            </a:pathLst>
          </a:custGeom>
          <a:solidFill>
            <a:srgbClr val="CED0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1613592" y="2856951"/>
            <a:ext cx="391819" cy="451184"/>
          </a:xfrm>
          <a:custGeom>
            <a:avLst/>
            <a:gdLst/>
            <a:ahLst/>
            <a:cxnLst/>
            <a:rect l="l" t="t" r="r" b="b"/>
            <a:pathLst>
              <a:path w="532764" h="460375">
                <a:moveTo>
                  <a:pt x="0" y="0"/>
                </a:moveTo>
                <a:lnTo>
                  <a:pt x="0" y="151605"/>
                </a:lnTo>
                <a:lnTo>
                  <a:pt x="532506" y="460060"/>
                </a:lnTo>
                <a:lnTo>
                  <a:pt x="532506" y="311608"/>
                </a:lnTo>
                <a:lnTo>
                  <a:pt x="0" y="0"/>
                </a:lnTo>
                <a:close/>
              </a:path>
            </a:pathLst>
          </a:custGeom>
          <a:solidFill>
            <a:srgbClr val="677D8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1842094" y="3048327"/>
            <a:ext cx="116285" cy="212212"/>
          </a:xfrm>
          <a:custGeom>
            <a:avLst/>
            <a:gdLst/>
            <a:ahLst/>
            <a:cxnLst/>
            <a:rect l="l" t="t" r="r" b="b"/>
            <a:pathLst>
              <a:path w="158114" h="216535">
                <a:moveTo>
                  <a:pt x="0" y="0"/>
                </a:moveTo>
                <a:lnTo>
                  <a:pt x="0" y="124750"/>
                </a:lnTo>
                <a:lnTo>
                  <a:pt x="157989" y="216349"/>
                </a:lnTo>
                <a:lnTo>
                  <a:pt x="157989" y="93178"/>
                </a:lnTo>
                <a:lnTo>
                  <a:pt x="0" y="0"/>
                </a:lnTo>
                <a:close/>
              </a:path>
            </a:pathLst>
          </a:custGeom>
          <a:solidFill>
            <a:srgbClr val="95A6A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1673613" y="2918327"/>
            <a:ext cx="116285" cy="212212"/>
          </a:xfrm>
          <a:custGeom>
            <a:avLst/>
            <a:gdLst/>
            <a:ahLst/>
            <a:cxnLst/>
            <a:rect l="l" t="t" r="r" b="b"/>
            <a:pathLst>
              <a:path w="158114" h="216535">
                <a:moveTo>
                  <a:pt x="0" y="0"/>
                </a:moveTo>
                <a:lnTo>
                  <a:pt x="0" y="124750"/>
                </a:lnTo>
                <a:lnTo>
                  <a:pt x="157993" y="216339"/>
                </a:lnTo>
                <a:lnTo>
                  <a:pt x="157993" y="93160"/>
                </a:lnTo>
                <a:lnTo>
                  <a:pt x="0" y="0"/>
                </a:lnTo>
                <a:close/>
              </a:path>
            </a:pathLst>
          </a:custGeom>
          <a:solidFill>
            <a:srgbClr val="95A6A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1796549" y="3059561"/>
            <a:ext cx="37828" cy="55387"/>
          </a:xfrm>
          <a:custGeom>
            <a:avLst/>
            <a:gdLst/>
            <a:ahLst/>
            <a:cxnLst/>
            <a:rect l="l" t="t" r="r" b="b"/>
            <a:pathLst>
              <a:path w="51435" h="56514">
                <a:moveTo>
                  <a:pt x="15401" y="0"/>
                </a:moveTo>
                <a:lnTo>
                  <a:pt x="7065" y="3187"/>
                </a:lnTo>
                <a:lnTo>
                  <a:pt x="1644" y="10263"/>
                </a:lnTo>
                <a:lnTo>
                  <a:pt x="0" y="19766"/>
                </a:lnTo>
                <a:lnTo>
                  <a:pt x="2103" y="30472"/>
                </a:lnTo>
                <a:lnTo>
                  <a:pt x="7923" y="41156"/>
                </a:lnTo>
                <a:lnTo>
                  <a:pt x="16518" y="49777"/>
                </a:lnTo>
                <a:lnTo>
                  <a:pt x="26188" y="54836"/>
                </a:lnTo>
                <a:lnTo>
                  <a:pt x="35771" y="55958"/>
                </a:lnTo>
                <a:lnTo>
                  <a:pt x="44105" y="52770"/>
                </a:lnTo>
                <a:lnTo>
                  <a:pt x="49529" y="45694"/>
                </a:lnTo>
                <a:lnTo>
                  <a:pt x="51179" y="36191"/>
                </a:lnTo>
                <a:lnTo>
                  <a:pt x="49082" y="25485"/>
                </a:lnTo>
                <a:lnTo>
                  <a:pt x="43264" y="14801"/>
                </a:lnTo>
                <a:lnTo>
                  <a:pt x="34667" y="6180"/>
                </a:lnTo>
                <a:lnTo>
                  <a:pt x="24990" y="1122"/>
                </a:lnTo>
                <a:lnTo>
                  <a:pt x="1540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1796549" y="3059561"/>
            <a:ext cx="37828" cy="55387"/>
          </a:xfrm>
          <a:custGeom>
            <a:avLst/>
            <a:gdLst/>
            <a:ahLst/>
            <a:cxnLst/>
            <a:rect l="l" t="t" r="r" b="b"/>
            <a:pathLst>
              <a:path w="51435" h="56514">
                <a:moveTo>
                  <a:pt x="7065" y="3187"/>
                </a:moveTo>
                <a:lnTo>
                  <a:pt x="1644" y="10263"/>
                </a:lnTo>
                <a:lnTo>
                  <a:pt x="0" y="19766"/>
                </a:lnTo>
                <a:lnTo>
                  <a:pt x="2103" y="30472"/>
                </a:lnTo>
                <a:lnTo>
                  <a:pt x="7923" y="41156"/>
                </a:lnTo>
                <a:lnTo>
                  <a:pt x="16518" y="49777"/>
                </a:lnTo>
                <a:lnTo>
                  <a:pt x="26188" y="54836"/>
                </a:lnTo>
                <a:lnTo>
                  <a:pt x="35771" y="55958"/>
                </a:lnTo>
                <a:lnTo>
                  <a:pt x="44105" y="52770"/>
                </a:lnTo>
                <a:lnTo>
                  <a:pt x="49529" y="45694"/>
                </a:lnTo>
                <a:lnTo>
                  <a:pt x="51179" y="36191"/>
                </a:lnTo>
                <a:lnTo>
                  <a:pt x="49082" y="25485"/>
                </a:lnTo>
                <a:lnTo>
                  <a:pt x="43264" y="14801"/>
                </a:lnTo>
                <a:lnTo>
                  <a:pt x="34667" y="6180"/>
                </a:lnTo>
                <a:lnTo>
                  <a:pt x="24990" y="1122"/>
                </a:lnTo>
                <a:lnTo>
                  <a:pt x="15401" y="0"/>
                </a:lnTo>
                <a:lnTo>
                  <a:pt x="7065" y="3187"/>
                </a:lnTo>
              </a:path>
            </a:pathLst>
          </a:custGeom>
          <a:ln w="1341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1633377" y="2937489"/>
            <a:ext cx="24751" cy="36095"/>
          </a:xfrm>
          <a:custGeom>
            <a:avLst/>
            <a:gdLst/>
            <a:ahLst/>
            <a:cxnLst/>
            <a:rect l="l" t="t" r="r" b="b"/>
            <a:pathLst>
              <a:path w="33655" h="36830">
                <a:moveTo>
                  <a:pt x="10096" y="0"/>
                </a:moveTo>
                <a:lnTo>
                  <a:pt x="4634" y="2084"/>
                </a:lnTo>
                <a:lnTo>
                  <a:pt x="1080" y="6724"/>
                </a:lnTo>
                <a:lnTo>
                  <a:pt x="0" y="12956"/>
                </a:lnTo>
                <a:lnTo>
                  <a:pt x="1376" y="19979"/>
                </a:lnTo>
                <a:lnTo>
                  <a:pt x="5191" y="26991"/>
                </a:lnTo>
                <a:lnTo>
                  <a:pt x="10827" y="32635"/>
                </a:lnTo>
                <a:lnTo>
                  <a:pt x="17168" y="35949"/>
                </a:lnTo>
                <a:lnTo>
                  <a:pt x="23451" y="36687"/>
                </a:lnTo>
                <a:lnTo>
                  <a:pt x="28913" y="34603"/>
                </a:lnTo>
                <a:lnTo>
                  <a:pt x="32468" y="29962"/>
                </a:lnTo>
                <a:lnTo>
                  <a:pt x="33548" y="23733"/>
                </a:lnTo>
                <a:lnTo>
                  <a:pt x="32171" y="16715"/>
                </a:lnTo>
                <a:lnTo>
                  <a:pt x="28355" y="9713"/>
                </a:lnTo>
                <a:lnTo>
                  <a:pt x="22720" y="4059"/>
                </a:lnTo>
                <a:lnTo>
                  <a:pt x="16379" y="739"/>
                </a:lnTo>
                <a:lnTo>
                  <a:pt x="10096" y="0"/>
                </a:lnTo>
                <a:close/>
              </a:path>
            </a:pathLst>
          </a:custGeom>
          <a:solidFill>
            <a:srgbClr val="39B54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1966267" y="3182932"/>
            <a:ext cx="30355" cy="49164"/>
          </a:xfrm>
          <a:custGeom>
            <a:avLst/>
            <a:gdLst/>
            <a:ahLst/>
            <a:cxnLst/>
            <a:rect l="l" t="t" r="r" b="b"/>
            <a:pathLst>
              <a:path w="41275" h="50164">
                <a:moveTo>
                  <a:pt x="0" y="0"/>
                </a:moveTo>
                <a:lnTo>
                  <a:pt x="0" y="26835"/>
                </a:lnTo>
                <a:lnTo>
                  <a:pt x="41061" y="49876"/>
                </a:lnTo>
                <a:lnTo>
                  <a:pt x="41061" y="23685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1966267" y="3182932"/>
            <a:ext cx="30355" cy="49164"/>
          </a:xfrm>
          <a:custGeom>
            <a:avLst/>
            <a:gdLst/>
            <a:ahLst/>
            <a:cxnLst/>
            <a:rect l="l" t="t" r="r" b="b"/>
            <a:pathLst>
              <a:path w="41275" h="50164">
                <a:moveTo>
                  <a:pt x="0" y="26835"/>
                </a:moveTo>
                <a:lnTo>
                  <a:pt x="0" y="0"/>
                </a:lnTo>
                <a:lnTo>
                  <a:pt x="41061" y="23685"/>
                </a:lnTo>
                <a:lnTo>
                  <a:pt x="41061" y="49876"/>
                </a:lnTo>
                <a:lnTo>
                  <a:pt x="0" y="26835"/>
                </a:lnTo>
                <a:close/>
              </a:path>
            </a:pathLst>
          </a:custGeom>
          <a:ln w="1341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1591106" y="2482362"/>
            <a:ext cx="839679" cy="872496"/>
          </a:xfrm>
          <a:custGeom>
            <a:avLst/>
            <a:gdLst/>
            <a:ahLst/>
            <a:cxnLst/>
            <a:rect l="l" t="t" r="r" b="b"/>
            <a:pathLst>
              <a:path w="1141729" h="890270">
                <a:moveTo>
                  <a:pt x="0" y="549066"/>
                </a:moveTo>
                <a:lnTo>
                  <a:pt x="0" y="331137"/>
                </a:lnTo>
                <a:lnTo>
                  <a:pt x="564190" y="0"/>
                </a:lnTo>
                <a:lnTo>
                  <a:pt x="1141680" y="335925"/>
                </a:lnTo>
                <a:lnTo>
                  <a:pt x="1141680" y="550692"/>
                </a:lnTo>
                <a:lnTo>
                  <a:pt x="587750" y="890172"/>
                </a:lnTo>
                <a:lnTo>
                  <a:pt x="0" y="549066"/>
                </a:lnTo>
                <a:close/>
              </a:path>
            </a:pathLst>
          </a:custGeom>
          <a:ln w="1341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1588489" y="2244986"/>
            <a:ext cx="844816" cy="881209"/>
          </a:xfrm>
          <a:custGeom>
            <a:avLst/>
            <a:gdLst/>
            <a:ahLst/>
            <a:cxnLst/>
            <a:rect l="l" t="t" r="r" b="b"/>
            <a:pathLst>
              <a:path w="1148714" h="899160">
                <a:moveTo>
                  <a:pt x="561741" y="0"/>
                </a:moveTo>
                <a:lnTo>
                  <a:pt x="0" y="331066"/>
                </a:lnTo>
                <a:lnTo>
                  <a:pt x="3285" y="552693"/>
                </a:lnTo>
                <a:lnTo>
                  <a:pt x="592934" y="898554"/>
                </a:lnTo>
                <a:lnTo>
                  <a:pt x="1148651" y="559822"/>
                </a:lnTo>
                <a:lnTo>
                  <a:pt x="1148651" y="340374"/>
                </a:lnTo>
                <a:lnTo>
                  <a:pt x="56174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1587769" y="2128679"/>
            <a:ext cx="846318" cy="997587"/>
          </a:xfrm>
          <a:prstGeom prst="rect">
            <a:avLst/>
          </a:prstGeom>
          <a:blipFill>
            <a:blip r:embed="rId4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1677918" y="2705764"/>
            <a:ext cx="263080" cy="281152"/>
          </a:xfrm>
          <a:prstGeom prst="rect">
            <a:avLst/>
          </a:prstGeom>
          <a:blipFill>
            <a:blip r:embed="rId4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1839373" y="2128680"/>
            <a:ext cx="217625" cy="334187"/>
          </a:xfrm>
          <a:custGeom>
            <a:avLst/>
            <a:gdLst/>
            <a:ahLst/>
            <a:cxnLst/>
            <a:rect l="l" t="t" r="r" b="b"/>
            <a:pathLst>
              <a:path w="295910" h="340994">
                <a:moveTo>
                  <a:pt x="150606" y="340589"/>
                </a:moveTo>
                <a:lnTo>
                  <a:pt x="0" y="248500"/>
                </a:lnTo>
                <a:lnTo>
                  <a:pt x="0" y="80689"/>
                </a:lnTo>
                <a:lnTo>
                  <a:pt x="147961" y="0"/>
                </a:lnTo>
                <a:lnTo>
                  <a:pt x="295475" y="86442"/>
                </a:lnTo>
                <a:lnTo>
                  <a:pt x="295475" y="254253"/>
                </a:lnTo>
                <a:lnTo>
                  <a:pt x="150606" y="340589"/>
                </a:lnTo>
                <a:close/>
              </a:path>
            </a:pathLst>
          </a:custGeom>
          <a:ln w="13417">
            <a:solidFill>
              <a:srgbClr val="4140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1840674" y="2131096"/>
            <a:ext cx="214356" cy="328587"/>
          </a:xfrm>
          <a:custGeom>
            <a:avLst/>
            <a:gdLst/>
            <a:ahLst/>
            <a:cxnLst/>
            <a:rect l="l" t="t" r="r" b="b"/>
            <a:pathLst>
              <a:path w="291464" h="335280">
                <a:moveTo>
                  <a:pt x="0" y="79545"/>
                </a:moveTo>
                <a:lnTo>
                  <a:pt x="0" y="244140"/>
                </a:lnTo>
                <a:lnTo>
                  <a:pt x="148568" y="334978"/>
                </a:lnTo>
                <a:lnTo>
                  <a:pt x="148568" y="252717"/>
                </a:lnTo>
                <a:lnTo>
                  <a:pt x="120628" y="252717"/>
                </a:lnTo>
                <a:lnTo>
                  <a:pt x="110993" y="246177"/>
                </a:lnTo>
                <a:lnTo>
                  <a:pt x="110739" y="238494"/>
                </a:lnTo>
                <a:lnTo>
                  <a:pt x="99463" y="238494"/>
                </a:lnTo>
                <a:lnTo>
                  <a:pt x="90614" y="233867"/>
                </a:lnTo>
                <a:lnTo>
                  <a:pt x="89448" y="228488"/>
                </a:lnTo>
                <a:lnTo>
                  <a:pt x="80996" y="228488"/>
                </a:lnTo>
                <a:lnTo>
                  <a:pt x="72166" y="223879"/>
                </a:lnTo>
                <a:lnTo>
                  <a:pt x="72878" y="212336"/>
                </a:lnTo>
                <a:lnTo>
                  <a:pt x="52538" y="212336"/>
                </a:lnTo>
                <a:lnTo>
                  <a:pt x="41007" y="205422"/>
                </a:lnTo>
                <a:lnTo>
                  <a:pt x="26778" y="152748"/>
                </a:lnTo>
                <a:lnTo>
                  <a:pt x="119719" y="152748"/>
                </a:lnTo>
                <a:lnTo>
                  <a:pt x="0" y="79545"/>
                </a:lnTo>
                <a:close/>
              </a:path>
              <a:path w="291464" h="335280">
                <a:moveTo>
                  <a:pt x="148568" y="198882"/>
                </a:moveTo>
                <a:lnTo>
                  <a:pt x="105612" y="198882"/>
                </a:lnTo>
                <a:lnTo>
                  <a:pt x="118697" y="206583"/>
                </a:lnTo>
                <a:lnTo>
                  <a:pt x="120628" y="252717"/>
                </a:lnTo>
                <a:lnTo>
                  <a:pt x="148568" y="252717"/>
                </a:lnTo>
                <a:lnTo>
                  <a:pt x="148568" y="198882"/>
                </a:lnTo>
                <a:close/>
              </a:path>
              <a:path w="291464" h="335280">
                <a:moveTo>
                  <a:pt x="109849" y="211568"/>
                </a:moveTo>
                <a:lnTo>
                  <a:pt x="99463" y="238494"/>
                </a:lnTo>
                <a:lnTo>
                  <a:pt x="110739" y="238494"/>
                </a:lnTo>
                <a:lnTo>
                  <a:pt x="109849" y="211568"/>
                </a:lnTo>
                <a:close/>
              </a:path>
              <a:path w="291464" h="335280">
                <a:moveTo>
                  <a:pt x="82534" y="196577"/>
                </a:moveTo>
                <a:lnTo>
                  <a:pt x="80996" y="228488"/>
                </a:lnTo>
                <a:lnTo>
                  <a:pt x="89448" y="228488"/>
                </a:lnTo>
                <a:lnTo>
                  <a:pt x="82534" y="196577"/>
                </a:lnTo>
                <a:close/>
              </a:path>
              <a:path w="291464" h="335280">
                <a:moveTo>
                  <a:pt x="148568" y="180425"/>
                </a:moveTo>
                <a:lnTo>
                  <a:pt x="74847" y="180425"/>
                </a:lnTo>
                <a:lnTo>
                  <a:pt x="87539" y="188894"/>
                </a:lnTo>
                <a:lnTo>
                  <a:pt x="95619" y="225022"/>
                </a:lnTo>
                <a:lnTo>
                  <a:pt x="105612" y="198882"/>
                </a:lnTo>
                <a:lnTo>
                  <a:pt x="148568" y="198882"/>
                </a:lnTo>
                <a:lnTo>
                  <a:pt x="148568" y="180425"/>
                </a:lnTo>
                <a:close/>
              </a:path>
              <a:path w="291464" h="335280">
                <a:moveTo>
                  <a:pt x="148034" y="170062"/>
                </a:moveTo>
                <a:lnTo>
                  <a:pt x="57543" y="170062"/>
                </a:lnTo>
                <a:lnTo>
                  <a:pt x="67929" y="177370"/>
                </a:lnTo>
                <a:lnTo>
                  <a:pt x="52538" y="212336"/>
                </a:lnTo>
                <a:lnTo>
                  <a:pt x="72878" y="212336"/>
                </a:lnTo>
                <a:lnTo>
                  <a:pt x="74847" y="180425"/>
                </a:lnTo>
                <a:lnTo>
                  <a:pt x="148568" y="180425"/>
                </a:lnTo>
                <a:lnTo>
                  <a:pt x="148443" y="170312"/>
                </a:lnTo>
                <a:lnTo>
                  <a:pt x="148034" y="170062"/>
                </a:lnTo>
                <a:close/>
              </a:path>
              <a:path w="291464" h="335280">
                <a:moveTo>
                  <a:pt x="119719" y="152748"/>
                </a:moveTo>
                <a:lnTo>
                  <a:pt x="26778" y="152748"/>
                </a:lnTo>
                <a:lnTo>
                  <a:pt x="37539" y="158520"/>
                </a:lnTo>
                <a:lnTo>
                  <a:pt x="47157" y="198114"/>
                </a:lnTo>
                <a:lnTo>
                  <a:pt x="57543" y="170062"/>
                </a:lnTo>
                <a:lnTo>
                  <a:pt x="148034" y="170062"/>
                </a:lnTo>
                <a:lnTo>
                  <a:pt x="119719" y="152748"/>
                </a:lnTo>
                <a:close/>
              </a:path>
              <a:path w="291464" h="335280">
                <a:moveTo>
                  <a:pt x="148568" y="170237"/>
                </a:moveTo>
                <a:close/>
              </a:path>
              <a:path w="291464" h="335280">
                <a:moveTo>
                  <a:pt x="145833" y="0"/>
                </a:moveTo>
                <a:lnTo>
                  <a:pt x="818" y="79099"/>
                </a:lnTo>
                <a:lnTo>
                  <a:pt x="148568" y="169437"/>
                </a:lnTo>
                <a:lnTo>
                  <a:pt x="148568" y="170237"/>
                </a:lnTo>
                <a:lnTo>
                  <a:pt x="291238" y="85227"/>
                </a:lnTo>
                <a:lnTo>
                  <a:pt x="145833" y="0"/>
                </a:lnTo>
                <a:close/>
              </a:path>
              <a:path w="291464" h="335280">
                <a:moveTo>
                  <a:pt x="0" y="78598"/>
                </a:moveTo>
                <a:lnTo>
                  <a:pt x="0" y="79545"/>
                </a:lnTo>
                <a:lnTo>
                  <a:pt x="818" y="79099"/>
                </a:lnTo>
                <a:lnTo>
                  <a:pt x="0" y="78598"/>
                </a:lnTo>
                <a:close/>
              </a:path>
            </a:pathLst>
          </a:custGeom>
          <a:solidFill>
            <a:srgbClr val="EEEE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1992627" y="2255615"/>
            <a:ext cx="217305" cy="333790"/>
          </a:xfrm>
          <a:prstGeom prst="rect">
            <a:avLst/>
          </a:prstGeom>
          <a:blipFill>
            <a:blip r:embed="rId4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1992626" y="2255615"/>
            <a:ext cx="217625" cy="334187"/>
          </a:xfrm>
          <a:custGeom>
            <a:avLst/>
            <a:gdLst/>
            <a:ahLst/>
            <a:cxnLst/>
            <a:rect l="l" t="t" r="r" b="b"/>
            <a:pathLst>
              <a:path w="295910" h="340994">
                <a:moveTo>
                  <a:pt x="150606" y="340589"/>
                </a:moveTo>
                <a:lnTo>
                  <a:pt x="0" y="248500"/>
                </a:lnTo>
                <a:lnTo>
                  <a:pt x="0" y="80689"/>
                </a:lnTo>
                <a:lnTo>
                  <a:pt x="147961" y="0"/>
                </a:lnTo>
                <a:lnTo>
                  <a:pt x="295475" y="86460"/>
                </a:lnTo>
                <a:lnTo>
                  <a:pt x="295475" y="254253"/>
                </a:lnTo>
                <a:lnTo>
                  <a:pt x="150606" y="340589"/>
                </a:lnTo>
                <a:close/>
              </a:path>
            </a:pathLst>
          </a:custGeom>
          <a:ln w="13417">
            <a:solidFill>
              <a:srgbClr val="4140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1993915" y="2258031"/>
            <a:ext cx="214356" cy="328587"/>
          </a:xfrm>
          <a:custGeom>
            <a:avLst/>
            <a:gdLst/>
            <a:ahLst/>
            <a:cxnLst/>
            <a:rect l="l" t="t" r="r" b="b"/>
            <a:pathLst>
              <a:path w="291464" h="335280">
                <a:moveTo>
                  <a:pt x="0" y="79545"/>
                </a:moveTo>
                <a:lnTo>
                  <a:pt x="0" y="244140"/>
                </a:lnTo>
                <a:lnTo>
                  <a:pt x="148586" y="334978"/>
                </a:lnTo>
                <a:lnTo>
                  <a:pt x="148586" y="252717"/>
                </a:lnTo>
                <a:lnTo>
                  <a:pt x="120628" y="252717"/>
                </a:lnTo>
                <a:lnTo>
                  <a:pt x="111011" y="246177"/>
                </a:lnTo>
                <a:lnTo>
                  <a:pt x="110757" y="238494"/>
                </a:lnTo>
                <a:lnTo>
                  <a:pt x="99480" y="238494"/>
                </a:lnTo>
                <a:lnTo>
                  <a:pt x="90632" y="233867"/>
                </a:lnTo>
                <a:lnTo>
                  <a:pt x="89466" y="228488"/>
                </a:lnTo>
                <a:lnTo>
                  <a:pt x="81014" y="228488"/>
                </a:lnTo>
                <a:lnTo>
                  <a:pt x="72166" y="223879"/>
                </a:lnTo>
                <a:lnTo>
                  <a:pt x="72883" y="212336"/>
                </a:lnTo>
                <a:lnTo>
                  <a:pt x="52555" y="212336"/>
                </a:lnTo>
                <a:lnTo>
                  <a:pt x="41025" y="205422"/>
                </a:lnTo>
                <a:lnTo>
                  <a:pt x="26778" y="152748"/>
                </a:lnTo>
                <a:lnTo>
                  <a:pt x="119733" y="152748"/>
                </a:lnTo>
                <a:lnTo>
                  <a:pt x="0" y="79545"/>
                </a:lnTo>
                <a:close/>
              </a:path>
              <a:path w="291464" h="335280">
                <a:moveTo>
                  <a:pt x="148586" y="198882"/>
                </a:moveTo>
                <a:lnTo>
                  <a:pt x="105630" y="198882"/>
                </a:lnTo>
                <a:lnTo>
                  <a:pt x="118715" y="206583"/>
                </a:lnTo>
                <a:lnTo>
                  <a:pt x="120628" y="252717"/>
                </a:lnTo>
                <a:lnTo>
                  <a:pt x="148586" y="252717"/>
                </a:lnTo>
                <a:lnTo>
                  <a:pt x="148586" y="198882"/>
                </a:lnTo>
                <a:close/>
              </a:path>
              <a:path w="291464" h="335280">
                <a:moveTo>
                  <a:pt x="109866" y="211568"/>
                </a:moveTo>
                <a:lnTo>
                  <a:pt x="99480" y="238494"/>
                </a:lnTo>
                <a:lnTo>
                  <a:pt x="110757" y="238494"/>
                </a:lnTo>
                <a:lnTo>
                  <a:pt x="109866" y="211568"/>
                </a:lnTo>
                <a:close/>
              </a:path>
              <a:path w="291464" h="335280">
                <a:moveTo>
                  <a:pt x="82552" y="196577"/>
                </a:moveTo>
                <a:lnTo>
                  <a:pt x="81014" y="228488"/>
                </a:lnTo>
                <a:lnTo>
                  <a:pt x="89466" y="228488"/>
                </a:lnTo>
                <a:lnTo>
                  <a:pt x="82552" y="196577"/>
                </a:lnTo>
                <a:close/>
              </a:path>
              <a:path w="291464" h="335280">
                <a:moveTo>
                  <a:pt x="148586" y="180443"/>
                </a:moveTo>
                <a:lnTo>
                  <a:pt x="74865" y="180443"/>
                </a:lnTo>
                <a:lnTo>
                  <a:pt x="87557" y="188894"/>
                </a:lnTo>
                <a:lnTo>
                  <a:pt x="95637" y="225022"/>
                </a:lnTo>
                <a:lnTo>
                  <a:pt x="105630" y="198882"/>
                </a:lnTo>
                <a:lnTo>
                  <a:pt x="148586" y="198882"/>
                </a:lnTo>
                <a:lnTo>
                  <a:pt x="148586" y="180443"/>
                </a:lnTo>
                <a:close/>
              </a:path>
              <a:path w="291464" h="335280">
                <a:moveTo>
                  <a:pt x="148052" y="170062"/>
                </a:moveTo>
                <a:lnTo>
                  <a:pt x="57561" y="170062"/>
                </a:lnTo>
                <a:lnTo>
                  <a:pt x="67947" y="177370"/>
                </a:lnTo>
                <a:lnTo>
                  <a:pt x="52555" y="212336"/>
                </a:lnTo>
                <a:lnTo>
                  <a:pt x="72883" y="212336"/>
                </a:lnTo>
                <a:lnTo>
                  <a:pt x="74865" y="180443"/>
                </a:lnTo>
                <a:lnTo>
                  <a:pt x="148586" y="180443"/>
                </a:lnTo>
                <a:lnTo>
                  <a:pt x="148461" y="170312"/>
                </a:lnTo>
                <a:lnTo>
                  <a:pt x="148052" y="170062"/>
                </a:lnTo>
                <a:close/>
              </a:path>
              <a:path w="291464" h="335280">
                <a:moveTo>
                  <a:pt x="119733" y="152748"/>
                </a:moveTo>
                <a:lnTo>
                  <a:pt x="26778" y="152748"/>
                </a:lnTo>
                <a:lnTo>
                  <a:pt x="37557" y="158520"/>
                </a:lnTo>
                <a:lnTo>
                  <a:pt x="47175" y="198114"/>
                </a:lnTo>
                <a:lnTo>
                  <a:pt x="57561" y="170062"/>
                </a:lnTo>
                <a:lnTo>
                  <a:pt x="148052" y="170062"/>
                </a:lnTo>
                <a:lnTo>
                  <a:pt x="119733" y="152748"/>
                </a:lnTo>
                <a:close/>
              </a:path>
              <a:path w="291464" h="335280">
                <a:moveTo>
                  <a:pt x="148586" y="170237"/>
                </a:moveTo>
                <a:close/>
              </a:path>
              <a:path w="291464" h="335280">
                <a:moveTo>
                  <a:pt x="145851" y="0"/>
                </a:moveTo>
                <a:lnTo>
                  <a:pt x="818" y="79099"/>
                </a:lnTo>
                <a:lnTo>
                  <a:pt x="148586" y="169437"/>
                </a:lnTo>
                <a:lnTo>
                  <a:pt x="148586" y="170237"/>
                </a:lnTo>
                <a:lnTo>
                  <a:pt x="291238" y="85227"/>
                </a:lnTo>
                <a:lnTo>
                  <a:pt x="145851" y="0"/>
                </a:lnTo>
                <a:close/>
              </a:path>
              <a:path w="291464" h="335280">
                <a:moveTo>
                  <a:pt x="0" y="78598"/>
                </a:moveTo>
                <a:lnTo>
                  <a:pt x="0" y="79545"/>
                </a:lnTo>
                <a:lnTo>
                  <a:pt x="818" y="79099"/>
                </a:lnTo>
                <a:lnTo>
                  <a:pt x="0" y="78598"/>
                </a:lnTo>
                <a:close/>
              </a:path>
            </a:pathLst>
          </a:custGeom>
          <a:solidFill>
            <a:srgbClr val="EEEE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2148168" y="2381185"/>
            <a:ext cx="217292" cy="333790"/>
          </a:xfrm>
          <a:prstGeom prst="rect">
            <a:avLst/>
          </a:prstGeom>
          <a:blipFill>
            <a:blip r:embed="rId4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2148168" y="2381185"/>
            <a:ext cx="217625" cy="334187"/>
          </a:xfrm>
          <a:custGeom>
            <a:avLst/>
            <a:gdLst/>
            <a:ahLst/>
            <a:cxnLst/>
            <a:rect l="l" t="t" r="r" b="b"/>
            <a:pathLst>
              <a:path w="295910" h="340994">
                <a:moveTo>
                  <a:pt x="150606" y="340589"/>
                </a:moveTo>
                <a:lnTo>
                  <a:pt x="0" y="248500"/>
                </a:lnTo>
                <a:lnTo>
                  <a:pt x="0" y="80707"/>
                </a:lnTo>
                <a:lnTo>
                  <a:pt x="147961" y="0"/>
                </a:lnTo>
                <a:lnTo>
                  <a:pt x="295457" y="86460"/>
                </a:lnTo>
                <a:lnTo>
                  <a:pt x="295457" y="254253"/>
                </a:lnTo>
                <a:lnTo>
                  <a:pt x="150606" y="340589"/>
                </a:lnTo>
                <a:close/>
              </a:path>
            </a:pathLst>
          </a:custGeom>
          <a:ln w="13417">
            <a:solidFill>
              <a:srgbClr val="4140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2149456" y="2383601"/>
            <a:ext cx="214356" cy="328587"/>
          </a:xfrm>
          <a:custGeom>
            <a:avLst/>
            <a:gdLst/>
            <a:ahLst/>
            <a:cxnLst/>
            <a:rect l="l" t="t" r="r" b="b"/>
            <a:pathLst>
              <a:path w="291464" h="335280">
                <a:moveTo>
                  <a:pt x="0" y="79545"/>
                </a:moveTo>
                <a:lnTo>
                  <a:pt x="0" y="244140"/>
                </a:lnTo>
                <a:lnTo>
                  <a:pt x="148586" y="334996"/>
                </a:lnTo>
                <a:lnTo>
                  <a:pt x="148586" y="252717"/>
                </a:lnTo>
                <a:lnTo>
                  <a:pt x="120628" y="252717"/>
                </a:lnTo>
                <a:lnTo>
                  <a:pt x="111011" y="246177"/>
                </a:lnTo>
                <a:lnTo>
                  <a:pt x="110756" y="238494"/>
                </a:lnTo>
                <a:lnTo>
                  <a:pt x="99480" y="238494"/>
                </a:lnTo>
                <a:lnTo>
                  <a:pt x="90632" y="233884"/>
                </a:lnTo>
                <a:lnTo>
                  <a:pt x="89463" y="228488"/>
                </a:lnTo>
                <a:lnTo>
                  <a:pt x="81014" y="228488"/>
                </a:lnTo>
                <a:lnTo>
                  <a:pt x="72166" y="223879"/>
                </a:lnTo>
                <a:lnTo>
                  <a:pt x="72882" y="212354"/>
                </a:lnTo>
                <a:lnTo>
                  <a:pt x="52555" y="212354"/>
                </a:lnTo>
                <a:lnTo>
                  <a:pt x="41007" y="205422"/>
                </a:lnTo>
                <a:lnTo>
                  <a:pt x="26778" y="152766"/>
                </a:lnTo>
                <a:lnTo>
                  <a:pt x="119739" y="152766"/>
                </a:lnTo>
                <a:lnTo>
                  <a:pt x="0" y="79545"/>
                </a:lnTo>
                <a:close/>
              </a:path>
              <a:path w="291464" h="335280">
                <a:moveTo>
                  <a:pt x="148586" y="198900"/>
                </a:moveTo>
                <a:lnTo>
                  <a:pt x="105630" y="198900"/>
                </a:lnTo>
                <a:lnTo>
                  <a:pt x="118715" y="206583"/>
                </a:lnTo>
                <a:lnTo>
                  <a:pt x="120628" y="252717"/>
                </a:lnTo>
                <a:lnTo>
                  <a:pt x="148586" y="252717"/>
                </a:lnTo>
                <a:lnTo>
                  <a:pt x="148586" y="198900"/>
                </a:lnTo>
                <a:close/>
              </a:path>
              <a:path w="291464" h="335280">
                <a:moveTo>
                  <a:pt x="109866" y="211586"/>
                </a:moveTo>
                <a:lnTo>
                  <a:pt x="99480" y="238494"/>
                </a:lnTo>
                <a:lnTo>
                  <a:pt x="110756" y="238494"/>
                </a:lnTo>
                <a:lnTo>
                  <a:pt x="109866" y="211586"/>
                </a:lnTo>
                <a:close/>
              </a:path>
              <a:path w="291464" h="335280">
                <a:moveTo>
                  <a:pt x="82552" y="196577"/>
                </a:moveTo>
                <a:lnTo>
                  <a:pt x="81014" y="228488"/>
                </a:lnTo>
                <a:lnTo>
                  <a:pt x="89463" y="228488"/>
                </a:lnTo>
                <a:lnTo>
                  <a:pt x="82552" y="196577"/>
                </a:lnTo>
                <a:close/>
              </a:path>
              <a:path w="291464" h="335280">
                <a:moveTo>
                  <a:pt x="148586" y="180443"/>
                </a:moveTo>
                <a:lnTo>
                  <a:pt x="74865" y="180443"/>
                </a:lnTo>
                <a:lnTo>
                  <a:pt x="87557" y="188894"/>
                </a:lnTo>
                <a:lnTo>
                  <a:pt x="95637" y="225040"/>
                </a:lnTo>
                <a:lnTo>
                  <a:pt x="105630" y="198900"/>
                </a:lnTo>
                <a:lnTo>
                  <a:pt x="148586" y="198900"/>
                </a:lnTo>
                <a:lnTo>
                  <a:pt x="148586" y="180443"/>
                </a:lnTo>
                <a:close/>
              </a:path>
              <a:path w="291464" h="335280">
                <a:moveTo>
                  <a:pt x="148023" y="170062"/>
                </a:moveTo>
                <a:lnTo>
                  <a:pt x="57561" y="170062"/>
                </a:lnTo>
                <a:lnTo>
                  <a:pt x="67947" y="177370"/>
                </a:lnTo>
                <a:lnTo>
                  <a:pt x="52555" y="212354"/>
                </a:lnTo>
                <a:lnTo>
                  <a:pt x="72882" y="212354"/>
                </a:lnTo>
                <a:lnTo>
                  <a:pt x="74865" y="180443"/>
                </a:lnTo>
                <a:lnTo>
                  <a:pt x="148586" y="180443"/>
                </a:lnTo>
                <a:lnTo>
                  <a:pt x="148461" y="170330"/>
                </a:lnTo>
                <a:lnTo>
                  <a:pt x="148023" y="170062"/>
                </a:lnTo>
                <a:close/>
              </a:path>
              <a:path w="291464" h="335280">
                <a:moveTo>
                  <a:pt x="119739" y="152766"/>
                </a:moveTo>
                <a:lnTo>
                  <a:pt x="26778" y="152766"/>
                </a:lnTo>
                <a:lnTo>
                  <a:pt x="37557" y="158520"/>
                </a:lnTo>
                <a:lnTo>
                  <a:pt x="47175" y="198132"/>
                </a:lnTo>
                <a:lnTo>
                  <a:pt x="57561" y="170062"/>
                </a:lnTo>
                <a:lnTo>
                  <a:pt x="148023" y="170062"/>
                </a:lnTo>
                <a:lnTo>
                  <a:pt x="119739" y="152766"/>
                </a:lnTo>
                <a:close/>
              </a:path>
              <a:path w="291464" h="335280">
                <a:moveTo>
                  <a:pt x="148586" y="170255"/>
                </a:moveTo>
                <a:close/>
              </a:path>
              <a:path w="291464" h="335280">
                <a:moveTo>
                  <a:pt x="145851" y="0"/>
                </a:moveTo>
                <a:lnTo>
                  <a:pt x="818" y="79099"/>
                </a:lnTo>
                <a:lnTo>
                  <a:pt x="148586" y="169454"/>
                </a:lnTo>
                <a:lnTo>
                  <a:pt x="148586" y="170255"/>
                </a:lnTo>
                <a:lnTo>
                  <a:pt x="291238" y="85227"/>
                </a:lnTo>
                <a:lnTo>
                  <a:pt x="145851" y="0"/>
                </a:lnTo>
                <a:close/>
              </a:path>
              <a:path w="291464" h="335280">
                <a:moveTo>
                  <a:pt x="0" y="78598"/>
                </a:moveTo>
                <a:lnTo>
                  <a:pt x="0" y="79545"/>
                </a:lnTo>
                <a:lnTo>
                  <a:pt x="818" y="79099"/>
                </a:lnTo>
                <a:lnTo>
                  <a:pt x="0" y="78598"/>
                </a:lnTo>
                <a:close/>
              </a:path>
            </a:pathLst>
          </a:custGeom>
          <a:solidFill>
            <a:srgbClr val="EEEE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1644953" y="2284735"/>
            <a:ext cx="217295" cy="333790"/>
          </a:xfrm>
          <a:prstGeom prst="rect">
            <a:avLst/>
          </a:prstGeom>
          <a:blipFill>
            <a:blip r:embed="rId4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1644953" y="2284736"/>
            <a:ext cx="217625" cy="334187"/>
          </a:xfrm>
          <a:custGeom>
            <a:avLst/>
            <a:gdLst/>
            <a:ahLst/>
            <a:cxnLst/>
            <a:rect l="l" t="t" r="r" b="b"/>
            <a:pathLst>
              <a:path w="295910" h="340994">
                <a:moveTo>
                  <a:pt x="150610" y="340589"/>
                </a:moveTo>
                <a:lnTo>
                  <a:pt x="0" y="248500"/>
                </a:lnTo>
                <a:lnTo>
                  <a:pt x="0" y="80689"/>
                </a:lnTo>
                <a:lnTo>
                  <a:pt x="147946" y="0"/>
                </a:lnTo>
                <a:lnTo>
                  <a:pt x="295461" y="86460"/>
                </a:lnTo>
                <a:lnTo>
                  <a:pt x="295461" y="254253"/>
                </a:lnTo>
                <a:lnTo>
                  <a:pt x="150610" y="340589"/>
                </a:lnTo>
                <a:close/>
              </a:path>
            </a:pathLst>
          </a:custGeom>
          <a:ln w="13417">
            <a:solidFill>
              <a:srgbClr val="4140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1646243" y="2287152"/>
            <a:ext cx="214356" cy="328587"/>
          </a:xfrm>
          <a:custGeom>
            <a:avLst/>
            <a:gdLst/>
            <a:ahLst/>
            <a:cxnLst/>
            <a:rect l="l" t="t" r="r" b="b"/>
            <a:pathLst>
              <a:path w="291464" h="335280">
                <a:moveTo>
                  <a:pt x="0" y="79545"/>
                </a:moveTo>
                <a:lnTo>
                  <a:pt x="0" y="244140"/>
                </a:lnTo>
                <a:lnTo>
                  <a:pt x="148570" y="334978"/>
                </a:lnTo>
                <a:lnTo>
                  <a:pt x="148570" y="252717"/>
                </a:lnTo>
                <a:lnTo>
                  <a:pt x="120630" y="252717"/>
                </a:lnTo>
                <a:lnTo>
                  <a:pt x="111012" y="246177"/>
                </a:lnTo>
                <a:lnTo>
                  <a:pt x="110754" y="238494"/>
                </a:lnTo>
                <a:lnTo>
                  <a:pt x="99464" y="238494"/>
                </a:lnTo>
                <a:lnTo>
                  <a:pt x="90634" y="233867"/>
                </a:lnTo>
                <a:lnTo>
                  <a:pt x="89468" y="228488"/>
                </a:lnTo>
                <a:lnTo>
                  <a:pt x="81016" y="228488"/>
                </a:lnTo>
                <a:lnTo>
                  <a:pt x="72167" y="223879"/>
                </a:lnTo>
                <a:lnTo>
                  <a:pt x="72884" y="212336"/>
                </a:lnTo>
                <a:lnTo>
                  <a:pt x="52552" y="212336"/>
                </a:lnTo>
                <a:lnTo>
                  <a:pt x="41013" y="205422"/>
                </a:lnTo>
                <a:lnTo>
                  <a:pt x="26780" y="152748"/>
                </a:lnTo>
                <a:lnTo>
                  <a:pt x="119735" y="152748"/>
                </a:lnTo>
                <a:lnTo>
                  <a:pt x="0" y="79545"/>
                </a:lnTo>
                <a:close/>
              </a:path>
              <a:path w="291464" h="335280">
                <a:moveTo>
                  <a:pt x="148570" y="198882"/>
                </a:moveTo>
                <a:lnTo>
                  <a:pt x="105632" y="198882"/>
                </a:lnTo>
                <a:lnTo>
                  <a:pt x="118717" y="206583"/>
                </a:lnTo>
                <a:lnTo>
                  <a:pt x="120630" y="252717"/>
                </a:lnTo>
                <a:lnTo>
                  <a:pt x="148570" y="252717"/>
                </a:lnTo>
                <a:lnTo>
                  <a:pt x="148570" y="198882"/>
                </a:lnTo>
                <a:close/>
              </a:path>
              <a:path w="291464" h="335280">
                <a:moveTo>
                  <a:pt x="109850" y="211568"/>
                </a:moveTo>
                <a:lnTo>
                  <a:pt x="99464" y="238494"/>
                </a:lnTo>
                <a:lnTo>
                  <a:pt x="110754" y="238494"/>
                </a:lnTo>
                <a:lnTo>
                  <a:pt x="109850" y="211568"/>
                </a:lnTo>
                <a:close/>
              </a:path>
              <a:path w="291464" h="335280">
                <a:moveTo>
                  <a:pt x="82553" y="196577"/>
                </a:moveTo>
                <a:lnTo>
                  <a:pt x="81016" y="228488"/>
                </a:lnTo>
                <a:lnTo>
                  <a:pt x="89468" y="228488"/>
                </a:lnTo>
                <a:lnTo>
                  <a:pt x="82553" y="196577"/>
                </a:lnTo>
                <a:close/>
              </a:path>
              <a:path w="291464" h="335280">
                <a:moveTo>
                  <a:pt x="148570" y="180443"/>
                </a:moveTo>
                <a:lnTo>
                  <a:pt x="74863" y="180443"/>
                </a:lnTo>
                <a:lnTo>
                  <a:pt x="87559" y="188894"/>
                </a:lnTo>
                <a:lnTo>
                  <a:pt x="95639" y="225022"/>
                </a:lnTo>
                <a:lnTo>
                  <a:pt x="105632" y="198882"/>
                </a:lnTo>
                <a:lnTo>
                  <a:pt x="148570" y="198882"/>
                </a:lnTo>
                <a:lnTo>
                  <a:pt x="148570" y="180443"/>
                </a:lnTo>
                <a:close/>
              </a:path>
              <a:path w="291464" h="335280">
                <a:moveTo>
                  <a:pt x="148054" y="170062"/>
                </a:moveTo>
                <a:lnTo>
                  <a:pt x="57555" y="170062"/>
                </a:lnTo>
                <a:lnTo>
                  <a:pt x="67940" y="177370"/>
                </a:lnTo>
                <a:lnTo>
                  <a:pt x="52552" y="212336"/>
                </a:lnTo>
                <a:lnTo>
                  <a:pt x="72884" y="212336"/>
                </a:lnTo>
                <a:lnTo>
                  <a:pt x="74863" y="180443"/>
                </a:lnTo>
                <a:lnTo>
                  <a:pt x="148570" y="180443"/>
                </a:lnTo>
                <a:lnTo>
                  <a:pt x="148463" y="170312"/>
                </a:lnTo>
                <a:lnTo>
                  <a:pt x="148054" y="170062"/>
                </a:lnTo>
                <a:close/>
              </a:path>
              <a:path w="291464" h="335280">
                <a:moveTo>
                  <a:pt x="119735" y="152748"/>
                </a:moveTo>
                <a:lnTo>
                  <a:pt x="26780" y="152748"/>
                </a:lnTo>
                <a:lnTo>
                  <a:pt x="37552" y="158520"/>
                </a:lnTo>
                <a:lnTo>
                  <a:pt x="47169" y="198114"/>
                </a:lnTo>
                <a:lnTo>
                  <a:pt x="57555" y="170062"/>
                </a:lnTo>
                <a:lnTo>
                  <a:pt x="148054" y="170062"/>
                </a:lnTo>
                <a:lnTo>
                  <a:pt x="119735" y="152748"/>
                </a:lnTo>
                <a:close/>
              </a:path>
              <a:path w="291464" h="335280">
                <a:moveTo>
                  <a:pt x="148570" y="170248"/>
                </a:moveTo>
                <a:close/>
              </a:path>
              <a:path w="291464" h="335280">
                <a:moveTo>
                  <a:pt x="145835" y="0"/>
                </a:moveTo>
                <a:lnTo>
                  <a:pt x="818" y="79099"/>
                </a:lnTo>
                <a:lnTo>
                  <a:pt x="148570" y="169437"/>
                </a:lnTo>
                <a:lnTo>
                  <a:pt x="148570" y="170248"/>
                </a:lnTo>
                <a:lnTo>
                  <a:pt x="291240" y="85227"/>
                </a:lnTo>
                <a:lnTo>
                  <a:pt x="145835" y="0"/>
                </a:lnTo>
                <a:close/>
              </a:path>
              <a:path w="291464" h="335280">
                <a:moveTo>
                  <a:pt x="0" y="78598"/>
                </a:moveTo>
                <a:lnTo>
                  <a:pt x="0" y="79545"/>
                </a:lnTo>
                <a:lnTo>
                  <a:pt x="818" y="79099"/>
                </a:lnTo>
                <a:lnTo>
                  <a:pt x="0" y="78598"/>
                </a:lnTo>
                <a:close/>
              </a:path>
            </a:pathLst>
          </a:custGeom>
          <a:solidFill>
            <a:srgbClr val="EEEE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1798210" y="2411671"/>
            <a:ext cx="217292" cy="333790"/>
          </a:xfrm>
          <a:prstGeom prst="rect">
            <a:avLst/>
          </a:prstGeom>
          <a:blipFill>
            <a:blip r:embed="rId4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1798209" y="2411671"/>
            <a:ext cx="217625" cy="334187"/>
          </a:xfrm>
          <a:custGeom>
            <a:avLst/>
            <a:gdLst/>
            <a:ahLst/>
            <a:cxnLst/>
            <a:rect l="l" t="t" r="r" b="b"/>
            <a:pathLst>
              <a:path w="295910" h="340994">
                <a:moveTo>
                  <a:pt x="150606" y="340589"/>
                </a:moveTo>
                <a:lnTo>
                  <a:pt x="0" y="248500"/>
                </a:lnTo>
                <a:lnTo>
                  <a:pt x="0" y="80689"/>
                </a:lnTo>
                <a:lnTo>
                  <a:pt x="147943" y="0"/>
                </a:lnTo>
                <a:lnTo>
                  <a:pt x="295457" y="86460"/>
                </a:lnTo>
                <a:lnTo>
                  <a:pt x="295457" y="254253"/>
                </a:lnTo>
                <a:lnTo>
                  <a:pt x="150606" y="340589"/>
                </a:lnTo>
                <a:close/>
              </a:path>
            </a:pathLst>
          </a:custGeom>
          <a:ln w="13417">
            <a:solidFill>
              <a:srgbClr val="4140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1799498" y="2414087"/>
            <a:ext cx="214356" cy="328587"/>
          </a:xfrm>
          <a:custGeom>
            <a:avLst/>
            <a:gdLst/>
            <a:ahLst/>
            <a:cxnLst/>
            <a:rect l="l" t="t" r="r" b="b"/>
            <a:pathLst>
              <a:path w="291464" h="335280">
                <a:moveTo>
                  <a:pt x="0" y="79545"/>
                </a:moveTo>
                <a:lnTo>
                  <a:pt x="0" y="244140"/>
                </a:lnTo>
                <a:lnTo>
                  <a:pt x="148568" y="334978"/>
                </a:lnTo>
                <a:lnTo>
                  <a:pt x="148568" y="252717"/>
                </a:lnTo>
                <a:lnTo>
                  <a:pt x="120628" y="252717"/>
                </a:lnTo>
                <a:lnTo>
                  <a:pt x="111011" y="246177"/>
                </a:lnTo>
                <a:lnTo>
                  <a:pt x="110753" y="238494"/>
                </a:lnTo>
                <a:lnTo>
                  <a:pt x="99463" y="238494"/>
                </a:lnTo>
                <a:lnTo>
                  <a:pt x="90632" y="233884"/>
                </a:lnTo>
                <a:lnTo>
                  <a:pt x="89463" y="228488"/>
                </a:lnTo>
                <a:lnTo>
                  <a:pt x="81014" y="228488"/>
                </a:lnTo>
                <a:lnTo>
                  <a:pt x="72166" y="223879"/>
                </a:lnTo>
                <a:lnTo>
                  <a:pt x="72882" y="212354"/>
                </a:lnTo>
                <a:lnTo>
                  <a:pt x="52555" y="212354"/>
                </a:lnTo>
                <a:lnTo>
                  <a:pt x="41007" y="205422"/>
                </a:lnTo>
                <a:lnTo>
                  <a:pt x="26778" y="152766"/>
                </a:lnTo>
                <a:lnTo>
                  <a:pt x="119724" y="152766"/>
                </a:lnTo>
                <a:lnTo>
                  <a:pt x="0" y="79545"/>
                </a:lnTo>
                <a:close/>
              </a:path>
              <a:path w="291464" h="335280">
                <a:moveTo>
                  <a:pt x="148568" y="198882"/>
                </a:moveTo>
                <a:lnTo>
                  <a:pt x="105630" y="198882"/>
                </a:lnTo>
                <a:lnTo>
                  <a:pt x="118697" y="206583"/>
                </a:lnTo>
                <a:lnTo>
                  <a:pt x="120628" y="252717"/>
                </a:lnTo>
                <a:lnTo>
                  <a:pt x="148568" y="252717"/>
                </a:lnTo>
                <a:lnTo>
                  <a:pt x="148568" y="198882"/>
                </a:lnTo>
                <a:close/>
              </a:path>
              <a:path w="291464" h="335280">
                <a:moveTo>
                  <a:pt x="109849" y="211568"/>
                </a:moveTo>
                <a:lnTo>
                  <a:pt x="99463" y="238494"/>
                </a:lnTo>
                <a:lnTo>
                  <a:pt x="110753" y="238494"/>
                </a:lnTo>
                <a:lnTo>
                  <a:pt x="109849" y="211568"/>
                </a:lnTo>
                <a:close/>
              </a:path>
              <a:path w="291464" h="335280">
                <a:moveTo>
                  <a:pt x="82552" y="196577"/>
                </a:moveTo>
                <a:lnTo>
                  <a:pt x="81014" y="228488"/>
                </a:lnTo>
                <a:lnTo>
                  <a:pt x="89463" y="228488"/>
                </a:lnTo>
                <a:lnTo>
                  <a:pt x="82552" y="196577"/>
                </a:lnTo>
                <a:close/>
              </a:path>
              <a:path w="291464" h="335280">
                <a:moveTo>
                  <a:pt x="148568" y="180443"/>
                </a:moveTo>
                <a:lnTo>
                  <a:pt x="74865" y="180443"/>
                </a:lnTo>
                <a:lnTo>
                  <a:pt x="87557" y="188894"/>
                </a:lnTo>
                <a:lnTo>
                  <a:pt x="95619" y="225040"/>
                </a:lnTo>
                <a:lnTo>
                  <a:pt x="105630" y="198882"/>
                </a:lnTo>
                <a:lnTo>
                  <a:pt x="148568" y="198882"/>
                </a:lnTo>
                <a:lnTo>
                  <a:pt x="148568" y="180443"/>
                </a:lnTo>
                <a:close/>
              </a:path>
              <a:path w="291464" h="335280">
                <a:moveTo>
                  <a:pt x="148005" y="170062"/>
                </a:moveTo>
                <a:lnTo>
                  <a:pt x="57543" y="170062"/>
                </a:lnTo>
                <a:lnTo>
                  <a:pt x="67929" y="177370"/>
                </a:lnTo>
                <a:lnTo>
                  <a:pt x="52555" y="212354"/>
                </a:lnTo>
                <a:lnTo>
                  <a:pt x="72882" y="212354"/>
                </a:lnTo>
                <a:lnTo>
                  <a:pt x="74865" y="180443"/>
                </a:lnTo>
                <a:lnTo>
                  <a:pt x="148568" y="180443"/>
                </a:lnTo>
                <a:lnTo>
                  <a:pt x="148443" y="170330"/>
                </a:lnTo>
                <a:lnTo>
                  <a:pt x="148005" y="170062"/>
                </a:lnTo>
                <a:close/>
              </a:path>
              <a:path w="291464" h="335280">
                <a:moveTo>
                  <a:pt x="119724" y="152766"/>
                </a:moveTo>
                <a:lnTo>
                  <a:pt x="26778" y="152766"/>
                </a:lnTo>
                <a:lnTo>
                  <a:pt x="37539" y="158520"/>
                </a:lnTo>
                <a:lnTo>
                  <a:pt x="47157" y="198132"/>
                </a:lnTo>
                <a:lnTo>
                  <a:pt x="57543" y="170062"/>
                </a:lnTo>
                <a:lnTo>
                  <a:pt x="148005" y="170062"/>
                </a:lnTo>
                <a:lnTo>
                  <a:pt x="119724" y="152766"/>
                </a:lnTo>
                <a:close/>
              </a:path>
              <a:path w="291464" h="335280">
                <a:moveTo>
                  <a:pt x="148568" y="170255"/>
                </a:moveTo>
                <a:close/>
              </a:path>
              <a:path w="291464" h="335280">
                <a:moveTo>
                  <a:pt x="145833" y="0"/>
                </a:moveTo>
                <a:lnTo>
                  <a:pt x="818" y="79099"/>
                </a:lnTo>
                <a:lnTo>
                  <a:pt x="148568" y="169437"/>
                </a:lnTo>
                <a:lnTo>
                  <a:pt x="148568" y="170255"/>
                </a:lnTo>
                <a:lnTo>
                  <a:pt x="291238" y="85227"/>
                </a:lnTo>
                <a:lnTo>
                  <a:pt x="145833" y="0"/>
                </a:lnTo>
                <a:close/>
              </a:path>
              <a:path w="291464" h="335280">
                <a:moveTo>
                  <a:pt x="0" y="78598"/>
                </a:moveTo>
                <a:lnTo>
                  <a:pt x="0" y="79545"/>
                </a:lnTo>
                <a:lnTo>
                  <a:pt x="818" y="79099"/>
                </a:lnTo>
                <a:lnTo>
                  <a:pt x="0" y="78598"/>
                </a:lnTo>
                <a:close/>
              </a:path>
            </a:pathLst>
          </a:custGeom>
          <a:solidFill>
            <a:srgbClr val="EEEE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1953751" y="2537240"/>
            <a:ext cx="217292" cy="333807"/>
          </a:xfrm>
          <a:prstGeom prst="rect">
            <a:avLst/>
          </a:prstGeom>
          <a:blipFill>
            <a:blip r:embed="rId4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1953751" y="2537240"/>
            <a:ext cx="217625" cy="334187"/>
          </a:xfrm>
          <a:custGeom>
            <a:avLst/>
            <a:gdLst/>
            <a:ahLst/>
            <a:cxnLst/>
            <a:rect l="l" t="t" r="r" b="b"/>
            <a:pathLst>
              <a:path w="295910" h="340994">
                <a:moveTo>
                  <a:pt x="150606" y="340607"/>
                </a:moveTo>
                <a:lnTo>
                  <a:pt x="0" y="248500"/>
                </a:lnTo>
                <a:lnTo>
                  <a:pt x="0" y="80707"/>
                </a:lnTo>
                <a:lnTo>
                  <a:pt x="147943" y="0"/>
                </a:lnTo>
                <a:lnTo>
                  <a:pt x="295457" y="86460"/>
                </a:lnTo>
                <a:lnTo>
                  <a:pt x="295457" y="254253"/>
                </a:lnTo>
                <a:lnTo>
                  <a:pt x="150606" y="340607"/>
                </a:lnTo>
                <a:close/>
              </a:path>
            </a:pathLst>
          </a:custGeom>
          <a:ln w="13417">
            <a:solidFill>
              <a:srgbClr val="4140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1955040" y="2539656"/>
            <a:ext cx="214356" cy="328587"/>
          </a:xfrm>
          <a:custGeom>
            <a:avLst/>
            <a:gdLst/>
            <a:ahLst/>
            <a:cxnLst/>
            <a:rect l="l" t="t" r="r" b="b"/>
            <a:pathLst>
              <a:path w="291464" h="335280">
                <a:moveTo>
                  <a:pt x="0" y="79545"/>
                </a:moveTo>
                <a:lnTo>
                  <a:pt x="0" y="244140"/>
                </a:lnTo>
                <a:lnTo>
                  <a:pt x="148568" y="334996"/>
                </a:lnTo>
                <a:lnTo>
                  <a:pt x="148568" y="252717"/>
                </a:lnTo>
                <a:lnTo>
                  <a:pt x="120628" y="252717"/>
                </a:lnTo>
                <a:lnTo>
                  <a:pt x="111011" y="246177"/>
                </a:lnTo>
                <a:lnTo>
                  <a:pt x="110752" y="238494"/>
                </a:lnTo>
                <a:lnTo>
                  <a:pt x="99463" y="238494"/>
                </a:lnTo>
                <a:lnTo>
                  <a:pt x="90614" y="233884"/>
                </a:lnTo>
                <a:lnTo>
                  <a:pt x="89447" y="228488"/>
                </a:lnTo>
                <a:lnTo>
                  <a:pt x="80996" y="228488"/>
                </a:lnTo>
                <a:lnTo>
                  <a:pt x="72166" y="223879"/>
                </a:lnTo>
                <a:lnTo>
                  <a:pt x="72877" y="212354"/>
                </a:lnTo>
                <a:lnTo>
                  <a:pt x="52538" y="212354"/>
                </a:lnTo>
                <a:lnTo>
                  <a:pt x="41007" y="205422"/>
                </a:lnTo>
                <a:lnTo>
                  <a:pt x="26778" y="152766"/>
                </a:lnTo>
                <a:lnTo>
                  <a:pt x="119724" y="152766"/>
                </a:lnTo>
                <a:lnTo>
                  <a:pt x="0" y="79545"/>
                </a:lnTo>
                <a:close/>
              </a:path>
              <a:path w="291464" h="335280">
                <a:moveTo>
                  <a:pt x="148568" y="198900"/>
                </a:moveTo>
                <a:lnTo>
                  <a:pt x="105630" y="198900"/>
                </a:lnTo>
                <a:lnTo>
                  <a:pt x="118697" y="206583"/>
                </a:lnTo>
                <a:lnTo>
                  <a:pt x="120628" y="252717"/>
                </a:lnTo>
                <a:lnTo>
                  <a:pt x="148568" y="252717"/>
                </a:lnTo>
                <a:lnTo>
                  <a:pt x="148568" y="198900"/>
                </a:lnTo>
                <a:close/>
              </a:path>
              <a:path w="291464" h="335280">
                <a:moveTo>
                  <a:pt x="109849" y="211586"/>
                </a:moveTo>
                <a:lnTo>
                  <a:pt x="99463" y="238494"/>
                </a:lnTo>
                <a:lnTo>
                  <a:pt x="110752" y="238494"/>
                </a:lnTo>
                <a:lnTo>
                  <a:pt x="109849" y="211586"/>
                </a:lnTo>
                <a:close/>
              </a:path>
              <a:path w="291464" h="335280">
                <a:moveTo>
                  <a:pt x="82552" y="196595"/>
                </a:moveTo>
                <a:lnTo>
                  <a:pt x="80996" y="228488"/>
                </a:lnTo>
                <a:lnTo>
                  <a:pt x="89447" y="228488"/>
                </a:lnTo>
                <a:lnTo>
                  <a:pt x="82552" y="196595"/>
                </a:lnTo>
                <a:close/>
              </a:path>
              <a:path w="291464" h="335280">
                <a:moveTo>
                  <a:pt x="148568" y="180443"/>
                </a:moveTo>
                <a:lnTo>
                  <a:pt x="74847" y="180443"/>
                </a:lnTo>
                <a:lnTo>
                  <a:pt x="87539" y="188894"/>
                </a:lnTo>
                <a:lnTo>
                  <a:pt x="95619" y="225040"/>
                </a:lnTo>
                <a:lnTo>
                  <a:pt x="105630" y="198900"/>
                </a:lnTo>
                <a:lnTo>
                  <a:pt x="148568" y="198900"/>
                </a:lnTo>
                <a:lnTo>
                  <a:pt x="148568" y="180443"/>
                </a:lnTo>
                <a:close/>
              </a:path>
              <a:path w="291464" h="335280">
                <a:moveTo>
                  <a:pt x="148005" y="170062"/>
                </a:moveTo>
                <a:lnTo>
                  <a:pt x="57543" y="170062"/>
                </a:lnTo>
                <a:lnTo>
                  <a:pt x="67929" y="177370"/>
                </a:lnTo>
                <a:lnTo>
                  <a:pt x="52538" y="212354"/>
                </a:lnTo>
                <a:lnTo>
                  <a:pt x="72877" y="212354"/>
                </a:lnTo>
                <a:lnTo>
                  <a:pt x="74847" y="180443"/>
                </a:lnTo>
                <a:lnTo>
                  <a:pt x="148568" y="180443"/>
                </a:lnTo>
                <a:lnTo>
                  <a:pt x="148443" y="170330"/>
                </a:lnTo>
                <a:lnTo>
                  <a:pt x="148005" y="170062"/>
                </a:lnTo>
                <a:close/>
              </a:path>
              <a:path w="291464" h="335280">
                <a:moveTo>
                  <a:pt x="119724" y="152766"/>
                </a:moveTo>
                <a:lnTo>
                  <a:pt x="26778" y="152766"/>
                </a:lnTo>
                <a:lnTo>
                  <a:pt x="37539" y="158520"/>
                </a:lnTo>
                <a:lnTo>
                  <a:pt x="47157" y="198132"/>
                </a:lnTo>
                <a:lnTo>
                  <a:pt x="57543" y="170062"/>
                </a:lnTo>
                <a:lnTo>
                  <a:pt x="148005" y="170062"/>
                </a:lnTo>
                <a:lnTo>
                  <a:pt x="119724" y="152766"/>
                </a:lnTo>
                <a:close/>
              </a:path>
              <a:path w="291464" h="335280">
                <a:moveTo>
                  <a:pt x="148568" y="170255"/>
                </a:moveTo>
                <a:close/>
              </a:path>
              <a:path w="291464" h="335280">
                <a:moveTo>
                  <a:pt x="145833" y="0"/>
                </a:moveTo>
                <a:lnTo>
                  <a:pt x="818" y="79099"/>
                </a:lnTo>
                <a:lnTo>
                  <a:pt x="148568" y="169454"/>
                </a:lnTo>
                <a:lnTo>
                  <a:pt x="148568" y="170255"/>
                </a:lnTo>
                <a:lnTo>
                  <a:pt x="291238" y="85227"/>
                </a:lnTo>
                <a:lnTo>
                  <a:pt x="145833" y="0"/>
                </a:lnTo>
                <a:close/>
              </a:path>
              <a:path w="291464" h="335280">
                <a:moveTo>
                  <a:pt x="0" y="78598"/>
                </a:moveTo>
                <a:lnTo>
                  <a:pt x="0" y="79545"/>
                </a:lnTo>
                <a:lnTo>
                  <a:pt x="818" y="79099"/>
                </a:lnTo>
                <a:lnTo>
                  <a:pt x="0" y="78598"/>
                </a:lnTo>
                <a:close/>
              </a:path>
            </a:pathLst>
          </a:custGeom>
          <a:solidFill>
            <a:srgbClr val="EEEE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3406323" y="2215206"/>
            <a:ext cx="230702" cy="615477"/>
          </a:xfrm>
          <a:custGeom>
            <a:avLst/>
            <a:gdLst/>
            <a:ahLst/>
            <a:cxnLst/>
            <a:rect l="l" t="t" r="r" b="b"/>
            <a:pathLst>
              <a:path w="313689" h="628014">
                <a:moveTo>
                  <a:pt x="0" y="627537"/>
                </a:moveTo>
                <a:lnTo>
                  <a:pt x="313520" y="627537"/>
                </a:lnTo>
                <a:lnTo>
                  <a:pt x="313520" y="0"/>
                </a:lnTo>
                <a:lnTo>
                  <a:pt x="0" y="0"/>
                </a:lnTo>
                <a:lnTo>
                  <a:pt x="0" y="627537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3418788" y="2231830"/>
            <a:ext cx="205950" cy="100194"/>
          </a:xfrm>
          <a:custGeom>
            <a:avLst/>
            <a:gdLst/>
            <a:ahLst/>
            <a:cxnLst/>
            <a:rect l="l" t="t" r="r" b="b"/>
            <a:pathLst>
              <a:path w="280035" h="102235">
                <a:moveTo>
                  <a:pt x="0" y="101761"/>
                </a:moveTo>
                <a:lnTo>
                  <a:pt x="279624" y="101761"/>
                </a:lnTo>
                <a:lnTo>
                  <a:pt x="279624" y="0"/>
                </a:lnTo>
                <a:lnTo>
                  <a:pt x="0" y="0"/>
                </a:lnTo>
                <a:lnTo>
                  <a:pt x="0" y="10176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3418788" y="2381429"/>
            <a:ext cx="205950" cy="0"/>
          </a:xfrm>
          <a:custGeom>
            <a:avLst/>
            <a:gdLst/>
            <a:ahLst/>
            <a:cxnLst/>
            <a:rect l="l" t="t" r="r" b="b"/>
            <a:pathLst>
              <a:path w="280035">
                <a:moveTo>
                  <a:pt x="0" y="0"/>
                </a:moveTo>
                <a:lnTo>
                  <a:pt x="279624" y="0"/>
                </a:lnTo>
              </a:path>
            </a:pathLst>
          </a:custGeom>
          <a:ln w="6784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3418788" y="2460379"/>
            <a:ext cx="205950" cy="0"/>
          </a:xfrm>
          <a:custGeom>
            <a:avLst/>
            <a:gdLst/>
            <a:ahLst/>
            <a:cxnLst/>
            <a:rect l="l" t="t" r="r" b="b"/>
            <a:pathLst>
              <a:path w="280035">
                <a:moveTo>
                  <a:pt x="0" y="0"/>
                </a:moveTo>
                <a:lnTo>
                  <a:pt x="279624" y="0"/>
                </a:lnTo>
              </a:path>
            </a:pathLst>
          </a:custGeom>
          <a:ln w="59361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3418788" y="2506095"/>
            <a:ext cx="205950" cy="308050"/>
          </a:xfrm>
          <a:custGeom>
            <a:avLst/>
            <a:gdLst/>
            <a:ahLst/>
            <a:cxnLst/>
            <a:rect l="l" t="t" r="r" b="b"/>
            <a:pathLst>
              <a:path w="280035" h="314325">
                <a:moveTo>
                  <a:pt x="0" y="313761"/>
                </a:moveTo>
                <a:lnTo>
                  <a:pt x="279624" y="313761"/>
                </a:lnTo>
                <a:lnTo>
                  <a:pt x="279624" y="0"/>
                </a:lnTo>
                <a:lnTo>
                  <a:pt x="0" y="0"/>
                </a:lnTo>
                <a:lnTo>
                  <a:pt x="0" y="31376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3468642" y="2281700"/>
            <a:ext cx="106011" cy="0"/>
          </a:xfrm>
          <a:custGeom>
            <a:avLst/>
            <a:gdLst/>
            <a:ahLst/>
            <a:cxnLst/>
            <a:rect l="l" t="t" r="r" b="b"/>
            <a:pathLst>
              <a:path w="144145">
                <a:moveTo>
                  <a:pt x="0" y="0"/>
                </a:moveTo>
                <a:lnTo>
                  <a:pt x="144052" y="0"/>
                </a:lnTo>
              </a:path>
            </a:pathLst>
          </a:custGeom>
          <a:ln w="16959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3443715" y="2705552"/>
            <a:ext cx="37828" cy="75301"/>
          </a:xfrm>
          <a:custGeom>
            <a:avLst/>
            <a:gdLst/>
            <a:ahLst/>
            <a:cxnLst/>
            <a:rect l="l" t="t" r="r" b="b"/>
            <a:pathLst>
              <a:path w="51435" h="76835">
                <a:moveTo>
                  <a:pt x="0" y="76321"/>
                </a:moveTo>
                <a:lnTo>
                  <a:pt x="50841" y="76321"/>
                </a:lnTo>
                <a:lnTo>
                  <a:pt x="50841" y="0"/>
                </a:lnTo>
                <a:lnTo>
                  <a:pt x="0" y="0"/>
                </a:lnTo>
                <a:lnTo>
                  <a:pt x="0" y="76321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3587054" y="2501111"/>
            <a:ext cx="280671" cy="387707"/>
          </a:xfrm>
          <a:custGeom>
            <a:avLst/>
            <a:gdLst/>
            <a:ahLst/>
            <a:cxnLst/>
            <a:rect l="l" t="t" r="r" b="b"/>
            <a:pathLst>
              <a:path w="381635" h="395605">
                <a:moveTo>
                  <a:pt x="381313" y="0"/>
                </a:moveTo>
                <a:lnTo>
                  <a:pt x="74" y="51690"/>
                </a:lnTo>
                <a:lnTo>
                  <a:pt x="0" y="339869"/>
                </a:lnTo>
                <a:lnTo>
                  <a:pt x="381313" y="395168"/>
                </a:lnTo>
                <a:lnTo>
                  <a:pt x="38131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3599508" y="2522317"/>
            <a:ext cx="255517" cy="349060"/>
          </a:xfrm>
          <a:prstGeom prst="rect">
            <a:avLst/>
          </a:prstGeom>
          <a:blipFill>
            <a:blip r:embed="rId4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3820891" y="1659400"/>
            <a:ext cx="255920" cy="648461"/>
          </a:xfrm>
          <a:custGeom>
            <a:avLst/>
            <a:gdLst/>
            <a:ahLst/>
            <a:cxnLst/>
            <a:rect l="l" t="t" r="r" b="b"/>
            <a:pathLst>
              <a:path w="347979" h="661669">
                <a:moveTo>
                  <a:pt x="0" y="661459"/>
                </a:moveTo>
                <a:lnTo>
                  <a:pt x="347417" y="661459"/>
                </a:lnTo>
                <a:lnTo>
                  <a:pt x="347417" y="0"/>
                </a:lnTo>
                <a:lnTo>
                  <a:pt x="0" y="0"/>
                </a:lnTo>
                <a:lnTo>
                  <a:pt x="0" y="6614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3833354" y="1676025"/>
            <a:ext cx="230702" cy="615477"/>
          </a:xfrm>
          <a:custGeom>
            <a:avLst/>
            <a:gdLst/>
            <a:ahLst/>
            <a:cxnLst/>
            <a:rect l="l" t="t" r="r" b="b"/>
            <a:pathLst>
              <a:path w="313689" h="628014">
                <a:moveTo>
                  <a:pt x="0" y="627537"/>
                </a:moveTo>
                <a:lnTo>
                  <a:pt x="313520" y="627537"/>
                </a:lnTo>
                <a:lnTo>
                  <a:pt x="313520" y="0"/>
                </a:lnTo>
                <a:lnTo>
                  <a:pt x="0" y="0"/>
                </a:lnTo>
                <a:lnTo>
                  <a:pt x="0" y="627537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3845819" y="1692650"/>
            <a:ext cx="205950" cy="100194"/>
          </a:xfrm>
          <a:custGeom>
            <a:avLst/>
            <a:gdLst/>
            <a:ahLst/>
            <a:cxnLst/>
            <a:rect l="l" t="t" r="r" b="b"/>
            <a:pathLst>
              <a:path w="280035" h="102235">
                <a:moveTo>
                  <a:pt x="0" y="101761"/>
                </a:moveTo>
                <a:lnTo>
                  <a:pt x="279624" y="101761"/>
                </a:lnTo>
                <a:lnTo>
                  <a:pt x="279624" y="0"/>
                </a:lnTo>
                <a:lnTo>
                  <a:pt x="0" y="0"/>
                </a:lnTo>
                <a:lnTo>
                  <a:pt x="0" y="10176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3845819" y="1842249"/>
            <a:ext cx="205950" cy="0"/>
          </a:xfrm>
          <a:custGeom>
            <a:avLst/>
            <a:gdLst/>
            <a:ahLst/>
            <a:cxnLst/>
            <a:rect l="l" t="t" r="r" b="b"/>
            <a:pathLst>
              <a:path w="280035">
                <a:moveTo>
                  <a:pt x="0" y="0"/>
                </a:moveTo>
                <a:lnTo>
                  <a:pt x="279624" y="0"/>
                </a:lnTo>
              </a:path>
            </a:pathLst>
          </a:custGeom>
          <a:ln w="6784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3845819" y="1921198"/>
            <a:ext cx="205950" cy="0"/>
          </a:xfrm>
          <a:custGeom>
            <a:avLst/>
            <a:gdLst/>
            <a:ahLst/>
            <a:cxnLst/>
            <a:rect l="l" t="t" r="r" b="b"/>
            <a:pathLst>
              <a:path w="280035">
                <a:moveTo>
                  <a:pt x="0" y="0"/>
                </a:moveTo>
                <a:lnTo>
                  <a:pt x="279624" y="0"/>
                </a:lnTo>
              </a:path>
            </a:pathLst>
          </a:custGeom>
          <a:ln w="59361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3845819" y="1966915"/>
            <a:ext cx="205950" cy="308050"/>
          </a:xfrm>
          <a:custGeom>
            <a:avLst/>
            <a:gdLst/>
            <a:ahLst/>
            <a:cxnLst/>
            <a:rect l="l" t="t" r="r" b="b"/>
            <a:pathLst>
              <a:path w="280035" h="314325">
                <a:moveTo>
                  <a:pt x="0" y="313761"/>
                </a:moveTo>
                <a:lnTo>
                  <a:pt x="279624" y="313761"/>
                </a:lnTo>
                <a:lnTo>
                  <a:pt x="279624" y="0"/>
                </a:lnTo>
                <a:lnTo>
                  <a:pt x="0" y="0"/>
                </a:lnTo>
                <a:lnTo>
                  <a:pt x="0" y="31376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3895674" y="1742519"/>
            <a:ext cx="106011" cy="0"/>
          </a:xfrm>
          <a:custGeom>
            <a:avLst/>
            <a:gdLst/>
            <a:ahLst/>
            <a:cxnLst/>
            <a:rect l="l" t="t" r="r" b="b"/>
            <a:pathLst>
              <a:path w="144145">
                <a:moveTo>
                  <a:pt x="0" y="0"/>
                </a:moveTo>
                <a:lnTo>
                  <a:pt x="144052" y="0"/>
                </a:lnTo>
              </a:path>
            </a:pathLst>
          </a:custGeom>
          <a:ln w="16959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3870746" y="2166372"/>
            <a:ext cx="37828" cy="75301"/>
          </a:xfrm>
          <a:custGeom>
            <a:avLst/>
            <a:gdLst/>
            <a:ahLst/>
            <a:cxnLst/>
            <a:rect l="l" t="t" r="r" b="b"/>
            <a:pathLst>
              <a:path w="51435" h="76835">
                <a:moveTo>
                  <a:pt x="0" y="76321"/>
                </a:moveTo>
                <a:lnTo>
                  <a:pt x="50841" y="76321"/>
                </a:lnTo>
                <a:lnTo>
                  <a:pt x="50841" y="0"/>
                </a:lnTo>
                <a:lnTo>
                  <a:pt x="0" y="0"/>
                </a:lnTo>
                <a:lnTo>
                  <a:pt x="0" y="76321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4014086" y="1961930"/>
            <a:ext cx="280671" cy="387707"/>
          </a:xfrm>
          <a:custGeom>
            <a:avLst/>
            <a:gdLst/>
            <a:ahLst/>
            <a:cxnLst/>
            <a:rect l="l" t="t" r="r" b="b"/>
            <a:pathLst>
              <a:path w="381635" h="395605">
                <a:moveTo>
                  <a:pt x="381313" y="0"/>
                </a:moveTo>
                <a:lnTo>
                  <a:pt x="74" y="51690"/>
                </a:lnTo>
                <a:lnTo>
                  <a:pt x="0" y="339869"/>
                </a:lnTo>
                <a:lnTo>
                  <a:pt x="381313" y="395168"/>
                </a:lnTo>
                <a:lnTo>
                  <a:pt x="38131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4026539" y="1983137"/>
            <a:ext cx="255517" cy="349060"/>
          </a:xfrm>
          <a:prstGeom prst="rect">
            <a:avLst/>
          </a:prstGeom>
          <a:blipFill>
            <a:blip r:embed="rId4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3846644" y="1639945"/>
            <a:ext cx="578342" cy="767698"/>
          </a:xfrm>
          <a:prstGeom prst="rect">
            <a:avLst/>
          </a:prstGeom>
          <a:blipFill>
            <a:blip r:embed="rId4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4" name="object 144"/>
          <p:cNvSpPr txBox="1"/>
          <p:nvPr/>
        </p:nvSpPr>
        <p:spPr>
          <a:xfrm>
            <a:off x="370168" y="6062820"/>
            <a:ext cx="6590405" cy="472225"/>
          </a:xfrm>
          <a:prstGeom prst="rect">
            <a:avLst/>
          </a:prstGeom>
        </p:spPr>
        <p:txBody>
          <a:bodyPr vert="horz" wrap="square" lIns="0" tIns="10458" rIns="0" bIns="0" rtlCol="0">
            <a:spAutoFit/>
          </a:bodyPr>
          <a:lstStyle/>
          <a:p>
            <a:pPr marL="10458">
              <a:spcBef>
                <a:spcPts val="82"/>
              </a:spcBef>
            </a:pPr>
            <a:r>
              <a:rPr sz="1500" spc="-144" dirty="0">
                <a:solidFill>
                  <a:srgbClr val="505050"/>
                </a:solidFill>
                <a:latin typeface="Arial Black"/>
                <a:cs typeface="Arial Black"/>
              </a:rPr>
              <a:t>https://azure.microsoft.com/en-us/documentation/articles/site-recovery-support-matrix/</a:t>
            </a:r>
            <a:endParaRPr sz="1500" dirty="0">
              <a:latin typeface="Arial Black"/>
              <a:cs typeface="Arial Black"/>
            </a:endParaRPr>
          </a:p>
        </p:txBody>
      </p:sp>
      <p:sp>
        <p:nvSpPr>
          <p:cNvPr id="145" name="Footer Placeholder 14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/>
          <p:cNvSpPr/>
          <p:nvPr/>
        </p:nvSpPr>
        <p:spPr>
          <a:xfrm>
            <a:off x="0" y="2420887"/>
            <a:ext cx="9144000" cy="1152129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Box 2"/>
          <p:cNvSpPr txBox="1"/>
          <p:nvPr/>
        </p:nvSpPr>
        <p:spPr>
          <a:xfrm>
            <a:off x="0" y="2636912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Designing a cloud Application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/>
          <p:cNvSpPr/>
          <p:nvPr/>
        </p:nvSpPr>
        <p:spPr>
          <a:xfrm>
            <a:off x="0" y="-27384"/>
            <a:ext cx="9144000" cy="1152129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Box 2"/>
          <p:cNvSpPr txBox="1"/>
          <p:nvPr/>
        </p:nvSpPr>
        <p:spPr>
          <a:xfrm>
            <a:off x="0" y="18864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Designing a cloud Application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4" name="Title 3"/>
          <p:cNvSpPr txBox="1">
            <a:spLocks/>
          </p:cNvSpPr>
          <p:nvPr/>
        </p:nvSpPr>
        <p:spPr>
          <a:xfrm>
            <a:off x="0" y="1124744"/>
            <a:ext cx="9144000" cy="57332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Concepts 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Partitioning a workload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-when designing a web applications, split your business process into partitioning workloads  </a:t>
            </a:r>
            <a:r>
              <a:rPr lang="en-US" sz="2000" b="1" dirty="0" err="1" smtClean="0">
                <a:latin typeface="Segoe UI Light" pitchFamily="34" charset="0"/>
              </a:rPr>
              <a:t>i.e</a:t>
            </a:r>
            <a:r>
              <a:rPr lang="en-US" sz="2000" b="1" dirty="0" smtClean="0">
                <a:latin typeface="Segoe UI Light" pitchFamily="34" charset="0"/>
              </a:rPr>
              <a:t>  </a:t>
            </a:r>
            <a:r>
              <a:rPr lang="en-US" sz="2000" b="1" dirty="0" err="1" smtClean="0">
                <a:latin typeface="Segoe UI Light" pitchFamily="34" charset="0"/>
              </a:rPr>
              <a:t>websits</a:t>
            </a:r>
            <a:r>
              <a:rPr lang="en-US" sz="2000" b="1" dirty="0" smtClean="0">
                <a:latin typeface="Segoe UI Light" pitchFamily="34" charset="0"/>
              </a:rPr>
              <a:t> , cloud services  and </a:t>
            </a:r>
            <a:r>
              <a:rPr lang="en-US" sz="2000" b="1" dirty="0" err="1" smtClean="0">
                <a:latin typeface="Segoe UI Light" pitchFamily="34" charset="0"/>
              </a:rPr>
              <a:t>vm</a:t>
            </a:r>
            <a:r>
              <a:rPr lang="en-US" sz="2000" b="1" dirty="0" smtClean="0">
                <a:latin typeface="Segoe UI Light" pitchFamily="34" charset="0"/>
              </a:rPr>
              <a:t>  ; Ability to scale the different components of your applications.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 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Load balancing and strategy 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Application Insight </a:t>
            </a:r>
          </a:p>
          <a:p>
            <a:pPr lvl="0">
              <a:spcBef>
                <a:spcPct val="0"/>
              </a:spcBef>
              <a:buFontTx/>
              <a:buChar char="-"/>
            </a:pPr>
            <a:r>
              <a:rPr lang="en-US" sz="2000" b="1" dirty="0" smtClean="0">
                <a:latin typeface="Segoe UI Light" pitchFamily="34" charset="0"/>
              </a:rPr>
              <a:t>Is a analytics and monitoring service for your applications.</a:t>
            </a:r>
          </a:p>
          <a:p>
            <a:pPr lvl="0">
              <a:spcBef>
                <a:spcPct val="0"/>
              </a:spcBef>
              <a:buFontTx/>
              <a:buChar char="-"/>
            </a:pPr>
            <a:r>
              <a:rPr lang="en-US" sz="2000" b="1" dirty="0" smtClean="0">
                <a:latin typeface="Segoe UI Light" pitchFamily="34" charset="0"/>
              </a:rPr>
              <a:t>- can be used with  .NET or Java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Login to : </a:t>
            </a:r>
            <a:r>
              <a:rPr lang="en-US" sz="2000" b="1" dirty="0" smtClean="0">
                <a:latin typeface="Segoe UI Light" pitchFamily="34" charset="0"/>
                <a:hlinkClick r:id="rId2"/>
              </a:rPr>
              <a:t>https://portal.azure.com</a:t>
            </a: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Portal  </a:t>
            </a:r>
            <a:r>
              <a:rPr lang="en-US" sz="2000" b="1" dirty="0" smtClean="0">
                <a:latin typeface="Segoe UI Light" pitchFamily="34" charset="0"/>
              </a:rPr>
              <a:t>demo.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/>
          <p:cNvSpPr/>
          <p:nvPr/>
        </p:nvSpPr>
        <p:spPr>
          <a:xfrm>
            <a:off x="0" y="2420887"/>
            <a:ext cx="9144000" cy="1152129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Box 2"/>
          <p:cNvSpPr txBox="1"/>
          <p:nvPr/>
        </p:nvSpPr>
        <p:spPr>
          <a:xfrm>
            <a:off x="0" y="2636912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Securing Azure Web Application 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/>
          <p:cNvSpPr/>
          <p:nvPr/>
        </p:nvSpPr>
        <p:spPr>
          <a:xfrm>
            <a:off x="0" y="-27384"/>
            <a:ext cx="9144000" cy="1152129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Box 2"/>
          <p:cNvSpPr txBox="1"/>
          <p:nvPr/>
        </p:nvSpPr>
        <p:spPr>
          <a:xfrm>
            <a:off x="0" y="18864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Azure Active Directory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4" name="Title 3"/>
          <p:cNvSpPr txBox="1">
            <a:spLocks/>
          </p:cNvSpPr>
          <p:nvPr/>
        </p:nvSpPr>
        <p:spPr>
          <a:xfrm>
            <a:off x="0" y="1124744"/>
            <a:ext cx="9144000" cy="57332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Managed identity and access management solution in Azure .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Focus on managing your domain , users and applications . Rich Single Sign On 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Azure provides self service portals .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As a Identity provider that can provide identity and access functionality for your custom or </a:t>
            </a:r>
            <a:r>
              <a:rPr lang="en-US" sz="2000" b="1" dirty="0" err="1" smtClean="0">
                <a:latin typeface="Segoe UI Light" pitchFamily="34" charset="0"/>
              </a:rPr>
              <a:t>SaaS</a:t>
            </a:r>
            <a:r>
              <a:rPr lang="en-US" sz="2000" b="1" dirty="0" smtClean="0">
                <a:latin typeface="Segoe UI Light" pitchFamily="34" charset="0"/>
              </a:rPr>
              <a:t> applications.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Provide a suite of services that can integrate with custom applications , on-premise , existing domains and third party services.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Azure AD services 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Directory services 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MFA provider 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Login to : </a:t>
            </a:r>
            <a:r>
              <a:rPr lang="en-US" sz="2000" b="1" dirty="0" smtClean="0">
                <a:latin typeface="Segoe UI Light" pitchFamily="34" charset="0"/>
                <a:hlinkClick r:id="rId2"/>
              </a:rPr>
              <a:t>https://portal.azure.com</a:t>
            </a: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Portal  </a:t>
            </a:r>
            <a:r>
              <a:rPr lang="en-US" sz="2000" b="1" dirty="0" smtClean="0">
                <a:latin typeface="Segoe UI Light" pitchFamily="34" charset="0"/>
              </a:rPr>
              <a:t>demo.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/>
          <p:cNvSpPr/>
          <p:nvPr/>
        </p:nvSpPr>
        <p:spPr>
          <a:xfrm>
            <a:off x="0" y="-27383"/>
            <a:ext cx="9144000" cy="648072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Box 2"/>
          <p:cNvSpPr txBox="1"/>
          <p:nvPr/>
        </p:nvSpPr>
        <p:spPr>
          <a:xfrm>
            <a:off x="0" y="44624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Azure Multifactor Authentication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4" name="Title 3"/>
          <p:cNvSpPr txBox="1">
            <a:spLocks/>
          </p:cNvSpPr>
          <p:nvPr/>
        </p:nvSpPr>
        <p:spPr>
          <a:xfrm>
            <a:off x="0" y="692696"/>
            <a:ext cx="9144000" cy="43204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en-IN" sz="2000" b="1" dirty="0" smtClean="0">
                <a:latin typeface="Segoe UI Light" pitchFamily="34" charset="0"/>
              </a:rPr>
              <a:t>Azure Multi-Factor Authentication (MFA) is Microsoft's two-step verification solution. </a:t>
            </a:r>
          </a:p>
          <a:p>
            <a:pPr lvl="0">
              <a:spcBef>
                <a:spcPct val="0"/>
              </a:spcBef>
            </a:pPr>
            <a:r>
              <a:rPr lang="en-IN" sz="2000" dirty="0" smtClean="0"/>
              <a:t>Two-step verification is a method of authentication that requires more than one verification method and adds a critical second layer of security to user sign-ins and transactions. </a:t>
            </a:r>
          </a:p>
          <a:p>
            <a:pPr lvl="0">
              <a:spcBef>
                <a:spcPct val="0"/>
              </a:spcBef>
            </a:pPr>
            <a:r>
              <a:rPr lang="en-IN" sz="2000" dirty="0" smtClean="0"/>
              <a:t>Azure Multi-Factor Authentication is an easy to use, scalable, and reliable solution that provides a second method of authentication to protect your users.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  <a:p>
            <a:r>
              <a:rPr lang="en-IN" sz="2000" dirty="0" smtClean="0"/>
              <a:t>Verification methods:</a:t>
            </a:r>
          </a:p>
          <a:p>
            <a:r>
              <a:rPr lang="en-IN" sz="2000" dirty="0" smtClean="0"/>
              <a:t>Something you know (typically a password)</a:t>
            </a:r>
          </a:p>
          <a:p>
            <a:r>
              <a:rPr lang="en-IN" sz="2000" dirty="0" smtClean="0"/>
              <a:t>Something you have (a trusted device that is not easily duplicated, like a phone)</a:t>
            </a:r>
          </a:p>
          <a:p>
            <a:r>
              <a:rPr lang="en-IN" sz="2000" dirty="0" smtClean="0"/>
              <a:t>Something you are (biometrics)</a:t>
            </a: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</p:txBody>
      </p:sp>
      <p:sp>
        <p:nvSpPr>
          <p:cNvPr id="88066" name="AutoShape 2" descr="Image result for azure multi factor authenticati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8068" name="AutoShape 4" descr="Image result for azure multi factor authenticati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/>
          <p:cNvSpPr/>
          <p:nvPr/>
        </p:nvSpPr>
        <p:spPr>
          <a:xfrm>
            <a:off x="0" y="-27383"/>
            <a:ext cx="9144000" cy="648072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Box 2"/>
          <p:cNvSpPr txBox="1"/>
          <p:nvPr/>
        </p:nvSpPr>
        <p:spPr>
          <a:xfrm>
            <a:off x="0" y="44624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Azure Multifactor Authentication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88066" name="AutoShape 2" descr="Image result for azure multi factor authenticati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8068" name="AutoShape 4" descr="Image result for azure multi factor authenticati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88070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412776"/>
            <a:ext cx="9153525" cy="54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9145868" cy="6855510"/>
          </a:xfrm>
          <a:custGeom>
            <a:avLst/>
            <a:gdLst/>
            <a:ahLst/>
            <a:cxnLst/>
            <a:rect l="l" t="t" r="r" b="b"/>
            <a:pathLst>
              <a:path w="12435840" h="6995159">
                <a:moveTo>
                  <a:pt x="0" y="6995159"/>
                </a:moveTo>
                <a:lnTo>
                  <a:pt x="12435840" y="6995159"/>
                </a:lnTo>
                <a:lnTo>
                  <a:pt x="12435840" y="0"/>
                </a:lnTo>
                <a:lnTo>
                  <a:pt x="0" y="0"/>
                </a:lnTo>
                <a:lnTo>
                  <a:pt x="0" y="6995159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TextBox 7"/>
          <p:cNvSpPr txBox="1"/>
          <p:nvPr/>
        </p:nvSpPr>
        <p:spPr>
          <a:xfrm>
            <a:off x="0" y="3140968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Thank you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/>
          <p:cNvSpPr/>
          <p:nvPr/>
        </p:nvSpPr>
        <p:spPr>
          <a:xfrm>
            <a:off x="0" y="44624"/>
            <a:ext cx="9180512" cy="548680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Box 2"/>
          <p:cNvSpPr txBox="1"/>
          <p:nvPr/>
        </p:nvSpPr>
        <p:spPr>
          <a:xfrm>
            <a:off x="0" y="44624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tabLst>
                <a:tab pos="3671888" algn="l"/>
                <a:tab pos="4302125" algn="l"/>
              </a:tabLst>
            </a:pPr>
            <a:r>
              <a:rPr lang="en-US" sz="3200" dirty="0" err="1" smtClean="0">
                <a:solidFill>
                  <a:schemeClr val="bg1"/>
                </a:solidFill>
                <a:latin typeface="Segoe UI Light" pitchFamily="34" charset="0"/>
                <a:cs typeface="Arial" pitchFamily="34" charset="0"/>
              </a:rPr>
              <a:t>Referrence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4" name="Title 3"/>
          <p:cNvSpPr txBox="1">
            <a:spLocks/>
          </p:cNvSpPr>
          <p:nvPr/>
        </p:nvSpPr>
        <p:spPr>
          <a:xfrm>
            <a:off x="0" y="692696"/>
            <a:ext cx="9144000" cy="43204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  <a:hlinkClick r:id="rId2"/>
              </a:rPr>
              <a:t>https://docs.microsoft.com</a:t>
            </a:r>
            <a:endParaRPr lang="en-US" sz="2000" b="1" dirty="0" smtClean="0">
              <a:latin typeface="Segoe UI Light" pitchFamily="34" charset="0"/>
            </a:endParaRPr>
          </a:p>
          <a:p>
            <a:pPr lvl="0">
              <a:spcBef>
                <a:spcPct val="0"/>
              </a:spcBef>
            </a:pPr>
            <a:endParaRPr lang="en-US" sz="2000" b="1" dirty="0" smtClean="0">
              <a:latin typeface="Segoe UI Light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4"/>
          <p:cNvSpPr/>
          <p:nvPr/>
        </p:nvSpPr>
        <p:spPr>
          <a:xfrm>
            <a:off x="-36512" y="-27384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764704"/>
            <a:ext cx="9144000" cy="4596513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400" dirty="0">
                <a:solidFill>
                  <a:srgbClr val="008000"/>
                </a:solidFill>
                <a:latin typeface="Segoe UI Light" pitchFamily="34" charset="0"/>
              </a:rPr>
              <a:t>Cloud Computing - A </a:t>
            </a:r>
            <a:r>
              <a:rPr lang="en-US" sz="2400" dirty="0" smtClean="0">
                <a:solidFill>
                  <a:srgbClr val="008000"/>
                </a:solidFill>
                <a:latin typeface="Segoe UI Light" pitchFamily="34" charset="0"/>
              </a:rPr>
              <a:t>transforming Technology</a:t>
            </a:r>
            <a:endParaRPr lang="en-US" sz="2400" dirty="0">
              <a:solidFill>
                <a:srgbClr val="008000"/>
              </a:solidFill>
              <a:latin typeface="Segoe UI Light" pitchFamily="34" charset="0"/>
            </a:endParaRPr>
          </a:p>
          <a:p>
            <a:r>
              <a:rPr lang="en-US" sz="2400" dirty="0">
                <a:latin typeface="Segoe UI Light" pitchFamily="34" charset="0"/>
              </a:rPr>
              <a:t>Infinite shared resources &amp; services</a:t>
            </a:r>
          </a:p>
          <a:p>
            <a:pPr lvl="1"/>
            <a:r>
              <a:rPr lang="en-US" sz="2400" dirty="0">
                <a:latin typeface="Segoe UI Light" pitchFamily="34" charset="0"/>
              </a:rPr>
              <a:t>Infrastructure is not a limiting factor</a:t>
            </a:r>
          </a:p>
          <a:p>
            <a:pPr lvl="1"/>
            <a:r>
              <a:rPr lang="en-US" sz="2400" dirty="0">
                <a:latin typeface="Segoe UI Light" pitchFamily="34" charset="0"/>
              </a:rPr>
              <a:t>No need to equip for peak-load requirements</a:t>
            </a:r>
          </a:p>
          <a:p>
            <a:r>
              <a:rPr lang="en-US" sz="2400" dirty="0">
                <a:latin typeface="Segoe UI Light" pitchFamily="34" charset="0"/>
              </a:rPr>
              <a:t>Elasticity on demand</a:t>
            </a:r>
          </a:p>
          <a:p>
            <a:pPr lvl="1"/>
            <a:r>
              <a:rPr lang="en-US" sz="2400" dirty="0">
                <a:latin typeface="Segoe UI Light" pitchFamily="34" charset="0"/>
              </a:rPr>
              <a:t>Anytime, anywhere</a:t>
            </a:r>
          </a:p>
          <a:p>
            <a:r>
              <a:rPr lang="en-US" sz="2400" dirty="0">
                <a:latin typeface="Segoe UI Light" pitchFamily="34" charset="0"/>
              </a:rPr>
              <a:t>Efficient scalability and high availability</a:t>
            </a:r>
          </a:p>
          <a:p>
            <a:r>
              <a:rPr lang="en-US" sz="2400" dirty="0">
                <a:latin typeface="Segoe UI Light" pitchFamily="34" charset="0"/>
              </a:rPr>
              <a:t>Suitable pricing models</a:t>
            </a:r>
          </a:p>
          <a:p>
            <a:pPr lvl="1"/>
            <a:r>
              <a:rPr lang="en-US" sz="2400" dirty="0">
                <a:latin typeface="Segoe UI Light" pitchFamily="34" charset="0"/>
              </a:rPr>
              <a:t>Pay for what you </a:t>
            </a:r>
            <a:r>
              <a:rPr lang="en-US" sz="2400" dirty="0" smtClean="0">
                <a:latin typeface="Segoe UI Light" pitchFamily="34" charset="0"/>
              </a:rPr>
              <a:t>use</a:t>
            </a:r>
            <a:endParaRPr lang="en-US" sz="2400" dirty="0">
              <a:latin typeface="Segoe UI Light" pitchFamily="34" charset="0"/>
            </a:endParaRPr>
          </a:p>
          <a:p>
            <a:r>
              <a:rPr lang="en-US" sz="2600" dirty="0" smtClean="0">
                <a:latin typeface="Segoe UI Light" pitchFamily="34" charset="0"/>
              </a:rPr>
              <a:t>Automation, Monitoring, Deployment</a:t>
            </a:r>
          </a:p>
          <a:p>
            <a:pPr lvl="1"/>
            <a:r>
              <a:rPr lang="en-US" sz="2600" dirty="0" smtClean="0">
                <a:latin typeface="Segoe UI Light" pitchFamily="34" charset="0"/>
              </a:rPr>
              <a:t>Reduce cost, shift risk, shorten time-to-market, focus on business functionality</a:t>
            </a:r>
          </a:p>
          <a:p>
            <a:pPr lvl="1"/>
            <a:endParaRPr lang="en-US" sz="2400" dirty="0" smtClean="0">
              <a:latin typeface="Segoe UI Light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0" y="44624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Azure Cloud Compute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141841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836712"/>
            <a:ext cx="9144000" cy="452596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dirty="0">
                <a:solidFill>
                  <a:srgbClr val="008000"/>
                </a:solidFill>
                <a:latin typeface="Segoe UI Light" pitchFamily="34" charset="0"/>
              </a:rPr>
              <a:t>Focus on </a:t>
            </a:r>
            <a:r>
              <a:rPr lang="en-US" sz="2400" dirty="0" smtClean="0">
                <a:solidFill>
                  <a:srgbClr val="008000"/>
                </a:solidFill>
                <a:latin typeface="Segoe UI Light" pitchFamily="34" charset="0"/>
              </a:rPr>
              <a:t>functionality development</a:t>
            </a:r>
            <a:endParaRPr lang="en-US" sz="2400" dirty="0">
              <a:solidFill>
                <a:srgbClr val="008000"/>
              </a:solidFill>
              <a:latin typeface="Segoe UI Light" pitchFamily="34" charset="0"/>
            </a:endParaRPr>
          </a:p>
          <a:p>
            <a:pPr>
              <a:buNone/>
            </a:pPr>
            <a:r>
              <a:rPr lang="en-US" sz="2400" dirty="0">
                <a:latin typeface="Segoe UI Light" pitchFamily="34" charset="0"/>
              </a:rPr>
              <a:t>Let others take care </a:t>
            </a:r>
            <a:r>
              <a:rPr lang="en-US" sz="2400" dirty="0" smtClean="0">
                <a:latin typeface="Segoe UI Light" pitchFamily="34" charset="0"/>
              </a:rPr>
              <a:t>of: </a:t>
            </a:r>
            <a:endParaRPr lang="en-US" sz="2400" dirty="0">
              <a:latin typeface="Segoe UI Light" pitchFamily="34" charset="0"/>
            </a:endParaRPr>
          </a:p>
          <a:p>
            <a:pPr lvl="1">
              <a:buFont typeface="Wingdings" pitchFamily="2" charset="2"/>
              <a:buChar char="Ø"/>
            </a:pPr>
            <a:r>
              <a:rPr lang="en-US" sz="2400" dirty="0">
                <a:latin typeface="Segoe UI Light" pitchFamily="34" charset="0"/>
              </a:rPr>
              <a:t>Resource </a:t>
            </a:r>
            <a:r>
              <a:rPr lang="en-US" sz="2400" dirty="0" smtClean="0">
                <a:latin typeface="Segoe UI Light" pitchFamily="34" charset="0"/>
              </a:rPr>
              <a:t>management</a:t>
            </a:r>
            <a:endParaRPr lang="en-US" sz="2400" dirty="0">
              <a:latin typeface="Segoe UI Light" pitchFamily="34" charset="0"/>
            </a:endParaRPr>
          </a:p>
          <a:p>
            <a:pPr lvl="1">
              <a:buFont typeface="Wingdings" pitchFamily="2" charset="2"/>
              <a:buChar char="Ø"/>
            </a:pPr>
            <a:r>
              <a:rPr lang="en-US" sz="2400" dirty="0">
                <a:latin typeface="Segoe UI Light" pitchFamily="34" charset="0"/>
              </a:rPr>
              <a:t>Security</a:t>
            </a:r>
          </a:p>
          <a:p>
            <a:pPr lvl="1">
              <a:buFont typeface="Wingdings" pitchFamily="2" charset="2"/>
              <a:buChar char="Ø"/>
            </a:pPr>
            <a:r>
              <a:rPr lang="en-US" sz="2400" dirty="0">
                <a:latin typeface="Segoe UI Light" pitchFamily="34" charset="0"/>
              </a:rPr>
              <a:t>Environments </a:t>
            </a:r>
            <a:r>
              <a:rPr lang="en-US" sz="2400" dirty="0" smtClean="0">
                <a:latin typeface="Segoe UI Light" pitchFamily="34" charset="0"/>
              </a:rPr>
              <a:t>(staging</a:t>
            </a:r>
            <a:r>
              <a:rPr lang="en-US" sz="2400" dirty="0">
                <a:latin typeface="Segoe UI Light" pitchFamily="34" charset="0"/>
              </a:rPr>
              <a:t>, </a:t>
            </a:r>
            <a:r>
              <a:rPr lang="en-US" sz="2400" dirty="0" smtClean="0">
                <a:latin typeface="Segoe UI Light" pitchFamily="34" charset="0"/>
              </a:rPr>
              <a:t>production</a:t>
            </a:r>
            <a:r>
              <a:rPr lang="en-US" sz="2400" dirty="0">
                <a:latin typeface="Segoe UI Light" pitchFamily="34" charset="0"/>
              </a:rPr>
              <a:t>)</a:t>
            </a:r>
          </a:p>
          <a:p>
            <a:pPr lvl="1">
              <a:buFont typeface="Wingdings" pitchFamily="2" charset="2"/>
              <a:buChar char="Ø"/>
            </a:pPr>
            <a:r>
              <a:rPr lang="en-US" sz="2400" dirty="0">
                <a:latin typeface="Segoe UI Light" pitchFamily="34" charset="0"/>
              </a:rPr>
              <a:t>High </a:t>
            </a:r>
            <a:r>
              <a:rPr lang="en-US" sz="2400" dirty="0" smtClean="0">
                <a:latin typeface="Segoe UI Light" pitchFamily="34" charset="0"/>
              </a:rPr>
              <a:t>availability</a:t>
            </a:r>
            <a:r>
              <a:rPr lang="en-US" sz="2400" dirty="0">
                <a:latin typeface="Segoe UI Light" pitchFamily="34" charset="0"/>
              </a:rPr>
              <a:t>, </a:t>
            </a:r>
            <a:r>
              <a:rPr lang="en-US" sz="2400" dirty="0" smtClean="0">
                <a:latin typeface="Segoe UI Light" pitchFamily="34" charset="0"/>
              </a:rPr>
              <a:t>scalability</a:t>
            </a:r>
            <a:r>
              <a:rPr lang="en-US" sz="2400" dirty="0">
                <a:latin typeface="Segoe UI Light" pitchFamily="34" charset="0"/>
              </a:rPr>
              <a:t>, </a:t>
            </a:r>
            <a:r>
              <a:rPr lang="en-US" sz="2400" dirty="0" smtClean="0">
                <a:latin typeface="Segoe UI Light" pitchFamily="34" charset="0"/>
              </a:rPr>
              <a:t>load balancing</a:t>
            </a:r>
            <a:endParaRPr lang="en-US" sz="2400" dirty="0">
              <a:latin typeface="Segoe UI Light" pitchFamily="34" charset="0"/>
            </a:endParaRPr>
          </a:p>
          <a:p>
            <a:pPr lvl="1">
              <a:buFont typeface="Wingdings" pitchFamily="2" charset="2"/>
              <a:buChar char="Ø"/>
            </a:pPr>
            <a:r>
              <a:rPr lang="en-US" sz="2400" dirty="0">
                <a:latin typeface="Segoe UI Light" pitchFamily="34" charset="0"/>
              </a:rPr>
              <a:t>Fault </a:t>
            </a:r>
            <a:r>
              <a:rPr lang="en-US" sz="2400" dirty="0" smtClean="0">
                <a:latin typeface="Segoe UI Light" pitchFamily="34" charset="0"/>
              </a:rPr>
              <a:t>tolerance</a:t>
            </a:r>
            <a:endParaRPr lang="en-US" sz="2400" dirty="0">
              <a:latin typeface="Segoe UI Light" pitchFamily="34" charset="0"/>
            </a:endParaRPr>
          </a:p>
          <a:p>
            <a:pPr lvl="1">
              <a:buFont typeface="Wingdings" pitchFamily="2" charset="2"/>
              <a:buChar char="Ø"/>
            </a:pPr>
            <a:r>
              <a:rPr lang="en-US" sz="2400" dirty="0">
                <a:latin typeface="Segoe UI Light" pitchFamily="34" charset="0"/>
              </a:rPr>
              <a:t>OS - </a:t>
            </a:r>
            <a:r>
              <a:rPr lang="en-US" sz="2400" dirty="0" smtClean="0">
                <a:latin typeface="Segoe UI Light" pitchFamily="34" charset="0"/>
              </a:rPr>
              <a:t>installation, licensing</a:t>
            </a:r>
            <a:r>
              <a:rPr lang="en-US" sz="2400" dirty="0">
                <a:latin typeface="Segoe UI Light" pitchFamily="34" charset="0"/>
              </a:rPr>
              <a:t>, </a:t>
            </a:r>
            <a:r>
              <a:rPr lang="en-US" sz="2400" dirty="0" smtClean="0">
                <a:latin typeface="Segoe UI Light" pitchFamily="34" charset="0"/>
              </a:rPr>
              <a:t>updates</a:t>
            </a:r>
            <a:r>
              <a:rPr lang="en-US" sz="2400" dirty="0">
                <a:latin typeface="Segoe UI Light" pitchFamily="34" charset="0"/>
              </a:rPr>
              <a:t>, </a:t>
            </a:r>
            <a:r>
              <a:rPr lang="en-US" sz="2400" dirty="0" smtClean="0">
                <a:latin typeface="Segoe UI Light" pitchFamily="34" charset="0"/>
              </a:rPr>
              <a:t>patches</a:t>
            </a:r>
            <a:endParaRPr lang="en-US" sz="2400" dirty="0">
              <a:latin typeface="Segoe UI Light" pitchFamily="34" charset="0"/>
            </a:endParaRPr>
          </a:p>
          <a:p>
            <a:pPr lvl="1">
              <a:buFont typeface="Wingdings" pitchFamily="2" charset="2"/>
              <a:buChar char="Ø"/>
            </a:pPr>
            <a:r>
              <a:rPr lang="en-US" sz="2400" dirty="0">
                <a:latin typeface="Segoe UI Light" pitchFamily="34" charset="0"/>
              </a:rPr>
              <a:t>Network</a:t>
            </a:r>
          </a:p>
          <a:p>
            <a:pPr lvl="1">
              <a:buFont typeface="Wingdings" pitchFamily="2" charset="2"/>
              <a:buChar char="Ø"/>
            </a:pPr>
            <a:r>
              <a:rPr lang="en-US" sz="2400" dirty="0" smtClean="0">
                <a:latin typeface="Segoe UI Light" pitchFamily="34" charset="0"/>
              </a:rPr>
              <a:t>Maintenance</a:t>
            </a:r>
            <a:endParaRPr lang="en-US" sz="2400" dirty="0">
              <a:latin typeface="Segoe UI Light" pitchFamily="34" charset="0"/>
            </a:endParaRPr>
          </a:p>
        </p:txBody>
      </p:sp>
      <p:sp>
        <p:nvSpPr>
          <p:cNvPr id="6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TextBox 6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Azure Less Worrie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4154291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 rot="16200000">
            <a:off x="-225281" y="6030572"/>
            <a:ext cx="900759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932468"/>
            <a:r>
              <a:rPr lang="en-US" sz="1400" dirty="0" smtClean="0">
                <a:solidFill>
                  <a:srgbClr val="353839"/>
                </a:solidFill>
                <a:cs typeface="Segoe UI" panose="020B0502040204020203" pitchFamily="34" charset="0"/>
              </a:rPr>
              <a:t>Data</a:t>
            </a:r>
          </a:p>
          <a:p>
            <a:pPr algn="ctr" defTabSz="932468"/>
            <a:r>
              <a:rPr lang="en-US" sz="1400" dirty="0" smtClean="0">
                <a:solidFill>
                  <a:srgbClr val="353839"/>
                </a:solidFill>
                <a:cs typeface="Segoe UI" panose="020B0502040204020203" pitchFamily="34" charset="0"/>
              </a:rPr>
              <a:t>&amp; Storage</a:t>
            </a:r>
          </a:p>
        </p:txBody>
      </p:sp>
      <p:sp>
        <p:nvSpPr>
          <p:cNvPr id="8" name="TextBox 7"/>
          <p:cNvSpPr txBox="1"/>
          <p:nvPr/>
        </p:nvSpPr>
        <p:spPr>
          <a:xfrm rot="16200000">
            <a:off x="-216813" y="3516073"/>
            <a:ext cx="8627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468"/>
            <a:r>
              <a:rPr lang="en-US" sz="1400" dirty="0" smtClean="0">
                <a:solidFill>
                  <a:srgbClr val="353839"/>
                </a:solidFill>
                <a:cs typeface="Segoe UI" panose="020B0502040204020203" pitchFamily="34" charset="0"/>
              </a:rPr>
              <a:t>Web</a:t>
            </a:r>
          </a:p>
          <a:p>
            <a:pPr algn="ctr" defTabSz="932468"/>
            <a:r>
              <a:rPr lang="en-US" sz="1400" dirty="0" smtClean="0">
                <a:solidFill>
                  <a:srgbClr val="353839"/>
                </a:solidFill>
                <a:cs typeface="Segoe UI" panose="020B0502040204020203" pitchFamily="34" charset="0"/>
              </a:rPr>
              <a:t>&amp; Mobile</a:t>
            </a:r>
            <a:endParaRPr lang="en-US" sz="1400" dirty="0">
              <a:solidFill>
                <a:srgbClr val="353839"/>
              </a:solidFill>
              <a:cs typeface="Segoe UI" panose="020B0502040204020203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 rot="16200000">
            <a:off x="-204887" y="4898286"/>
            <a:ext cx="8560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468"/>
            <a:r>
              <a:rPr lang="en-US" sz="1400" dirty="0" smtClean="0">
                <a:solidFill>
                  <a:srgbClr val="353839"/>
                </a:solidFill>
                <a:cs typeface="Segoe UI" panose="020B0502040204020203" pitchFamily="34" charset="0"/>
              </a:rPr>
              <a:t>Compute</a:t>
            </a:r>
            <a:endParaRPr lang="en-US" sz="1400" dirty="0">
              <a:solidFill>
                <a:srgbClr val="353839"/>
              </a:solidFill>
              <a:cs typeface="Segoe UI" panose="020B0502040204020203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480908" y="5851894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SQL Database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51912" y="3346766"/>
            <a:ext cx="2887835" cy="898624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App</a:t>
            </a:r>
          </a:p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Service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51911" y="4631039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Virtual Machines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 rot="16200000">
            <a:off x="7187025" y="3039728"/>
            <a:ext cx="20850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468"/>
            <a:r>
              <a:rPr lang="en-US" sz="1400" dirty="0" smtClean="0">
                <a:solidFill>
                  <a:srgbClr val="FFFFFF"/>
                </a:solidFill>
                <a:cs typeface="Segoe UI" panose="020B0502040204020203" pitchFamily="34" charset="0"/>
              </a:rPr>
              <a:t>Media &amp; CDN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399859" y="2155152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Media Services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8399859" y="3336115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CDN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 rot="16200000">
            <a:off x="-253972" y="1100420"/>
            <a:ext cx="93705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468"/>
            <a:r>
              <a:rPr lang="en-US" sz="1400" dirty="0" smtClean="0">
                <a:solidFill>
                  <a:srgbClr val="353839"/>
                </a:solidFill>
                <a:cs typeface="Segoe UI" panose="020B0502040204020203" pitchFamily="34" charset="0"/>
              </a:rPr>
              <a:t>Developer</a:t>
            </a:r>
          </a:p>
          <a:p>
            <a:pPr algn="ctr" defTabSz="932468"/>
            <a:r>
              <a:rPr lang="en-US" sz="1400" dirty="0" smtClean="0">
                <a:solidFill>
                  <a:srgbClr val="353839"/>
                </a:solidFill>
                <a:cs typeface="Segoe UI" panose="020B0502040204020203" pitchFamily="34" charset="0"/>
              </a:rPr>
              <a:t>Services</a:t>
            </a:r>
            <a:endParaRPr lang="en-US" sz="1400" dirty="0">
              <a:solidFill>
                <a:srgbClr val="353839"/>
              </a:solidFill>
              <a:cs typeface="Segoe UI" panose="020B0502040204020203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090119" y="5851894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err="1" smtClean="0">
                <a:solidFill>
                  <a:srgbClr val="FFFFFF"/>
                </a:solidFill>
                <a:cs typeface="Segoe UI" panose="020B0502040204020203" pitchFamily="34" charset="0"/>
              </a:rPr>
              <a:t>DocumentDB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905589" y="5851894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err="1" smtClean="0">
                <a:solidFill>
                  <a:srgbClr val="FFFFFF"/>
                </a:solidFill>
                <a:cs typeface="Segoe UI" panose="020B0502040204020203" pitchFamily="34" charset="0"/>
              </a:rPr>
              <a:t>Redis</a:t>
            </a:r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 Cache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265970" y="4631039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Cloud Services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081440" y="4631039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Batch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896910" y="4631039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Service Fabric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 rot="16200000">
            <a:off x="4020767" y="4982038"/>
            <a:ext cx="1036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468"/>
            <a:r>
              <a:rPr lang="en-US" sz="1400" dirty="0" smtClean="0">
                <a:solidFill>
                  <a:srgbClr val="FFFFFF"/>
                </a:solidFill>
                <a:cs typeface="Segoe UI" panose="020B0502040204020203" pitchFamily="34" charset="0"/>
              </a:rPr>
              <a:t>Networking</a:t>
            </a:r>
            <a:endParaRPr lang="en-US" sz="1400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714982" y="4631039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Virtual Network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525583" y="4631039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ExpressRoute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336185" y="4631039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Traffic Manager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706772" y="5855381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err="1" smtClean="0">
                <a:solidFill>
                  <a:srgbClr val="FFFFFF"/>
                </a:solidFill>
                <a:cs typeface="Segoe UI" panose="020B0502040204020203" pitchFamily="34" charset="0"/>
              </a:rPr>
              <a:t>StorSimple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286183" y="5851894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Search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50672" y="5851894"/>
            <a:ext cx="2889076" cy="898624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Storage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 rot="16200000">
            <a:off x="5681219" y="3545291"/>
            <a:ext cx="8322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468"/>
            <a:r>
              <a:rPr lang="en-US" sz="1400" dirty="0" smtClean="0">
                <a:solidFill>
                  <a:srgbClr val="FFFFFF"/>
                </a:solidFill>
                <a:cs typeface="Segoe UI" panose="020B0502040204020203" pitchFamily="34" charset="0"/>
              </a:rPr>
              <a:t>Identity</a:t>
            </a:r>
          </a:p>
          <a:p>
            <a:pPr algn="ctr" defTabSz="932468"/>
            <a:r>
              <a:rPr lang="en-US" sz="1400" dirty="0" smtClean="0">
                <a:solidFill>
                  <a:srgbClr val="FFFFFF"/>
                </a:solidFill>
                <a:cs typeface="Segoe UI" panose="020B0502040204020203" pitchFamily="34" charset="0"/>
              </a:rPr>
              <a:t>&amp; Acces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6401957" y="3346766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Azure Active Directory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7215005" y="3346766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Multi-Factor </a:t>
            </a:r>
            <a:r>
              <a:rPr lang="en-US" sz="1122" dirty="0" err="1" smtClean="0">
                <a:solidFill>
                  <a:srgbClr val="FFFFFF"/>
                </a:solidFill>
                <a:cs typeface="Segoe UI" panose="020B0502040204020203" pitchFamily="34" charset="0"/>
              </a:rPr>
              <a:t>Authent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419872" y="3346766"/>
            <a:ext cx="864096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API Management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355976" y="3346766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Notification Hubs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245125" y="3346766"/>
            <a:ext cx="767035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Mobile Engagement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44138" y="918779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Visual Studio Online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257186" y="918779"/>
            <a:ext cx="722526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Application Insights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 rot="16200000">
            <a:off x="1604798" y="1190556"/>
            <a:ext cx="11657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468"/>
            <a:r>
              <a:rPr lang="en-US" sz="1400" dirty="0">
                <a:solidFill>
                  <a:srgbClr val="FFFFFF"/>
                </a:solidFill>
                <a:cs typeface="Segoe UI" panose="020B0502040204020203" pitchFamily="34" charset="0"/>
              </a:rPr>
              <a:t>Management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416477" y="918779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Scheduler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3230536" y="918779"/>
            <a:ext cx="7654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Automation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046006" y="918779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Operational Insights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861475" y="918779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Key Vault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 rot="16200000">
            <a:off x="-183993" y="2386504"/>
            <a:ext cx="8427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468"/>
            <a:r>
              <a:rPr lang="en-US" sz="1400" dirty="0">
                <a:solidFill>
                  <a:srgbClr val="353839"/>
                </a:solidFill>
                <a:cs typeface="Segoe UI" panose="020B0502040204020203" pitchFamily="34" charset="0"/>
              </a:rPr>
              <a:t>Analytics</a:t>
            </a:r>
          </a:p>
          <a:p>
            <a:pPr algn="ctr" defTabSz="932468"/>
            <a:r>
              <a:rPr lang="en-US" sz="1400" dirty="0">
                <a:solidFill>
                  <a:srgbClr val="353839"/>
                </a:solidFill>
                <a:cs typeface="Segoe UI" panose="020B0502040204020203" pitchFamily="34" charset="0"/>
              </a:rPr>
              <a:t>&amp; IoT</a:t>
            </a:r>
          </a:p>
        </p:txBody>
      </p:sp>
      <p:sp>
        <p:nvSpPr>
          <p:cNvPr id="43" name="Rectangle 42"/>
          <p:cNvSpPr/>
          <p:nvPr/>
        </p:nvSpPr>
        <p:spPr>
          <a:xfrm>
            <a:off x="451911" y="2151113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err="1" smtClean="0">
                <a:solidFill>
                  <a:srgbClr val="FFFFFF"/>
                </a:solidFill>
                <a:cs typeface="Segoe UI" panose="020B0502040204020203" pitchFamily="34" charset="0"/>
              </a:rPr>
              <a:t>HDInsight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1265970" y="2151113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Machine Learning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2081440" y="2151113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Stream Analytics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2893036" y="2151113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Data Factory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708506" y="2151113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Event Hubs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 rot="16200000">
            <a:off x="4192175" y="2367789"/>
            <a:ext cx="9916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468"/>
            <a:r>
              <a:rPr lang="en-US" sz="1400" dirty="0">
                <a:solidFill>
                  <a:srgbClr val="FFFFFF"/>
                </a:solidFill>
                <a:cs typeface="Segoe UI" panose="020B0502040204020203" pitchFamily="34" charset="0"/>
              </a:rPr>
              <a:t>Hybrid</a:t>
            </a:r>
          </a:p>
          <a:p>
            <a:pPr algn="ctr" defTabSz="932468"/>
            <a:r>
              <a:rPr lang="en-US" sz="1400" dirty="0">
                <a:solidFill>
                  <a:srgbClr val="FFFFFF"/>
                </a:solidFill>
                <a:cs typeface="Segoe UI" panose="020B0502040204020203" pitchFamily="34" charset="0"/>
              </a:rPr>
              <a:t>Integration</a:t>
            </a:r>
          </a:p>
        </p:txBody>
      </p:sp>
      <p:sp>
        <p:nvSpPr>
          <p:cNvPr id="49" name="Rectangle 48"/>
          <p:cNvSpPr/>
          <p:nvPr/>
        </p:nvSpPr>
        <p:spPr>
          <a:xfrm>
            <a:off x="4916811" y="2151113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BizTalk Services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730870" y="2151113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Service Bus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6546340" y="2151113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Backup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361810" y="2151113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Site Recovery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76640" y="984923"/>
            <a:ext cx="301038" cy="397390"/>
          </a:xfrm>
          <a:prstGeom prst="rect">
            <a:avLst/>
          </a:prstGeom>
        </p:spPr>
      </p:pic>
      <p:pic>
        <p:nvPicPr>
          <p:cNvPr id="54" name="Picture 15"/>
          <p:cNvPicPr>
            <a:picLocks noChangeAspect="1"/>
          </p:cNvPicPr>
          <p:nvPr/>
        </p:nvPicPr>
        <p:blipFill>
          <a:blip r:embed="rId4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63718" y="984923"/>
            <a:ext cx="275267" cy="482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15"/>
          <p:cNvPicPr>
            <a:picLocks noChangeAspect="1"/>
          </p:cNvPicPr>
          <p:nvPr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73371" y="983591"/>
            <a:ext cx="388555" cy="484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154507" y="982361"/>
            <a:ext cx="331259" cy="485363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223728" y="2209441"/>
            <a:ext cx="289934" cy="378566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005189" y="2207252"/>
            <a:ext cx="298565" cy="422147"/>
          </a:xfrm>
          <a:prstGeom prst="rect">
            <a:avLst/>
          </a:prstGeom>
        </p:spPr>
      </p:pic>
      <p:pic>
        <p:nvPicPr>
          <p:cNvPr id="59" name="Picture 2"/>
          <p:cNvPicPr>
            <a:picLocks noChangeAspect="1"/>
          </p:cNvPicPr>
          <p:nvPr/>
        </p:nvPicPr>
        <p:blipFill>
          <a:blip r:embed="rId9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12850" y="2203055"/>
            <a:ext cx="323627" cy="437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8"/>
          <p:cNvPicPr>
            <a:picLocks noChangeAspect="1"/>
          </p:cNvPicPr>
          <p:nvPr/>
        </p:nvPicPr>
        <p:blipFill>
          <a:blip r:embed="rId10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74142" y="2209441"/>
            <a:ext cx="276962" cy="439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Freeform 83"/>
          <p:cNvSpPr>
            <a:spLocks noEditPoints="1"/>
          </p:cNvSpPr>
          <p:nvPr/>
        </p:nvSpPr>
        <p:spPr bwMode="black">
          <a:xfrm>
            <a:off x="6886667" y="2197890"/>
            <a:ext cx="272968" cy="417619"/>
          </a:xfrm>
          <a:custGeom>
            <a:avLst/>
            <a:gdLst>
              <a:gd name="T0" fmla="*/ 502 w 2107"/>
              <a:gd name="T1" fmla="*/ 1162 h 2221"/>
              <a:gd name="T2" fmla="*/ 239 w 2107"/>
              <a:gd name="T3" fmla="*/ 2072 h 2221"/>
              <a:gd name="T4" fmla="*/ 1587 w 2107"/>
              <a:gd name="T5" fmla="*/ 1800 h 2221"/>
              <a:gd name="T6" fmla="*/ 1487 w 2107"/>
              <a:gd name="T7" fmla="*/ 1835 h 2221"/>
              <a:gd name="T8" fmla="*/ 1579 w 2107"/>
              <a:gd name="T9" fmla="*/ 1870 h 2221"/>
              <a:gd name="T10" fmla="*/ 1470 w 2107"/>
              <a:gd name="T11" fmla="*/ 1847 h 2221"/>
              <a:gd name="T12" fmla="*/ 983 w 2107"/>
              <a:gd name="T13" fmla="*/ 1837 h 2221"/>
              <a:gd name="T14" fmla="*/ 1062 w 2107"/>
              <a:gd name="T15" fmla="*/ 1872 h 2221"/>
              <a:gd name="T16" fmla="*/ 956 w 2107"/>
              <a:gd name="T17" fmla="*/ 1951 h 2221"/>
              <a:gd name="T18" fmla="*/ 1046 w 2107"/>
              <a:gd name="T19" fmla="*/ 1970 h 2221"/>
              <a:gd name="T20" fmla="*/ 820 w 2107"/>
              <a:gd name="T21" fmla="*/ 1872 h 2221"/>
              <a:gd name="T22" fmla="*/ 899 w 2107"/>
              <a:gd name="T23" fmla="*/ 1836 h 2221"/>
              <a:gd name="T24" fmla="*/ 841 w 2107"/>
              <a:gd name="T25" fmla="*/ 1886 h 2221"/>
              <a:gd name="T26" fmla="*/ 905 w 2107"/>
              <a:gd name="T27" fmla="*/ 1920 h 2221"/>
              <a:gd name="T28" fmla="*/ 882 w 2107"/>
              <a:gd name="T29" fmla="*/ 1971 h 2221"/>
              <a:gd name="T30" fmla="*/ 687 w 2107"/>
              <a:gd name="T31" fmla="*/ 1847 h 2221"/>
              <a:gd name="T32" fmla="*/ 780 w 2107"/>
              <a:gd name="T33" fmla="*/ 1844 h 2221"/>
              <a:gd name="T34" fmla="*/ 760 w 2107"/>
              <a:gd name="T35" fmla="*/ 1882 h 2221"/>
              <a:gd name="T36" fmla="*/ 703 w 2107"/>
              <a:gd name="T37" fmla="*/ 1912 h 2221"/>
              <a:gd name="T38" fmla="*/ 682 w 2107"/>
              <a:gd name="T39" fmla="*/ 1972 h 2221"/>
              <a:gd name="T40" fmla="*/ 647 w 2107"/>
              <a:gd name="T41" fmla="*/ 1928 h 2221"/>
              <a:gd name="T42" fmla="*/ 631 w 2107"/>
              <a:gd name="T43" fmla="*/ 1862 h 2221"/>
              <a:gd name="T44" fmla="*/ 545 w 2107"/>
              <a:gd name="T45" fmla="*/ 2017 h 2221"/>
              <a:gd name="T46" fmla="*/ 416 w 2107"/>
              <a:gd name="T47" fmla="*/ 2078 h 2221"/>
              <a:gd name="T48" fmla="*/ 435 w 2107"/>
              <a:gd name="T49" fmla="*/ 2014 h 2221"/>
              <a:gd name="T50" fmla="*/ 538 w 2107"/>
              <a:gd name="T51" fmla="*/ 2006 h 2221"/>
              <a:gd name="T52" fmla="*/ 520 w 2107"/>
              <a:gd name="T53" fmla="*/ 1973 h 2221"/>
              <a:gd name="T54" fmla="*/ 490 w 2107"/>
              <a:gd name="T55" fmla="*/ 1930 h 2221"/>
              <a:gd name="T56" fmla="*/ 587 w 2107"/>
              <a:gd name="T57" fmla="*/ 1913 h 2221"/>
              <a:gd name="T58" fmla="*/ 1055 w 2107"/>
              <a:gd name="T59" fmla="*/ 2071 h 2221"/>
              <a:gd name="T60" fmla="*/ 605 w 2107"/>
              <a:gd name="T61" fmla="*/ 2078 h 2221"/>
              <a:gd name="T62" fmla="*/ 613 w 2107"/>
              <a:gd name="T63" fmla="*/ 2010 h 2221"/>
              <a:gd name="T64" fmla="*/ 1046 w 2107"/>
              <a:gd name="T65" fmla="*/ 2003 h 2221"/>
              <a:gd name="T66" fmla="*/ 1113 w 2107"/>
              <a:gd name="T67" fmla="*/ 1877 h 2221"/>
              <a:gd name="T68" fmla="*/ 1176 w 2107"/>
              <a:gd name="T69" fmla="*/ 1835 h 2221"/>
              <a:gd name="T70" fmla="*/ 1137 w 2107"/>
              <a:gd name="T71" fmla="*/ 1885 h 2221"/>
              <a:gd name="T72" fmla="*/ 1115 w 2107"/>
              <a:gd name="T73" fmla="*/ 1926 h 2221"/>
              <a:gd name="T74" fmla="*/ 1215 w 2107"/>
              <a:gd name="T75" fmla="*/ 1968 h 2221"/>
              <a:gd name="T76" fmla="*/ 1135 w 2107"/>
              <a:gd name="T77" fmla="*/ 1970 h 2221"/>
              <a:gd name="T78" fmla="*/ 1146 w 2107"/>
              <a:gd name="T79" fmla="*/ 2075 h 2221"/>
              <a:gd name="T80" fmla="*/ 1122 w 2107"/>
              <a:gd name="T81" fmla="*/ 2019 h 2221"/>
              <a:gd name="T82" fmla="*/ 1139 w 2107"/>
              <a:gd name="T83" fmla="*/ 2003 h 2221"/>
              <a:gd name="T84" fmla="*/ 1217 w 2107"/>
              <a:gd name="T85" fmla="*/ 2003 h 2221"/>
              <a:gd name="T86" fmla="*/ 1337 w 2107"/>
              <a:gd name="T87" fmla="*/ 1868 h 2221"/>
              <a:gd name="T88" fmla="*/ 1411 w 2107"/>
              <a:gd name="T89" fmla="*/ 1838 h 2221"/>
              <a:gd name="T90" fmla="*/ 1425 w 2107"/>
              <a:gd name="T91" fmla="*/ 1883 h 2221"/>
              <a:gd name="T92" fmla="*/ 1359 w 2107"/>
              <a:gd name="T93" fmla="*/ 1927 h 2221"/>
              <a:gd name="T94" fmla="*/ 1476 w 2107"/>
              <a:gd name="T95" fmla="*/ 1956 h 2221"/>
              <a:gd name="T96" fmla="*/ 1461 w 2107"/>
              <a:gd name="T97" fmla="*/ 1970 h 2221"/>
              <a:gd name="T98" fmla="*/ 1511 w 2107"/>
              <a:gd name="T99" fmla="*/ 2075 h 2221"/>
              <a:gd name="T100" fmla="*/ 1393 w 2107"/>
              <a:gd name="T101" fmla="*/ 2019 h 2221"/>
              <a:gd name="T102" fmla="*/ 1475 w 2107"/>
              <a:gd name="T103" fmla="*/ 2001 h 2221"/>
              <a:gd name="T104" fmla="*/ 1681 w 2107"/>
              <a:gd name="T105" fmla="*/ 2018 h 2221"/>
              <a:gd name="T106" fmla="*/ 1623 w 2107"/>
              <a:gd name="T107" fmla="*/ 2075 h 2221"/>
              <a:gd name="T108" fmla="*/ 1639 w 2107"/>
              <a:gd name="T109" fmla="*/ 2000 h 2221"/>
              <a:gd name="T110" fmla="*/ 1630 w 2107"/>
              <a:gd name="T111" fmla="*/ 1969 h 2221"/>
              <a:gd name="T112" fmla="*/ 1532 w 2107"/>
              <a:gd name="T113" fmla="*/ 1910 h 2221"/>
              <a:gd name="T114" fmla="*/ 933 w 2107"/>
              <a:gd name="T115" fmla="*/ 1308 h 2221"/>
              <a:gd name="T116" fmla="*/ 9 w 2107"/>
              <a:gd name="T117" fmla="*/ 909 h 2221"/>
              <a:gd name="T118" fmla="*/ 413 w 2107"/>
              <a:gd name="T119" fmla="*/ 386 h 2221"/>
              <a:gd name="T120" fmla="*/ 1700 w 2107"/>
              <a:gd name="T121" fmla="*/ 556 h 2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07" h="2221">
                <a:moveTo>
                  <a:pt x="2107" y="809"/>
                </a:moveTo>
                <a:cubicBezTo>
                  <a:pt x="2106" y="786"/>
                  <a:pt x="2103" y="764"/>
                  <a:pt x="2098" y="742"/>
                </a:cubicBezTo>
                <a:cubicBezTo>
                  <a:pt x="2098" y="745"/>
                  <a:pt x="2098" y="747"/>
                  <a:pt x="2098" y="749"/>
                </a:cubicBezTo>
                <a:cubicBezTo>
                  <a:pt x="2096" y="810"/>
                  <a:pt x="2076" y="869"/>
                  <a:pt x="2040" y="926"/>
                </a:cubicBezTo>
                <a:cubicBezTo>
                  <a:pt x="2018" y="961"/>
                  <a:pt x="1988" y="995"/>
                  <a:pt x="1953" y="1027"/>
                </a:cubicBezTo>
                <a:cubicBezTo>
                  <a:pt x="1918" y="1064"/>
                  <a:pt x="1873" y="1098"/>
                  <a:pt x="1819" y="1131"/>
                </a:cubicBezTo>
                <a:cubicBezTo>
                  <a:pt x="1777" y="1156"/>
                  <a:pt x="1731" y="1178"/>
                  <a:pt x="1682" y="1198"/>
                </a:cubicBezTo>
                <a:cubicBezTo>
                  <a:pt x="1682" y="1061"/>
                  <a:pt x="1682" y="1061"/>
                  <a:pt x="1682" y="1061"/>
                </a:cubicBezTo>
                <a:cubicBezTo>
                  <a:pt x="1682" y="1059"/>
                  <a:pt x="1682" y="1058"/>
                  <a:pt x="1682" y="1056"/>
                </a:cubicBezTo>
                <a:cubicBezTo>
                  <a:pt x="1680" y="988"/>
                  <a:pt x="1624" y="933"/>
                  <a:pt x="1554" y="933"/>
                </a:cubicBezTo>
                <a:cubicBezTo>
                  <a:pt x="555" y="933"/>
                  <a:pt x="555" y="933"/>
                  <a:pt x="555" y="933"/>
                </a:cubicBezTo>
                <a:cubicBezTo>
                  <a:pt x="484" y="933"/>
                  <a:pt x="426" y="990"/>
                  <a:pt x="426" y="1061"/>
                </a:cubicBezTo>
                <a:cubicBezTo>
                  <a:pt x="426" y="1141"/>
                  <a:pt x="426" y="1141"/>
                  <a:pt x="426" y="1141"/>
                </a:cubicBezTo>
                <a:cubicBezTo>
                  <a:pt x="430" y="1142"/>
                  <a:pt x="430" y="1142"/>
                  <a:pt x="430" y="1142"/>
                </a:cubicBezTo>
                <a:cubicBezTo>
                  <a:pt x="430" y="1143"/>
                  <a:pt x="459" y="1152"/>
                  <a:pt x="502" y="1162"/>
                </a:cubicBezTo>
                <a:cubicBezTo>
                  <a:pt x="502" y="1069"/>
                  <a:pt x="502" y="1069"/>
                  <a:pt x="502" y="1069"/>
                </a:cubicBezTo>
                <a:cubicBezTo>
                  <a:pt x="502" y="1032"/>
                  <a:pt x="531" y="1003"/>
                  <a:pt x="568" y="1003"/>
                </a:cubicBezTo>
                <a:cubicBezTo>
                  <a:pt x="1541" y="1003"/>
                  <a:pt x="1541" y="1003"/>
                  <a:pt x="1541" y="1003"/>
                </a:cubicBezTo>
                <a:cubicBezTo>
                  <a:pt x="1577" y="1003"/>
                  <a:pt x="1607" y="1032"/>
                  <a:pt x="1607" y="1069"/>
                </a:cubicBezTo>
                <a:cubicBezTo>
                  <a:pt x="1607" y="1668"/>
                  <a:pt x="1607" y="1668"/>
                  <a:pt x="1607" y="1668"/>
                </a:cubicBezTo>
                <a:cubicBezTo>
                  <a:pt x="1607" y="1704"/>
                  <a:pt x="1577" y="1734"/>
                  <a:pt x="1541" y="1734"/>
                </a:cubicBezTo>
                <a:cubicBezTo>
                  <a:pt x="568" y="1734"/>
                  <a:pt x="568" y="1734"/>
                  <a:pt x="568" y="1734"/>
                </a:cubicBezTo>
                <a:cubicBezTo>
                  <a:pt x="531" y="1734"/>
                  <a:pt x="502" y="1704"/>
                  <a:pt x="502" y="1668"/>
                </a:cubicBezTo>
                <a:cubicBezTo>
                  <a:pt x="502" y="1541"/>
                  <a:pt x="502" y="1541"/>
                  <a:pt x="502" y="1541"/>
                </a:cubicBezTo>
                <a:cubicBezTo>
                  <a:pt x="476" y="1535"/>
                  <a:pt x="451" y="1528"/>
                  <a:pt x="426" y="1520"/>
                </a:cubicBezTo>
                <a:cubicBezTo>
                  <a:pt x="426" y="1676"/>
                  <a:pt x="426" y="1676"/>
                  <a:pt x="426" y="1676"/>
                </a:cubicBezTo>
                <a:cubicBezTo>
                  <a:pt x="426" y="1736"/>
                  <a:pt x="467" y="1786"/>
                  <a:pt x="523" y="1800"/>
                </a:cubicBezTo>
                <a:cubicBezTo>
                  <a:pt x="491" y="1802"/>
                  <a:pt x="456" y="1813"/>
                  <a:pt x="435" y="1837"/>
                </a:cubicBezTo>
                <a:cubicBezTo>
                  <a:pt x="419" y="1857"/>
                  <a:pt x="403" y="1876"/>
                  <a:pt x="387" y="1895"/>
                </a:cubicBezTo>
                <a:cubicBezTo>
                  <a:pt x="337" y="1954"/>
                  <a:pt x="288" y="2013"/>
                  <a:pt x="239" y="2072"/>
                </a:cubicBezTo>
                <a:cubicBezTo>
                  <a:pt x="227" y="2086"/>
                  <a:pt x="203" y="2107"/>
                  <a:pt x="203" y="2127"/>
                </a:cubicBezTo>
                <a:cubicBezTo>
                  <a:pt x="203" y="2183"/>
                  <a:pt x="203" y="2183"/>
                  <a:pt x="203" y="2183"/>
                </a:cubicBezTo>
                <a:cubicBezTo>
                  <a:pt x="204" y="2190"/>
                  <a:pt x="206" y="2197"/>
                  <a:pt x="209" y="2202"/>
                </a:cubicBezTo>
                <a:cubicBezTo>
                  <a:pt x="222" y="2220"/>
                  <a:pt x="247" y="2221"/>
                  <a:pt x="267" y="2221"/>
                </a:cubicBezTo>
                <a:cubicBezTo>
                  <a:pt x="295" y="2221"/>
                  <a:pt x="1759" y="2221"/>
                  <a:pt x="1804" y="2221"/>
                </a:cubicBezTo>
                <a:cubicBezTo>
                  <a:pt x="1826" y="2221"/>
                  <a:pt x="1850" y="2219"/>
                  <a:pt x="1871" y="2214"/>
                </a:cubicBezTo>
                <a:cubicBezTo>
                  <a:pt x="1886" y="2211"/>
                  <a:pt x="1903" y="2203"/>
                  <a:pt x="1905" y="2186"/>
                </a:cubicBezTo>
                <a:cubicBezTo>
                  <a:pt x="1905" y="2126"/>
                  <a:pt x="1905" y="2126"/>
                  <a:pt x="1905" y="2126"/>
                </a:cubicBezTo>
                <a:cubicBezTo>
                  <a:pt x="1907" y="2113"/>
                  <a:pt x="1899" y="2100"/>
                  <a:pt x="1891" y="2091"/>
                </a:cubicBezTo>
                <a:cubicBezTo>
                  <a:pt x="1887" y="2086"/>
                  <a:pt x="1883" y="2081"/>
                  <a:pt x="1879" y="2077"/>
                </a:cubicBezTo>
                <a:cubicBezTo>
                  <a:pt x="1858" y="2052"/>
                  <a:pt x="1837" y="2027"/>
                  <a:pt x="1816" y="2003"/>
                </a:cubicBezTo>
                <a:cubicBezTo>
                  <a:pt x="1770" y="1948"/>
                  <a:pt x="1724" y="1894"/>
                  <a:pt x="1678" y="1840"/>
                </a:cubicBezTo>
                <a:cubicBezTo>
                  <a:pt x="1676" y="1837"/>
                  <a:pt x="1674" y="1834"/>
                  <a:pt x="1671" y="1832"/>
                </a:cubicBezTo>
                <a:cubicBezTo>
                  <a:pt x="1662" y="1820"/>
                  <a:pt x="1647" y="1813"/>
                  <a:pt x="1633" y="1809"/>
                </a:cubicBezTo>
                <a:cubicBezTo>
                  <a:pt x="1618" y="1804"/>
                  <a:pt x="1603" y="1801"/>
                  <a:pt x="1587" y="1800"/>
                </a:cubicBezTo>
                <a:cubicBezTo>
                  <a:pt x="1642" y="1785"/>
                  <a:pt x="1682" y="1735"/>
                  <a:pt x="1682" y="1676"/>
                </a:cubicBezTo>
                <a:cubicBezTo>
                  <a:pt x="1682" y="1462"/>
                  <a:pt x="1682" y="1462"/>
                  <a:pt x="1682" y="1462"/>
                </a:cubicBezTo>
                <a:cubicBezTo>
                  <a:pt x="1698" y="1455"/>
                  <a:pt x="1714" y="1448"/>
                  <a:pt x="1730" y="1441"/>
                </a:cubicBezTo>
                <a:cubicBezTo>
                  <a:pt x="1801" y="1408"/>
                  <a:pt x="1863" y="1368"/>
                  <a:pt x="1916" y="1325"/>
                </a:cubicBezTo>
                <a:cubicBezTo>
                  <a:pt x="1946" y="1300"/>
                  <a:pt x="1972" y="1273"/>
                  <a:pt x="1995" y="1246"/>
                </a:cubicBezTo>
                <a:cubicBezTo>
                  <a:pt x="2018" y="1218"/>
                  <a:pt x="2037" y="1187"/>
                  <a:pt x="2054" y="1154"/>
                </a:cubicBezTo>
                <a:cubicBezTo>
                  <a:pt x="2068" y="1124"/>
                  <a:pt x="2079" y="1090"/>
                  <a:pt x="2084" y="1054"/>
                </a:cubicBezTo>
                <a:cubicBezTo>
                  <a:pt x="2086" y="1040"/>
                  <a:pt x="2087" y="1026"/>
                  <a:pt x="2089" y="1013"/>
                </a:cubicBezTo>
                <a:cubicBezTo>
                  <a:pt x="2089" y="1008"/>
                  <a:pt x="2090" y="1003"/>
                  <a:pt x="2090" y="998"/>
                </a:cubicBezTo>
                <a:cubicBezTo>
                  <a:pt x="2102" y="877"/>
                  <a:pt x="2102" y="877"/>
                  <a:pt x="2102" y="877"/>
                </a:cubicBezTo>
                <a:cubicBezTo>
                  <a:pt x="2103" y="874"/>
                  <a:pt x="2103" y="870"/>
                  <a:pt x="2103" y="867"/>
                </a:cubicBezTo>
                <a:cubicBezTo>
                  <a:pt x="2105" y="848"/>
                  <a:pt x="2107" y="829"/>
                  <a:pt x="2107" y="809"/>
                </a:cubicBezTo>
                <a:close/>
                <a:moveTo>
                  <a:pt x="1474" y="1837"/>
                </a:moveTo>
                <a:cubicBezTo>
                  <a:pt x="1475" y="1836"/>
                  <a:pt x="1476" y="1836"/>
                  <a:pt x="1478" y="1836"/>
                </a:cubicBezTo>
                <a:cubicBezTo>
                  <a:pt x="1481" y="1835"/>
                  <a:pt x="1483" y="1835"/>
                  <a:pt x="1487" y="1835"/>
                </a:cubicBezTo>
                <a:cubicBezTo>
                  <a:pt x="1492" y="1835"/>
                  <a:pt x="1492" y="1835"/>
                  <a:pt x="1492" y="1835"/>
                </a:cubicBezTo>
                <a:cubicBezTo>
                  <a:pt x="1492" y="1835"/>
                  <a:pt x="1492" y="1835"/>
                  <a:pt x="1492" y="1835"/>
                </a:cubicBezTo>
                <a:cubicBezTo>
                  <a:pt x="1502" y="1835"/>
                  <a:pt x="1511" y="1835"/>
                  <a:pt x="1521" y="1835"/>
                </a:cubicBezTo>
                <a:cubicBezTo>
                  <a:pt x="1521" y="1835"/>
                  <a:pt x="1521" y="1835"/>
                  <a:pt x="1521" y="1835"/>
                </a:cubicBezTo>
                <a:cubicBezTo>
                  <a:pt x="1531" y="1835"/>
                  <a:pt x="1531" y="1835"/>
                  <a:pt x="1531" y="1835"/>
                </a:cubicBezTo>
                <a:cubicBezTo>
                  <a:pt x="1534" y="1834"/>
                  <a:pt x="1538" y="1835"/>
                  <a:pt x="1541" y="1835"/>
                </a:cubicBezTo>
                <a:cubicBezTo>
                  <a:pt x="1543" y="1836"/>
                  <a:pt x="1546" y="1836"/>
                  <a:pt x="1548" y="1837"/>
                </a:cubicBezTo>
                <a:cubicBezTo>
                  <a:pt x="1548" y="1837"/>
                  <a:pt x="1548" y="1837"/>
                  <a:pt x="1548" y="1837"/>
                </a:cubicBezTo>
                <a:cubicBezTo>
                  <a:pt x="1549" y="1837"/>
                  <a:pt x="1549" y="1838"/>
                  <a:pt x="1549" y="1838"/>
                </a:cubicBezTo>
                <a:cubicBezTo>
                  <a:pt x="1550" y="1838"/>
                  <a:pt x="1550" y="1838"/>
                  <a:pt x="1550" y="1838"/>
                </a:cubicBezTo>
                <a:cubicBezTo>
                  <a:pt x="1553" y="1839"/>
                  <a:pt x="1556" y="1840"/>
                  <a:pt x="1558" y="1842"/>
                </a:cubicBezTo>
                <a:cubicBezTo>
                  <a:pt x="1560" y="1843"/>
                  <a:pt x="1562" y="1845"/>
                  <a:pt x="1563" y="1847"/>
                </a:cubicBezTo>
                <a:cubicBezTo>
                  <a:pt x="1571" y="1858"/>
                  <a:pt x="1571" y="1858"/>
                  <a:pt x="1571" y="1858"/>
                </a:cubicBezTo>
                <a:cubicBezTo>
                  <a:pt x="1573" y="1861"/>
                  <a:pt x="1577" y="1865"/>
                  <a:pt x="1579" y="1870"/>
                </a:cubicBezTo>
                <a:cubicBezTo>
                  <a:pt x="1579" y="1870"/>
                  <a:pt x="1579" y="1870"/>
                  <a:pt x="1579" y="1870"/>
                </a:cubicBezTo>
                <a:cubicBezTo>
                  <a:pt x="1581" y="1872"/>
                  <a:pt x="1581" y="1874"/>
                  <a:pt x="1581" y="1876"/>
                </a:cubicBezTo>
                <a:cubicBezTo>
                  <a:pt x="1581" y="1877"/>
                  <a:pt x="1580" y="1878"/>
                  <a:pt x="1579" y="1879"/>
                </a:cubicBezTo>
                <a:cubicBezTo>
                  <a:pt x="1579" y="1879"/>
                  <a:pt x="1579" y="1880"/>
                  <a:pt x="1579" y="1880"/>
                </a:cubicBezTo>
                <a:cubicBezTo>
                  <a:pt x="1579" y="1880"/>
                  <a:pt x="1579" y="1880"/>
                  <a:pt x="1579" y="1880"/>
                </a:cubicBezTo>
                <a:cubicBezTo>
                  <a:pt x="1578" y="1880"/>
                  <a:pt x="1578" y="1880"/>
                  <a:pt x="1578" y="1880"/>
                </a:cubicBezTo>
                <a:cubicBezTo>
                  <a:pt x="1578" y="1880"/>
                  <a:pt x="1578" y="1881"/>
                  <a:pt x="1577" y="1881"/>
                </a:cubicBezTo>
                <a:cubicBezTo>
                  <a:pt x="1577" y="1881"/>
                  <a:pt x="1577" y="1881"/>
                  <a:pt x="1576" y="1881"/>
                </a:cubicBezTo>
                <a:cubicBezTo>
                  <a:pt x="1576" y="1881"/>
                  <a:pt x="1576" y="1882"/>
                  <a:pt x="1575" y="1882"/>
                </a:cubicBezTo>
                <a:cubicBezTo>
                  <a:pt x="1569" y="1885"/>
                  <a:pt x="1560" y="1884"/>
                  <a:pt x="1553" y="1884"/>
                </a:cubicBezTo>
                <a:cubicBezTo>
                  <a:pt x="1516" y="1884"/>
                  <a:pt x="1516" y="1884"/>
                  <a:pt x="1516" y="1884"/>
                </a:cubicBezTo>
                <a:cubicBezTo>
                  <a:pt x="1509" y="1884"/>
                  <a:pt x="1501" y="1883"/>
                  <a:pt x="1494" y="1879"/>
                </a:cubicBezTo>
                <a:cubicBezTo>
                  <a:pt x="1492" y="1878"/>
                  <a:pt x="1490" y="1877"/>
                  <a:pt x="1488" y="1876"/>
                </a:cubicBezTo>
                <a:cubicBezTo>
                  <a:pt x="1486" y="1874"/>
                  <a:pt x="1484" y="1872"/>
                  <a:pt x="1483" y="1871"/>
                </a:cubicBezTo>
                <a:cubicBezTo>
                  <a:pt x="1481" y="1868"/>
                  <a:pt x="1481" y="1868"/>
                  <a:pt x="1481" y="1868"/>
                </a:cubicBezTo>
                <a:cubicBezTo>
                  <a:pt x="1478" y="1861"/>
                  <a:pt x="1473" y="1854"/>
                  <a:pt x="1470" y="1847"/>
                </a:cubicBezTo>
                <a:cubicBezTo>
                  <a:pt x="1467" y="1842"/>
                  <a:pt x="1469" y="1839"/>
                  <a:pt x="1474" y="1837"/>
                </a:cubicBezTo>
                <a:close/>
                <a:moveTo>
                  <a:pt x="965" y="1871"/>
                </a:moveTo>
                <a:cubicBezTo>
                  <a:pt x="966" y="1869"/>
                  <a:pt x="966" y="1868"/>
                  <a:pt x="966" y="1866"/>
                </a:cubicBezTo>
                <a:cubicBezTo>
                  <a:pt x="966" y="1866"/>
                  <a:pt x="966" y="1866"/>
                  <a:pt x="966" y="1866"/>
                </a:cubicBezTo>
                <a:cubicBezTo>
                  <a:pt x="967" y="1861"/>
                  <a:pt x="966" y="1855"/>
                  <a:pt x="968" y="1850"/>
                </a:cubicBezTo>
                <a:cubicBezTo>
                  <a:pt x="968" y="1848"/>
                  <a:pt x="968" y="1848"/>
                  <a:pt x="968" y="1848"/>
                </a:cubicBezTo>
                <a:cubicBezTo>
                  <a:pt x="968" y="1846"/>
                  <a:pt x="969" y="1845"/>
                  <a:pt x="970" y="1843"/>
                </a:cubicBezTo>
                <a:cubicBezTo>
                  <a:pt x="971" y="1842"/>
                  <a:pt x="973" y="1841"/>
                  <a:pt x="974" y="1841"/>
                </a:cubicBezTo>
                <a:cubicBezTo>
                  <a:pt x="974" y="1840"/>
                  <a:pt x="974" y="1840"/>
                  <a:pt x="974" y="1840"/>
                </a:cubicBezTo>
                <a:cubicBezTo>
                  <a:pt x="975" y="1840"/>
                  <a:pt x="975" y="1840"/>
                  <a:pt x="975" y="1840"/>
                </a:cubicBezTo>
                <a:cubicBezTo>
                  <a:pt x="976" y="1840"/>
                  <a:pt x="976" y="1839"/>
                  <a:pt x="976" y="1839"/>
                </a:cubicBezTo>
                <a:cubicBezTo>
                  <a:pt x="976" y="1839"/>
                  <a:pt x="977" y="1839"/>
                  <a:pt x="977" y="1839"/>
                </a:cubicBezTo>
                <a:cubicBezTo>
                  <a:pt x="978" y="1839"/>
                  <a:pt x="978" y="1838"/>
                  <a:pt x="979" y="1838"/>
                </a:cubicBezTo>
                <a:cubicBezTo>
                  <a:pt x="980" y="1838"/>
                  <a:pt x="980" y="1838"/>
                  <a:pt x="980" y="1838"/>
                </a:cubicBezTo>
                <a:cubicBezTo>
                  <a:pt x="981" y="1837"/>
                  <a:pt x="982" y="1837"/>
                  <a:pt x="983" y="1837"/>
                </a:cubicBezTo>
                <a:cubicBezTo>
                  <a:pt x="983" y="1837"/>
                  <a:pt x="984" y="1837"/>
                  <a:pt x="984" y="1837"/>
                </a:cubicBezTo>
                <a:cubicBezTo>
                  <a:pt x="984" y="1837"/>
                  <a:pt x="984" y="1837"/>
                  <a:pt x="985" y="1837"/>
                </a:cubicBezTo>
                <a:cubicBezTo>
                  <a:pt x="985" y="1837"/>
                  <a:pt x="985" y="1837"/>
                  <a:pt x="986" y="1836"/>
                </a:cubicBezTo>
                <a:cubicBezTo>
                  <a:pt x="988" y="1836"/>
                  <a:pt x="991" y="1836"/>
                  <a:pt x="993" y="1836"/>
                </a:cubicBezTo>
                <a:cubicBezTo>
                  <a:pt x="995" y="1836"/>
                  <a:pt x="995" y="1836"/>
                  <a:pt x="995" y="1836"/>
                </a:cubicBezTo>
                <a:cubicBezTo>
                  <a:pt x="998" y="1836"/>
                  <a:pt x="1000" y="1836"/>
                  <a:pt x="1003" y="1836"/>
                </a:cubicBezTo>
                <a:cubicBezTo>
                  <a:pt x="1038" y="1836"/>
                  <a:pt x="1038" y="1836"/>
                  <a:pt x="1038" y="1836"/>
                </a:cubicBezTo>
                <a:cubicBezTo>
                  <a:pt x="1038" y="1836"/>
                  <a:pt x="1039" y="1836"/>
                  <a:pt x="1040" y="1836"/>
                </a:cubicBezTo>
                <a:cubicBezTo>
                  <a:pt x="1040" y="1836"/>
                  <a:pt x="1040" y="1836"/>
                  <a:pt x="1041" y="1836"/>
                </a:cubicBezTo>
                <a:cubicBezTo>
                  <a:pt x="1042" y="1836"/>
                  <a:pt x="1042" y="1836"/>
                  <a:pt x="1043" y="1836"/>
                </a:cubicBezTo>
                <a:cubicBezTo>
                  <a:pt x="1050" y="1837"/>
                  <a:pt x="1058" y="1839"/>
                  <a:pt x="1061" y="1844"/>
                </a:cubicBezTo>
                <a:cubicBezTo>
                  <a:pt x="1061" y="1845"/>
                  <a:pt x="1061" y="1845"/>
                  <a:pt x="1061" y="1846"/>
                </a:cubicBezTo>
                <a:cubicBezTo>
                  <a:pt x="1061" y="1846"/>
                  <a:pt x="1061" y="1846"/>
                  <a:pt x="1061" y="1846"/>
                </a:cubicBezTo>
                <a:cubicBezTo>
                  <a:pt x="1063" y="1853"/>
                  <a:pt x="1062" y="1863"/>
                  <a:pt x="1062" y="1870"/>
                </a:cubicBezTo>
                <a:cubicBezTo>
                  <a:pt x="1062" y="1872"/>
                  <a:pt x="1062" y="1872"/>
                  <a:pt x="1062" y="1872"/>
                </a:cubicBezTo>
                <a:cubicBezTo>
                  <a:pt x="1062" y="1873"/>
                  <a:pt x="1062" y="1874"/>
                  <a:pt x="1061" y="1876"/>
                </a:cubicBezTo>
                <a:cubicBezTo>
                  <a:pt x="1054" y="1889"/>
                  <a:pt x="1022" y="1885"/>
                  <a:pt x="1010" y="1885"/>
                </a:cubicBezTo>
                <a:cubicBezTo>
                  <a:pt x="1003" y="1885"/>
                  <a:pt x="996" y="1885"/>
                  <a:pt x="989" y="1885"/>
                </a:cubicBezTo>
                <a:cubicBezTo>
                  <a:pt x="983" y="1885"/>
                  <a:pt x="974" y="1884"/>
                  <a:pt x="969" y="1879"/>
                </a:cubicBezTo>
                <a:cubicBezTo>
                  <a:pt x="969" y="1879"/>
                  <a:pt x="969" y="1879"/>
                  <a:pt x="968" y="1879"/>
                </a:cubicBezTo>
                <a:cubicBezTo>
                  <a:pt x="968" y="1879"/>
                  <a:pt x="968" y="1878"/>
                  <a:pt x="968" y="1878"/>
                </a:cubicBezTo>
                <a:cubicBezTo>
                  <a:pt x="967" y="1878"/>
                  <a:pt x="967" y="1878"/>
                  <a:pt x="967" y="1877"/>
                </a:cubicBezTo>
                <a:cubicBezTo>
                  <a:pt x="967" y="1877"/>
                  <a:pt x="967" y="1877"/>
                  <a:pt x="967" y="1877"/>
                </a:cubicBezTo>
                <a:cubicBezTo>
                  <a:pt x="967" y="1877"/>
                  <a:pt x="967" y="1877"/>
                  <a:pt x="967" y="1877"/>
                </a:cubicBezTo>
                <a:cubicBezTo>
                  <a:pt x="966" y="1876"/>
                  <a:pt x="966" y="1876"/>
                  <a:pt x="966" y="1875"/>
                </a:cubicBezTo>
                <a:cubicBezTo>
                  <a:pt x="965" y="1874"/>
                  <a:pt x="965" y="1873"/>
                  <a:pt x="965" y="1872"/>
                </a:cubicBezTo>
                <a:lnTo>
                  <a:pt x="965" y="1871"/>
                </a:lnTo>
                <a:close/>
                <a:moveTo>
                  <a:pt x="956" y="1955"/>
                </a:moveTo>
                <a:cubicBezTo>
                  <a:pt x="956" y="1952"/>
                  <a:pt x="956" y="1952"/>
                  <a:pt x="956" y="1952"/>
                </a:cubicBezTo>
                <a:cubicBezTo>
                  <a:pt x="956" y="1952"/>
                  <a:pt x="956" y="1951"/>
                  <a:pt x="956" y="1951"/>
                </a:cubicBezTo>
                <a:cubicBezTo>
                  <a:pt x="957" y="1943"/>
                  <a:pt x="958" y="1935"/>
                  <a:pt x="959" y="1926"/>
                </a:cubicBezTo>
                <a:cubicBezTo>
                  <a:pt x="959" y="1926"/>
                  <a:pt x="959" y="1926"/>
                  <a:pt x="959" y="1926"/>
                </a:cubicBezTo>
                <a:cubicBezTo>
                  <a:pt x="959" y="1926"/>
                  <a:pt x="959" y="1926"/>
                  <a:pt x="959" y="1925"/>
                </a:cubicBezTo>
                <a:cubicBezTo>
                  <a:pt x="963" y="1907"/>
                  <a:pt x="999" y="1911"/>
                  <a:pt x="1013" y="1911"/>
                </a:cubicBezTo>
                <a:cubicBezTo>
                  <a:pt x="1025" y="1911"/>
                  <a:pt x="1055" y="1908"/>
                  <a:pt x="1061" y="1921"/>
                </a:cubicBezTo>
                <a:cubicBezTo>
                  <a:pt x="1062" y="1923"/>
                  <a:pt x="1063" y="1924"/>
                  <a:pt x="1063" y="1926"/>
                </a:cubicBezTo>
                <a:cubicBezTo>
                  <a:pt x="1063" y="1940"/>
                  <a:pt x="1063" y="1940"/>
                  <a:pt x="1063" y="1940"/>
                </a:cubicBezTo>
                <a:cubicBezTo>
                  <a:pt x="1063" y="1945"/>
                  <a:pt x="1063" y="1949"/>
                  <a:pt x="1063" y="1953"/>
                </a:cubicBezTo>
                <a:cubicBezTo>
                  <a:pt x="1063" y="1953"/>
                  <a:pt x="1063" y="1953"/>
                  <a:pt x="1063" y="1953"/>
                </a:cubicBezTo>
                <a:cubicBezTo>
                  <a:pt x="1063" y="1955"/>
                  <a:pt x="1063" y="1955"/>
                  <a:pt x="1063" y="1955"/>
                </a:cubicBezTo>
                <a:cubicBezTo>
                  <a:pt x="1063" y="1957"/>
                  <a:pt x="1062" y="1959"/>
                  <a:pt x="1061" y="1961"/>
                </a:cubicBezTo>
                <a:cubicBezTo>
                  <a:pt x="1061" y="1962"/>
                  <a:pt x="1060" y="1962"/>
                  <a:pt x="1060" y="1962"/>
                </a:cubicBezTo>
                <a:cubicBezTo>
                  <a:pt x="1060" y="1963"/>
                  <a:pt x="1059" y="1963"/>
                  <a:pt x="1059" y="1964"/>
                </a:cubicBezTo>
                <a:cubicBezTo>
                  <a:pt x="1058" y="1964"/>
                  <a:pt x="1058" y="1964"/>
                  <a:pt x="1058" y="1964"/>
                </a:cubicBezTo>
                <a:cubicBezTo>
                  <a:pt x="1055" y="1967"/>
                  <a:pt x="1051" y="1969"/>
                  <a:pt x="1046" y="1970"/>
                </a:cubicBezTo>
                <a:cubicBezTo>
                  <a:pt x="1046" y="1970"/>
                  <a:pt x="1046" y="1970"/>
                  <a:pt x="1046" y="1970"/>
                </a:cubicBezTo>
                <a:cubicBezTo>
                  <a:pt x="1046" y="1970"/>
                  <a:pt x="1046" y="1970"/>
                  <a:pt x="1046" y="1970"/>
                </a:cubicBezTo>
                <a:cubicBezTo>
                  <a:pt x="1044" y="1971"/>
                  <a:pt x="1043" y="1971"/>
                  <a:pt x="1041" y="1971"/>
                </a:cubicBezTo>
                <a:cubicBezTo>
                  <a:pt x="1041" y="1971"/>
                  <a:pt x="1040" y="1971"/>
                  <a:pt x="1040" y="1971"/>
                </a:cubicBezTo>
                <a:cubicBezTo>
                  <a:pt x="1038" y="1971"/>
                  <a:pt x="1037" y="1972"/>
                  <a:pt x="1035" y="1972"/>
                </a:cubicBezTo>
                <a:cubicBezTo>
                  <a:pt x="1035" y="1972"/>
                  <a:pt x="1035" y="1972"/>
                  <a:pt x="1035" y="1972"/>
                </a:cubicBezTo>
                <a:cubicBezTo>
                  <a:pt x="982" y="1972"/>
                  <a:pt x="982" y="1972"/>
                  <a:pt x="982" y="1972"/>
                </a:cubicBezTo>
                <a:cubicBezTo>
                  <a:pt x="976" y="1972"/>
                  <a:pt x="969" y="1971"/>
                  <a:pt x="963" y="1967"/>
                </a:cubicBezTo>
                <a:cubicBezTo>
                  <a:pt x="963" y="1967"/>
                  <a:pt x="963" y="1967"/>
                  <a:pt x="963" y="1967"/>
                </a:cubicBezTo>
                <a:cubicBezTo>
                  <a:pt x="963" y="1967"/>
                  <a:pt x="963" y="1967"/>
                  <a:pt x="963" y="1967"/>
                </a:cubicBezTo>
                <a:cubicBezTo>
                  <a:pt x="962" y="1966"/>
                  <a:pt x="961" y="1965"/>
                  <a:pt x="960" y="1964"/>
                </a:cubicBezTo>
                <a:cubicBezTo>
                  <a:pt x="959" y="1964"/>
                  <a:pt x="958" y="1963"/>
                  <a:pt x="958" y="1962"/>
                </a:cubicBezTo>
                <a:cubicBezTo>
                  <a:pt x="958" y="1962"/>
                  <a:pt x="958" y="1962"/>
                  <a:pt x="957" y="1962"/>
                </a:cubicBezTo>
                <a:cubicBezTo>
                  <a:pt x="956" y="1960"/>
                  <a:pt x="956" y="1957"/>
                  <a:pt x="956" y="1955"/>
                </a:cubicBezTo>
                <a:close/>
                <a:moveTo>
                  <a:pt x="820" y="1872"/>
                </a:moveTo>
                <a:cubicBezTo>
                  <a:pt x="820" y="1872"/>
                  <a:pt x="820" y="1872"/>
                  <a:pt x="820" y="1872"/>
                </a:cubicBezTo>
                <a:cubicBezTo>
                  <a:pt x="820" y="1872"/>
                  <a:pt x="820" y="1872"/>
                  <a:pt x="820" y="1872"/>
                </a:cubicBezTo>
                <a:cubicBezTo>
                  <a:pt x="820" y="1870"/>
                  <a:pt x="821" y="1868"/>
                  <a:pt x="822" y="1866"/>
                </a:cubicBezTo>
                <a:cubicBezTo>
                  <a:pt x="823" y="1861"/>
                  <a:pt x="824" y="1854"/>
                  <a:pt x="827" y="1849"/>
                </a:cubicBezTo>
                <a:cubicBezTo>
                  <a:pt x="827" y="1848"/>
                  <a:pt x="827" y="1848"/>
                  <a:pt x="827" y="1848"/>
                </a:cubicBezTo>
                <a:cubicBezTo>
                  <a:pt x="827" y="1847"/>
                  <a:pt x="829" y="1845"/>
                  <a:pt x="830" y="1844"/>
                </a:cubicBezTo>
                <a:cubicBezTo>
                  <a:pt x="831" y="1843"/>
                  <a:pt x="832" y="1842"/>
                  <a:pt x="833" y="1841"/>
                </a:cubicBezTo>
                <a:cubicBezTo>
                  <a:pt x="837" y="1839"/>
                  <a:pt x="840" y="1838"/>
                  <a:pt x="844" y="1837"/>
                </a:cubicBezTo>
                <a:cubicBezTo>
                  <a:pt x="845" y="1837"/>
                  <a:pt x="845" y="1837"/>
                  <a:pt x="845" y="1837"/>
                </a:cubicBezTo>
                <a:cubicBezTo>
                  <a:pt x="848" y="1836"/>
                  <a:pt x="851" y="1836"/>
                  <a:pt x="855" y="1836"/>
                </a:cubicBezTo>
                <a:cubicBezTo>
                  <a:pt x="859" y="1836"/>
                  <a:pt x="859" y="1836"/>
                  <a:pt x="859" y="1836"/>
                </a:cubicBezTo>
                <a:cubicBezTo>
                  <a:pt x="861" y="1836"/>
                  <a:pt x="862" y="1836"/>
                  <a:pt x="864" y="1836"/>
                </a:cubicBezTo>
                <a:cubicBezTo>
                  <a:pt x="873" y="1836"/>
                  <a:pt x="883" y="1836"/>
                  <a:pt x="893" y="1836"/>
                </a:cubicBezTo>
                <a:cubicBezTo>
                  <a:pt x="894" y="1836"/>
                  <a:pt x="896" y="1836"/>
                  <a:pt x="897" y="1836"/>
                </a:cubicBezTo>
                <a:cubicBezTo>
                  <a:pt x="899" y="1836"/>
                  <a:pt x="899" y="1836"/>
                  <a:pt x="899" y="1836"/>
                </a:cubicBezTo>
                <a:cubicBezTo>
                  <a:pt x="899" y="1836"/>
                  <a:pt x="899" y="1836"/>
                  <a:pt x="900" y="1836"/>
                </a:cubicBezTo>
                <a:cubicBezTo>
                  <a:pt x="901" y="1836"/>
                  <a:pt x="902" y="1836"/>
                  <a:pt x="904" y="1836"/>
                </a:cubicBezTo>
                <a:cubicBezTo>
                  <a:pt x="904" y="1836"/>
                  <a:pt x="904" y="1836"/>
                  <a:pt x="904" y="1836"/>
                </a:cubicBezTo>
                <a:cubicBezTo>
                  <a:pt x="911" y="1837"/>
                  <a:pt x="919" y="1839"/>
                  <a:pt x="921" y="1846"/>
                </a:cubicBezTo>
                <a:cubicBezTo>
                  <a:pt x="921" y="1846"/>
                  <a:pt x="921" y="1846"/>
                  <a:pt x="921" y="1846"/>
                </a:cubicBezTo>
                <a:cubicBezTo>
                  <a:pt x="921" y="1846"/>
                  <a:pt x="921" y="1846"/>
                  <a:pt x="921" y="1846"/>
                </a:cubicBezTo>
                <a:cubicBezTo>
                  <a:pt x="921" y="1854"/>
                  <a:pt x="918" y="1863"/>
                  <a:pt x="917" y="1870"/>
                </a:cubicBezTo>
                <a:cubicBezTo>
                  <a:pt x="917" y="1870"/>
                  <a:pt x="917" y="1870"/>
                  <a:pt x="917" y="1870"/>
                </a:cubicBezTo>
                <a:cubicBezTo>
                  <a:pt x="917" y="1872"/>
                  <a:pt x="917" y="1872"/>
                  <a:pt x="917" y="1872"/>
                </a:cubicBezTo>
                <a:cubicBezTo>
                  <a:pt x="916" y="1873"/>
                  <a:pt x="916" y="1875"/>
                  <a:pt x="914" y="1876"/>
                </a:cubicBezTo>
                <a:cubicBezTo>
                  <a:pt x="914" y="1876"/>
                  <a:pt x="914" y="1877"/>
                  <a:pt x="914" y="1877"/>
                </a:cubicBezTo>
                <a:cubicBezTo>
                  <a:pt x="914" y="1877"/>
                  <a:pt x="914" y="1877"/>
                  <a:pt x="914" y="1877"/>
                </a:cubicBezTo>
                <a:cubicBezTo>
                  <a:pt x="914" y="1877"/>
                  <a:pt x="914" y="1877"/>
                  <a:pt x="914" y="1877"/>
                </a:cubicBezTo>
                <a:cubicBezTo>
                  <a:pt x="904" y="1889"/>
                  <a:pt x="878" y="1886"/>
                  <a:pt x="865" y="1886"/>
                </a:cubicBezTo>
                <a:cubicBezTo>
                  <a:pt x="857" y="1886"/>
                  <a:pt x="849" y="1886"/>
                  <a:pt x="841" y="1886"/>
                </a:cubicBezTo>
                <a:cubicBezTo>
                  <a:pt x="834" y="1886"/>
                  <a:pt x="824" y="1884"/>
                  <a:pt x="820" y="1877"/>
                </a:cubicBezTo>
                <a:cubicBezTo>
                  <a:pt x="820" y="1877"/>
                  <a:pt x="820" y="1876"/>
                  <a:pt x="820" y="1875"/>
                </a:cubicBezTo>
                <a:cubicBezTo>
                  <a:pt x="820" y="1875"/>
                  <a:pt x="820" y="1875"/>
                  <a:pt x="820" y="1874"/>
                </a:cubicBezTo>
                <a:cubicBezTo>
                  <a:pt x="820" y="1873"/>
                  <a:pt x="820" y="1873"/>
                  <a:pt x="820" y="1872"/>
                </a:cubicBezTo>
                <a:close/>
                <a:moveTo>
                  <a:pt x="795" y="1956"/>
                </a:moveTo>
                <a:cubicBezTo>
                  <a:pt x="796" y="1952"/>
                  <a:pt x="796" y="1952"/>
                  <a:pt x="796" y="1952"/>
                </a:cubicBezTo>
                <a:cubicBezTo>
                  <a:pt x="796" y="1952"/>
                  <a:pt x="796" y="1952"/>
                  <a:pt x="796" y="1952"/>
                </a:cubicBezTo>
                <a:cubicBezTo>
                  <a:pt x="796" y="1951"/>
                  <a:pt x="796" y="1951"/>
                  <a:pt x="796" y="1950"/>
                </a:cubicBezTo>
                <a:cubicBezTo>
                  <a:pt x="803" y="1926"/>
                  <a:pt x="803" y="1926"/>
                  <a:pt x="803" y="1926"/>
                </a:cubicBezTo>
                <a:cubicBezTo>
                  <a:pt x="804" y="1926"/>
                  <a:pt x="804" y="1926"/>
                  <a:pt x="804" y="1925"/>
                </a:cubicBezTo>
                <a:cubicBezTo>
                  <a:pt x="811" y="1908"/>
                  <a:pt x="843" y="1911"/>
                  <a:pt x="859" y="1911"/>
                </a:cubicBezTo>
                <a:cubicBezTo>
                  <a:pt x="865" y="1911"/>
                  <a:pt x="877" y="1910"/>
                  <a:pt x="888" y="1912"/>
                </a:cubicBezTo>
                <a:cubicBezTo>
                  <a:pt x="890" y="1912"/>
                  <a:pt x="891" y="1912"/>
                  <a:pt x="893" y="1913"/>
                </a:cubicBezTo>
                <a:cubicBezTo>
                  <a:pt x="894" y="1913"/>
                  <a:pt x="894" y="1913"/>
                  <a:pt x="894" y="1913"/>
                </a:cubicBezTo>
                <a:cubicBezTo>
                  <a:pt x="899" y="1914"/>
                  <a:pt x="903" y="1916"/>
                  <a:pt x="905" y="1920"/>
                </a:cubicBezTo>
                <a:cubicBezTo>
                  <a:pt x="906" y="1920"/>
                  <a:pt x="906" y="1920"/>
                  <a:pt x="906" y="1920"/>
                </a:cubicBezTo>
                <a:cubicBezTo>
                  <a:pt x="906" y="1921"/>
                  <a:pt x="906" y="1921"/>
                  <a:pt x="906" y="1921"/>
                </a:cubicBezTo>
                <a:cubicBezTo>
                  <a:pt x="906" y="1921"/>
                  <a:pt x="906" y="1921"/>
                  <a:pt x="906" y="1921"/>
                </a:cubicBezTo>
                <a:cubicBezTo>
                  <a:pt x="907" y="1923"/>
                  <a:pt x="907" y="1924"/>
                  <a:pt x="907" y="1926"/>
                </a:cubicBezTo>
                <a:cubicBezTo>
                  <a:pt x="907" y="1928"/>
                  <a:pt x="907" y="1928"/>
                  <a:pt x="907" y="1928"/>
                </a:cubicBezTo>
                <a:cubicBezTo>
                  <a:pt x="907" y="1928"/>
                  <a:pt x="907" y="1928"/>
                  <a:pt x="907" y="1928"/>
                </a:cubicBezTo>
                <a:cubicBezTo>
                  <a:pt x="906" y="1932"/>
                  <a:pt x="905" y="1936"/>
                  <a:pt x="904" y="1941"/>
                </a:cubicBezTo>
                <a:cubicBezTo>
                  <a:pt x="902" y="1955"/>
                  <a:pt x="902" y="1955"/>
                  <a:pt x="902" y="1955"/>
                </a:cubicBezTo>
                <a:cubicBezTo>
                  <a:pt x="901" y="1958"/>
                  <a:pt x="900" y="1960"/>
                  <a:pt x="899" y="1962"/>
                </a:cubicBezTo>
                <a:cubicBezTo>
                  <a:pt x="898" y="1962"/>
                  <a:pt x="898" y="1962"/>
                  <a:pt x="898" y="1962"/>
                </a:cubicBezTo>
                <a:cubicBezTo>
                  <a:pt x="898" y="1963"/>
                  <a:pt x="897" y="1963"/>
                  <a:pt x="897" y="1963"/>
                </a:cubicBezTo>
                <a:cubicBezTo>
                  <a:pt x="897" y="1964"/>
                  <a:pt x="896" y="1964"/>
                  <a:pt x="895" y="1965"/>
                </a:cubicBezTo>
                <a:cubicBezTo>
                  <a:pt x="891" y="1968"/>
                  <a:pt x="887" y="1969"/>
                  <a:pt x="882" y="1971"/>
                </a:cubicBezTo>
                <a:cubicBezTo>
                  <a:pt x="882" y="1971"/>
                  <a:pt x="882" y="1971"/>
                  <a:pt x="882" y="1971"/>
                </a:cubicBezTo>
                <a:cubicBezTo>
                  <a:pt x="882" y="1971"/>
                  <a:pt x="882" y="1971"/>
                  <a:pt x="882" y="1971"/>
                </a:cubicBezTo>
                <a:cubicBezTo>
                  <a:pt x="880" y="1971"/>
                  <a:pt x="879" y="1971"/>
                  <a:pt x="877" y="1971"/>
                </a:cubicBezTo>
                <a:cubicBezTo>
                  <a:pt x="877" y="1972"/>
                  <a:pt x="876" y="1972"/>
                  <a:pt x="876" y="1972"/>
                </a:cubicBezTo>
                <a:cubicBezTo>
                  <a:pt x="874" y="1972"/>
                  <a:pt x="872" y="1972"/>
                  <a:pt x="871" y="1972"/>
                </a:cubicBezTo>
                <a:cubicBezTo>
                  <a:pt x="871" y="1972"/>
                  <a:pt x="871" y="1972"/>
                  <a:pt x="871" y="1972"/>
                </a:cubicBezTo>
                <a:cubicBezTo>
                  <a:pt x="818" y="1972"/>
                  <a:pt x="818" y="1972"/>
                  <a:pt x="818" y="1972"/>
                </a:cubicBezTo>
                <a:cubicBezTo>
                  <a:pt x="812" y="1972"/>
                  <a:pt x="805" y="1971"/>
                  <a:pt x="799" y="1967"/>
                </a:cubicBezTo>
                <a:cubicBezTo>
                  <a:pt x="799" y="1967"/>
                  <a:pt x="799" y="1967"/>
                  <a:pt x="799" y="1967"/>
                </a:cubicBezTo>
                <a:cubicBezTo>
                  <a:pt x="799" y="1967"/>
                  <a:pt x="799" y="1967"/>
                  <a:pt x="799" y="1967"/>
                </a:cubicBezTo>
                <a:cubicBezTo>
                  <a:pt x="798" y="1967"/>
                  <a:pt x="797" y="1966"/>
                  <a:pt x="797" y="1965"/>
                </a:cubicBezTo>
                <a:cubicBezTo>
                  <a:pt x="796" y="1964"/>
                  <a:pt x="796" y="1963"/>
                  <a:pt x="795" y="1963"/>
                </a:cubicBezTo>
                <a:cubicBezTo>
                  <a:pt x="795" y="1962"/>
                  <a:pt x="795" y="1962"/>
                  <a:pt x="795" y="1962"/>
                </a:cubicBezTo>
                <a:cubicBezTo>
                  <a:pt x="794" y="1960"/>
                  <a:pt x="794" y="1958"/>
                  <a:pt x="795" y="1956"/>
                </a:cubicBezTo>
                <a:close/>
                <a:moveTo>
                  <a:pt x="674" y="1875"/>
                </a:moveTo>
                <a:cubicBezTo>
                  <a:pt x="674" y="1872"/>
                  <a:pt x="676" y="1869"/>
                  <a:pt x="677" y="1867"/>
                </a:cubicBezTo>
                <a:cubicBezTo>
                  <a:pt x="680" y="1861"/>
                  <a:pt x="683" y="1852"/>
                  <a:pt x="687" y="1847"/>
                </a:cubicBezTo>
                <a:cubicBezTo>
                  <a:pt x="688" y="1846"/>
                  <a:pt x="688" y="1846"/>
                  <a:pt x="688" y="1846"/>
                </a:cubicBezTo>
                <a:cubicBezTo>
                  <a:pt x="688" y="1846"/>
                  <a:pt x="689" y="1845"/>
                  <a:pt x="689" y="1845"/>
                </a:cubicBezTo>
                <a:cubicBezTo>
                  <a:pt x="689" y="1845"/>
                  <a:pt x="689" y="1845"/>
                  <a:pt x="690" y="1844"/>
                </a:cubicBezTo>
                <a:cubicBezTo>
                  <a:pt x="690" y="1844"/>
                  <a:pt x="690" y="1844"/>
                  <a:pt x="690" y="1844"/>
                </a:cubicBezTo>
                <a:cubicBezTo>
                  <a:pt x="690" y="1844"/>
                  <a:pt x="691" y="1844"/>
                  <a:pt x="691" y="1843"/>
                </a:cubicBezTo>
                <a:cubicBezTo>
                  <a:pt x="695" y="1840"/>
                  <a:pt x="700" y="1838"/>
                  <a:pt x="706" y="1838"/>
                </a:cubicBezTo>
                <a:cubicBezTo>
                  <a:pt x="706" y="1837"/>
                  <a:pt x="706" y="1837"/>
                  <a:pt x="706" y="1837"/>
                </a:cubicBezTo>
                <a:cubicBezTo>
                  <a:pt x="709" y="1837"/>
                  <a:pt x="713" y="1836"/>
                  <a:pt x="716" y="1836"/>
                </a:cubicBezTo>
                <a:cubicBezTo>
                  <a:pt x="734" y="1836"/>
                  <a:pt x="734" y="1836"/>
                  <a:pt x="734" y="1836"/>
                </a:cubicBezTo>
                <a:cubicBezTo>
                  <a:pt x="740" y="1836"/>
                  <a:pt x="746" y="1836"/>
                  <a:pt x="751" y="1836"/>
                </a:cubicBezTo>
                <a:cubicBezTo>
                  <a:pt x="759" y="1836"/>
                  <a:pt x="771" y="1835"/>
                  <a:pt x="777" y="1841"/>
                </a:cubicBezTo>
                <a:cubicBezTo>
                  <a:pt x="778" y="1841"/>
                  <a:pt x="778" y="1842"/>
                  <a:pt x="778" y="1842"/>
                </a:cubicBezTo>
                <a:cubicBezTo>
                  <a:pt x="778" y="1842"/>
                  <a:pt x="779" y="1842"/>
                  <a:pt x="779" y="1842"/>
                </a:cubicBezTo>
                <a:cubicBezTo>
                  <a:pt x="779" y="1842"/>
                  <a:pt x="779" y="1843"/>
                  <a:pt x="779" y="1843"/>
                </a:cubicBezTo>
                <a:cubicBezTo>
                  <a:pt x="779" y="1843"/>
                  <a:pt x="779" y="1843"/>
                  <a:pt x="780" y="1844"/>
                </a:cubicBezTo>
                <a:cubicBezTo>
                  <a:pt x="780" y="1845"/>
                  <a:pt x="780" y="1846"/>
                  <a:pt x="780" y="1847"/>
                </a:cubicBezTo>
                <a:cubicBezTo>
                  <a:pt x="779" y="1854"/>
                  <a:pt x="774" y="1863"/>
                  <a:pt x="773" y="1867"/>
                </a:cubicBezTo>
                <a:cubicBezTo>
                  <a:pt x="773" y="1867"/>
                  <a:pt x="773" y="1867"/>
                  <a:pt x="773" y="1867"/>
                </a:cubicBezTo>
                <a:cubicBezTo>
                  <a:pt x="772" y="1869"/>
                  <a:pt x="772" y="1870"/>
                  <a:pt x="771" y="1871"/>
                </a:cubicBezTo>
                <a:cubicBezTo>
                  <a:pt x="771" y="1872"/>
                  <a:pt x="771" y="1872"/>
                  <a:pt x="771" y="1872"/>
                </a:cubicBezTo>
                <a:cubicBezTo>
                  <a:pt x="771" y="1873"/>
                  <a:pt x="771" y="1873"/>
                  <a:pt x="770" y="1873"/>
                </a:cubicBezTo>
                <a:cubicBezTo>
                  <a:pt x="770" y="1874"/>
                  <a:pt x="770" y="1874"/>
                  <a:pt x="770" y="1874"/>
                </a:cubicBezTo>
                <a:cubicBezTo>
                  <a:pt x="770" y="1875"/>
                  <a:pt x="769" y="1875"/>
                  <a:pt x="769" y="1876"/>
                </a:cubicBezTo>
                <a:cubicBezTo>
                  <a:pt x="769" y="1876"/>
                  <a:pt x="769" y="1876"/>
                  <a:pt x="768" y="1876"/>
                </a:cubicBezTo>
                <a:cubicBezTo>
                  <a:pt x="768" y="1876"/>
                  <a:pt x="768" y="1877"/>
                  <a:pt x="768" y="1877"/>
                </a:cubicBezTo>
                <a:cubicBezTo>
                  <a:pt x="768" y="1877"/>
                  <a:pt x="767" y="1877"/>
                  <a:pt x="767" y="1877"/>
                </a:cubicBezTo>
                <a:cubicBezTo>
                  <a:pt x="766" y="1878"/>
                  <a:pt x="765" y="1879"/>
                  <a:pt x="764" y="1880"/>
                </a:cubicBezTo>
                <a:cubicBezTo>
                  <a:pt x="763" y="1880"/>
                  <a:pt x="762" y="1881"/>
                  <a:pt x="761" y="1881"/>
                </a:cubicBezTo>
                <a:cubicBezTo>
                  <a:pt x="760" y="1882"/>
                  <a:pt x="760" y="1882"/>
                  <a:pt x="760" y="1882"/>
                </a:cubicBezTo>
                <a:cubicBezTo>
                  <a:pt x="760" y="1882"/>
                  <a:pt x="760" y="1882"/>
                  <a:pt x="760" y="1882"/>
                </a:cubicBezTo>
                <a:cubicBezTo>
                  <a:pt x="756" y="1883"/>
                  <a:pt x="752" y="1885"/>
                  <a:pt x="749" y="1885"/>
                </a:cubicBezTo>
                <a:cubicBezTo>
                  <a:pt x="748" y="1885"/>
                  <a:pt x="746" y="1885"/>
                  <a:pt x="745" y="1886"/>
                </a:cubicBezTo>
                <a:cubicBezTo>
                  <a:pt x="745" y="1886"/>
                  <a:pt x="745" y="1886"/>
                  <a:pt x="745" y="1886"/>
                </a:cubicBezTo>
                <a:cubicBezTo>
                  <a:pt x="738" y="1886"/>
                  <a:pt x="730" y="1886"/>
                  <a:pt x="723" y="1886"/>
                </a:cubicBezTo>
                <a:cubicBezTo>
                  <a:pt x="693" y="1886"/>
                  <a:pt x="693" y="1886"/>
                  <a:pt x="693" y="1886"/>
                </a:cubicBezTo>
                <a:cubicBezTo>
                  <a:pt x="687" y="1886"/>
                  <a:pt x="676" y="1885"/>
                  <a:pt x="674" y="1878"/>
                </a:cubicBezTo>
                <a:cubicBezTo>
                  <a:pt x="673" y="1877"/>
                  <a:pt x="673" y="1876"/>
                  <a:pt x="673" y="1876"/>
                </a:cubicBezTo>
                <a:cubicBezTo>
                  <a:pt x="673" y="1875"/>
                  <a:pt x="674" y="1875"/>
                  <a:pt x="674" y="1875"/>
                </a:cubicBezTo>
                <a:close/>
                <a:moveTo>
                  <a:pt x="647" y="1928"/>
                </a:moveTo>
                <a:cubicBezTo>
                  <a:pt x="648" y="1927"/>
                  <a:pt x="648" y="1927"/>
                  <a:pt x="648" y="1927"/>
                </a:cubicBezTo>
                <a:cubicBezTo>
                  <a:pt x="648" y="1926"/>
                  <a:pt x="648" y="1926"/>
                  <a:pt x="648" y="1926"/>
                </a:cubicBezTo>
                <a:cubicBezTo>
                  <a:pt x="649" y="1925"/>
                  <a:pt x="649" y="1924"/>
                  <a:pt x="650" y="1924"/>
                </a:cubicBezTo>
                <a:cubicBezTo>
                  <a:pt x="650" y="1924"/>
                  <a:pt x="650" y="1924"/>
                  <a:pt x="650" y="1924"/>
                </a:cubicBezTo>
                <a:cubicBezTo>
                  <a:pt x="661" y="1909"/>
                  <a:pt x="687" y="1912"/>
                  <a:pt x="703" y="1912"/>
                </a:cubicBezTo>
                <a:cubicBezTo>
                  <a:pt x="703" y="1912"/>
                  <a:pt x="703" y="1912"/>
                  <a:pt x="703" y="1912"/>
                </a:cubicBezTo>
                <a:cubicBezTo>
                  <a:pt x="708" y="1912"/>
                  <a:pt x="720" y="1911"/>
                  <a:pt x="730" y="1912"/>
                </a:cubicBezTo>
                <a:cubicBezTo>
                  <a:pt x="734" y="1912"/>
                  <a:pt x="737" y="1912"/>
                  <a:pt x="740" y="1913"/>
                </a:cubicBezTo>
                <a:cubicBezTo>
                  <a:pt x="742" y="1913"/>
                  <a:pt x="744" y="1914"/>
                  <a:pt x="745" y="1915"/>
                </a:cubicBezTo>
                <a:cubicBezTo>
                  <a:pt x="749" y="1917"/>
                  <a:pt x="752" y="1919"/>
                  <a:pt x="752" y="1923"/>
                </a:cubicBezTo>
                <a:cubicBezTo>
                  <a:pt x="752" y="1923"/>
                  <a:pt x="752" y="1924"/>
                  <a:pt x="752" y="1924"/>
                </a:cubicBezTo>
                <a:cubicBezTo>
                  <a:pt x="752" y="1924"/>
                  <a:pt x="752" y="1924"/>
                  <a:pt x="752" y="1924"/>
                </a:cubicBezTo>
                <a:cubicBezTo>
                  <a:pt x="752" y="1925"/>
                  <a:pt x="751" y="1926"/>
                  <a:pt x="751" y="1927"/>
                </a:cubicBezTo>
                <a:cubicBezTo>
                  <a:pt x="741" y="1956"/>
                  <a:pt x="741" y="1956"/>
                  <a:pt x="741" y="1956"/>
                </a:cubicBezTo>
                <a:cubicBezTo>
                  <a:pt x="740" y="1958"/>
                  <a:pt x="738" y="1960"/>
                  <a:pt x="736" y="1962"/>
                </a:cubicBezTo>
                <a:cubicBezTo>
                  <a:pt x="734" y="1964"/>
                  <a:pt x="731" y="1966"/>
                  <a:pt x="728" y="1967"/>
                </a:cubicBezTo>
                <a:cubicBezTo>
                  <a:pt x="728" y="1968"/>
                  <a:pt x="727" y="1968"/>
                  <a:pt x="727" y="1968"/>
                </a:cubicBezTo>
                <a:cubicBezTo>
                  <a:pt x="723" y="1970"/>
                  <a:pt x="718" y="1971"/>
                  <a:pt x="713" y="1972"/>
                </a:cubicBezTo>
                <a:cubicBezTo>
                  <a:pt x="713" y="1972"/>
                  <a:pt x="713" y="1972"/>
                  <a:pt x="713" y="1972"/>
                </a:cubicBezTo>
                <a:cubicBezTo>
                  <a:pt x="712" y="1972"/>
                  <a:pt x="711" y="1972"/>
                  <a:pt x="710" y="1972"/>
                </a:cubicBezTo>
                <a:cubicBezTo>
                  <a:pt x="701" y="1973"/>
                  <a:pt x="692" y="1972"/>
                  <a:pt x="682" y="1972"/>
                </a:cubicBezTo>
                <a:cubicBezTo>
                  <a:pt x="673" y="1973"/>
                  <a:pt x="663" y="1973"/>
                  <a:pt x="654" y="1973"/>
                </a:cubicBezTo>
                <a:cubicBezTo>
                  <a:pt x="647" y="1973"/>
                  <a:pt x="638" y="1971"/>
                  <a:pt x="634" y="1966"/>
                </a:cubicBezTo>
                <a:cubicBezTo>
                  <a:pt x="634" y="1965"/>
                  <a:pt x="634" y="1965"/>
                  <a:pt x="633" y="1965"/>
                </a:cubicBezTo>
                <a:cubicBezTo>
                  <a:pt x="633" y="1964"/>
                  <a:pt x="633" y="1964"/>
                  <a:pt x="633" y="1964"/>
                </a:cubicBezTo>
                <a:cubicBezTo>
                  <a:pt x="633" y="1963"/>
                  <a:pt x="633" y="1963"/>
                  <a:pt x="632" y="1963"/>
                </a:cubicBezTo>
                <a:cubicBezTo>
                  <a:pt x="632" y="1963"/>
                  <a:pt x="632" y="1962"/>
                  <a:pt x="632" y="1962"/>
                </a:cubicBezTo>
                <a:cubicBezTo>
                  <a:pt x="632" y="1962"/>
                  <a:pt x="632" y="1962"/>
                  <a:pt x="632" y="1962"/>
                </a:cubicBezTo>
                <a:cubicBezTo>
                  <a:pt x="632" y="1962"/>
                  <a:pt x="632" y="1961"/>
                  <a:pt x="632" y="1960"/>
                </a:cubicBezTo>
                <a:cubicBezTo>
                  <a:pt x="632" y="1959"/>
                  <a:pt x="632" y="1959"/>
                  <a:pt x="633" y="1959"/>
                </a:cubicBezTo>
                <a:cubicBezTo>
                  <a:pt x="633" y="1958"/>
                  <a:pt x="633" y="1957"/>
                  <a:pt x="633" y="1956"/>
                </a:cubicBezTo>
                <a:cubicBezTo>
                  <a:pt x="633" y="1956"/>
                  <a:pt x="633" y="1956"/>
                  <a:pt x="633" y="1956"/>
                </a:cubicBezTo>
                <a:cubicBezTo>
                  <a:pt x="634" y="1955"/>
                  <a:pt x="634" y="1955"/>
                  <a:pt x="634" y="1955"/>
                </a:cubicBezTo>
                <a:cubicBezTo>
                  <a:pt x="634" y="1954"/>
                  <a:pt x="635" y="1953"/>
                  <a:pt x="635" y="1952"/>
                </a:cubicBezTo>
                <a:cubicBezTo>
                  <a:pt x="639" y="1944"/>
                  <a:pt x="643" y="1936"/>
                  <a:pt x="647" y="1928"/>
                </a:cubicBezTo>
                <a:cubicBezTo>
                  <a:pt x="647" y="1928"/>
                  <a:pt x="647" y="1928"/>
                  <a:pt x="647" y="1928"/>
                </a:cubicBezTo>
                <a:close/>
                <a:moveTo>
                  <a:pt x="527" y="1875"/>
                </a:moveTo>
                <a:cubicBezTo>
                  <a:pt x="528" y="1873"/>
                  <a:pt x="531" y="1870"/>
                  <a:pt x="532" y="1868"/>
                </a:cubicBezTo>
                <a:cubicBezTo>
                  <a:pt x="536" y="1861"/>
                  <a:pt x="541" y="1854"/>
                  <a:pt x="546" y="1848"/>
                </a:cubicBezTo>
                <a:cubicBezTo>
                  <a:pt x="546" y="1847"/>
                  <a:pt x="546" y="1847"/>
                  <a:pt x="547" y="1847"/>
                </a:cubicBezTo>
                <a:cubicBezTo>
                  <a:pt x="547" y="1847"/>
                  <a:pt x="547" y="1847"/>
                  <a:pt x="547" y="1846"/>
                </a:cubicBezTo>
                <a:cubicBezTo>
                  <a:pt x="561" y="1833"/>
                  <a:pt x="590" y="1837"/>
                  <a:pt x="608" y="1837"/>
                </a:cubicBezTo>
                <a:cubicBezTo>
                  <a:pt x="616" y="1837"/>
                  <a:pt x="626" y="1835"/>
                  <a:pt x="634" y="1839"/>
                </a:cubicBezTo>
                <a:cubicBezTo>
                  <a:pt x="634" y="1839"/>
                  <a:pt x="634" y="1839"/>
                  <a:pt x="634" y="1839"/>
                </a:cubicBezTo>
                <a:cubicBezTo>
                  <a:pt x="634" y="1839"/>
                  <a:pt x="635" y="1839"/>
                  <a:pt x="636" y="1840"/>
                </a:cubicBezTo>
                <a:cubicBezTo>
                  <a:pt x="636" y="1840"/>
                  <a:pt x="636" y="1840"/>
                  <a:pt x="636" y="1840"/>
                </a:cubicBezTo>
                <a:cubicBezTo>
                  <a:pt x="638" y="1841"/>
                  <a:pt x="639" y="1843"/>
                  <a:pt x="639" y="1844"/>
                </a:cubicBezTo>
                <a:cubicBezTo>
                  <a:pt x="640" y="1845"/>
                  <a:pt x="640" y="1847"/>
                  <a:pt x="639" y="1849"/>
                </a:cubicBezTo>
                <a:cubicBezTo>
                  <a:pt x="638" y="1850"/>
                  <a:pt x="638" y="1850"/>
                  <a:pt x="638" y="1850"/>
                </a:cubicBezTo>
                <a:cubicBezTo>
                  <a:pt x="637" y="1854"/>
                  <a:pt x="633" y="1858"/>
                  <a:pt x="631" y="1862"/>
                </a:cubicBezTo>
                <a:cubicBezTo>
                  <a:pt x="631" y="1862"/>
                  <a:pt x="631" y="1862"/>
                  <a:pt x="631" y="1862"/>
                </a:cubicBezTo>
                <a:cubicBezTo>
                  <a:pt x="625" y="1873"/>
                  <a:pt x="625" y="1873"/>
                  <a:pt x="625" y="1873"/>
                </a:cubicBezTo>
                <a:cubicBezTo>
                  <a:pt x="624" y="1874"/>
                  <a:pt x="623" y="1876"/>
                  <a:pt x="621" y="1878"/>
                </a:cubicBezTo>
                <a:cubicBezTo>
                  <a:pt x="618" y="1879"/>
                  <a:pt x="616" y="1881"/>
                  <a:pt x="613" y="1882"/>
                </a:cubicBezTo>
                <a:cubicBezTo>
                  <a:pt x="612" y="1882"/>
                  <a:pt x="611" y="1883"/>
                  <a:pt x="610" y="1883"/>
                </a:cubicBezTo>
                <a:cubicBezTo>
                  <a:pt x="610" y="1883"/>
                  <a:pt x="609" y="1883"/>
                  <a:pt x="609" y="1884"/>
                </a:cubicBezTo>
                <a:cubicBezTo>
                  <a:pt x="609" y="1884"/>
                  <a:pt x="609" y="1884"/>
                  <a:pt x="609" y="1884"/>
                </a:cubicBezTo>
                <a:cubicBezTo>
                  <a:pt x="607" y="1884"/>
                  <a:pt x="605" y="1885"/>
                  <a:pt x="603" y="1885"/>
                </a:cubicBezTo>
                <a:cubicBezTo>
                  <a:pt x="599" y="1886"/>
                  <a:pt x="596" y="1886"/>
                  <a:pt x="592" y="1886"/>
                </a:cubicBezTo>
                <a:cubicBezTo>
                  <a:pt x="582" y="1886"/>
                  <a:pt x="582" y="1886"/>
                  <a:pt x="582" y="1886"/>
                </a:cubicBezTo>
                <a:cubicBezTo>
                  <a:pt x="582" y="1886"/>
                  <a:pt x="582" y="1886"/>
                  <a:pt x="582" y="1886"/>
                </a:cubicBezTo>
                <a:cubicBezTo>
                  <a:pt x="570" y="1886"/>
                  <a:pt x="557" y="1886"/>
                  <a:pt x="545" y="1886"/>
                </a:cubicBezTo>
                <a:cubicBezTo>
                  <a:pt x="540" y="1886"/>
                  <a:pt x="528" y="1885"/>
                  <a:pt x="527" y="1878"/>
                </a:cubicBezTo>
                <a:cubicBezTo>
                  <a:pt x="527" y="1877"/>
                  <a:pt x="527" y="1876"/>
                  <a:pt x="527" y="1875"/>
                </a:cubicBezTo>
                <a:close/>
                <a:moveTo>
                  <a:pt x="545" y="2017"/>
                </a:moveTo>
                <a:cubicBezTo>
                  <a:pt x="545" y="2017"/>
                  <a:pt x="545" y="2017"/>
                  <a:pt x="545" y="2017"/>
                </a:cubicBezTo>
                <a:cubicBezTo>
                  <a:pt x="543" y="2024"/>
                  <a:pt x="538" y="2031"/>
                  <a:pt x="534" y="2038"/>
                </a:cubicBezTo>
                <a:cubicBezTo>
                  <a:pt x="534" y="2038"/>
                  <a:pt x="534" y="2038"/>
                  <a:pt x="534" y="2038"/>
                </a:cubicBezTo>
                <a:cubicBezTo>
                  <a:pt x="530" y="2045"/>
                  <a:pt x="527" y="2053"/>
                  <a:pt x="521" y="2060"/>
                </a:cubicBezTo>
                <a:cubicBezTo>
                  <a:pt x="521" y="2061"/>
                  <a:pt x="520" y="2061"/>
                  <a:pt x="520" y="2062"/>
                </a:cubicBezTo>
                <a:cubicBezTo>
                  <a:pt x="520" y="2062"/>
                  <a:pt x="520" y="2062"/>
                  <a:pt x="520" y="2062"/>
                </a:cubicBezTo>
                <a:cubicBezTo>
                  <a:pt x="519" y="2063"/>
                  <a:pt x="518" y="2064"/>
                  <a:pt x="517" y="2064"/>
                </a:cubicBezTo>
                <a:cubicBezTo>
                  <a:pt x="517" y="2065"/>
                  <a:pt x="517" y="2065"/>
                  <a:pt x="516" y="2065"/>
                </a:cubicBezTo>
                <a:cubicBezTo>
                  <a:pt x="516" y="2065"/>
                  <a:pt x="516" y="2066"/>
                  <a:pt x="516" y="2066"/>
                </a:cubicBezTo>
                <a:cubicBezTo>
                  <a:pt x="510" y="2071"/>
                  <a:pt x="503" y="2074"/>
                  <a:pt x="496" y="2076"/>
                </a:cubicBezTo>
                <a:cubicBezTo>
                  <a:pt x="495" y="2076"/>
                  <a:pt x="494" y="2076"/>
                  <a:pt x="493" y="2077"/>
                </a:cubicBezTo>
                <a:cubicBezTo>
                  <a:pt x="489" y="2078"/>
                  <a:pt x="484" y="2078"/>
                  <a:pt x="480" y="2078"/>
                </a:cubicBezTo>
                <a:cubicBezTo>
                  <a:pt x="476" y="2078"/>
                  <a:pt x="476" y="2078"/>
                  <a:pt x="476" y="2078"/>
                </a:cubicBezTo>
                <a:cubicBezTo>
                  <a:pt x="476" y="2078"/>
                  <a:pt x="476" y="2078"/>
                  <a:pt x="476" y="2078"/>
                </a:cubicBezTo>
                <a:cubicBezTo>
                  <a:pt x="458" y="2078"/>
                  <a:pt x="439" y="2078"/>
                  <a:pt x="421" y="2079"/>
                </a:cubicBezTo>
                <a:cubicBezTo>
                  <a:pt x="419" y="2079"/>
                  <a:pt x="418" y="2078"/>
                  <a:pt x="416" y="2078"/>
                </a:cubicBezTo>
                <a:cubicBezTo>
                  <a:pt x="414" y="2078"/>
                  <a:pt x="412" y="2078"/>
                  <a:pt x="410" y="2077"/>
                </a:cubicBezTo>
                <a:cubicBezTo>
                  <a:pt x="406" y="2076"/>
                  <a:pt x="404" y="2074"/>
                  <a:pt x="402" y="2072"/>
                </a:cubicBezTo>
                <a:cubicBezTo>
                  <a:pt x="401" y="2070"/>
                  <a:pt x="400" y="2068"/>
                  <a:pt x="400" y="2066"/>
                </a:cubicBezTo>
                <a:cubicBezTo>
                  <a:pt x="400" y="2064"/>
                  <a:pt x="401" y="2062"/>
                  <a:pt x="402" y="2060"/>
                </a:cubicBezTo>
                <a:cubicBezTo>
                  <a:pt x="402" y="2059"/>
                  <a:pt x="402" y="2059"/>
                  <a:pt x="403" y="2059"/>
                </a:cubicBezTo>
                <a:cubicBezTo>
                  <a:pt x="403" y="2058"/>
                  <a:pt x="403" y="2058"/>
                  <a:pt x="403" y="2058"/>
                </a:cubicBezTo>
                <a:cubicBezTo>
                  <a:pt x="404" y="2057"/>
                  <a:pt x="404" y="2057"/>
                  <a:pt x="404" y="2057"/>
                </a:cubicBezTo>
                <a:cubicBezTo>
                  <a:pt x="404" y="2057"/>
                  <a:pt x="404" y="2057"/>
                  <a:pt x="404" y="2057"/>
                </a:cubicBezTo>
                <a:cubicBezTo>
                  <a:pt x="409" y="2050"/>
                  <a:pt x="413" y="2043"/>
                  <a:pt x="418" y="2035"/>
                </a:cubicBezTo>
                <a:cubicBezTo>
                  <a:pt x="422" y="2030"/>
                  <a:pt x="425" y="2024"/>
                  <a:pt x="430" y="2019"/>
                </a:cubicBezTo>
                <a:cubicBezTo>
                  <a:pt x="430" y="2018"/>
                  <a:pt x="431" y="2018"/>
                  <a:pt x="431" y="2017"/>
                </a:cubicBezTo>
                <a:cubicBezTo>
                  <a:pt x="431" y="2017"/>
                  <a:pt x="432" y="2017"/>
                  <a:pt x="432" y="2017"/>
                </a:cubicBezTo>
                <a:cubicBezTo>
                  <a:pt x="433" y="2016"/>
                  <a:pt x="434" y="2015"/>
                  <a:pt x="435" y="2014"/>
                </a:cubicBezTo>
                <a:cubicBezTo>
                  <a:pt x="435" y="2014"/>
                  <a:pt x="435" y="2014"/>
                  <a:pt x="435" y="2014"/>
                </a:cubicBezTo>
                <a:cubicBezTo>
                  <a:pt x="435" y="2014"/>
                  <a:pt x="435" y="2014"/>
                  <a:pt x="435" y="2014"/>
                </a:cubicBezTo>
                <a:cubicBezTo>
                  <a:pt x="441" y="2009"/>
                  <a:pt x="449" y="2006"/>
                  <a:pt x="457" y="2004"/>
                </a:cubicBezTo>
                <a:cubicBezTo>
                  <a:pt x="457" y="2004"/>
                  <a:pt x="457" y="2004"/>
                  <a:pt x="457" y="2004"/>
                </a:cubicBezTo>
                <a:cubicBezTo>
                  <a:pt x="457" y="2004"/>
                  <a:pt x="458" y="2004"/>
                  <a:pt x="458" y="2004"/>
                </a:cubicBezTo>
                <a:cubicBezTo>
                  <a:pt x="459" y="2004"/>
                  <a:pt x="461" y="2004"/>
                  <a:pt x="462" y="2004"/>
                </a:cubicBezTo>
                <a:cubicBezTo>
                  <a:pt x="463" y="2003"/>
                  <a:pt x="464" y="2003"/>
                  <a:pt x="465" y="2003"/>
                </a:cubicBezTo>
                <a:cubicBezTo>
                  <a:pt x="466" y="2003"/>
                  <a:pt x="467" y="2003"/>
                  <a:pt x="468" y="2003"/>
                </a:cubicBezTo>
                <a:cubicBezTo>
                  <a:pt x="468" y="2003"/>
                  <a:pt x="469" y="2003"/>
                  <a:pt x="470" y="2003"/>
                </a:cubicBezTo>
                <a:cubicBezTo>
                  <a:pt x="471" y="2003"/>
                  <a:pt x="471" y="2003"/>
                  <a:pt x="471" y="2003"/>
                </a:cubicBezTo>
                <a:cubicBezTo>
                  <a:pt x="471" y="2003"/>
                  <a:pt x="471" y="2003"/>
                  <a:pt x="471" y="2003"/>
                </a:cubicBezTo>
                <a:cubicBezTo>
                  <a:pt x="488" y="2003"/>
                  <a:pt x="504" y="2003"/>
                  <a:pt x="521" y="2003"/>
                </a:cubicBezTo>
                <a:cubicBezTo>
                  <a:pt x="521" y="2003"/>
                  <a:pt x="521" y="2003"/>
                  <a:pt x="521" y="2003"/>
                </a:cubicBezTo>
                <a:cubicBezTo>
                  <a:pt x="524" y="2003"/>
                  <a:pt x="524" y="2003"/>
                  <a:pt x="524" y="2003"/>
                </a:cubicBezTo>
                <a:cubicBezTo>
                  <a:pt x="528" y="2003"/>
                  <a:pt x="532" y="2003"/>
                  <a:pt x="535" y="2004"/>
                </a:cubicBezTo>
                <a:cubicBezTo>
                  <a:pt x="536" y="2004"/>
                  <a:pt x="536" y="2005"/>
                  <a:pt x="537" y="2005"/>
                </a:cubicBezTo>
                <a:cubicBezTo>
                  <a:pt x="537" y="2005"/>
                  <a:pt x="538" y="2005"/>
                  <a:pt x="538" y="2006"/>
                </a:cubicBezTo>
                <a:cubicBezTo>
                  <a:pt x="538" y="2006"/>
                  <a:pt x="539" y="2006"/>
                  <a:pt x="539" y="2006"/>
                </a:cubicBezTo>
                <a:cubicBezTo>
                  <a:pt x="543" y="2008"/>
                  <a:pt x="546" y="2012"/>
                  <a:pt x="545" y="2017"/>
                </a:cubicBezTo>
                <a:close/>
                <a:moveTo>
                  <a:pt x="579" y="1956"/>
                </a:moveTo>
                <a:cubicBezTo>
                  <a:pt x="579" y="1956"/>
                  <a:pt x="579" y="1956"/>
                  <a:pt x="579" y="1956"/>
                </a:cubicBezTo>
                <a:cubicBezTo>
                  <a:pt x="579" y="1956"/>
                  <a:pt x="579" y="1956"/>
                  <a:pt x="579" y="1956"/>
                </a:cubicBezTo>
                <a:cubicBezTo>
                  <a:pt x="578" y="1957"/>
                  <a:pt x="578" y="1958"/>
                  <a:pt x="577" y="1959"/>
                </a:cubicBezTo>
                <a:cubicBezTo>
                  <a:pt x="577" y="1959"/>
                  <a:pt x="577" y="1960"/>
                  <a:pt x="577" y="1960"/>
                </a:cubicBezTo>
                <a:cubicBezTo>
                  <a:pt x="572" y="1964"/>
                  <a:pt x="566" y="1968"/>
                  <a:pt x="560" y="1970"/>
                </a:cubicBezTo>
                <a:cubicBezTo>
                  <a:pt x="560" y="1970"/>
                  <a:pt x="560" y="1970"/>
                  <a:pt x="560" y="1970"/>
                </a:cubicBezTo>
                <a:cubicBezTo>
                  <a:pt x="559" y="1970"/>
                  <a:pt x="558" y="1970"/>
                  <a:pt x="557" y="1971"/>
                </a:cubicBezTo>
                <a:cubicBezTo>
                  <a:pt x="556" y="1971"/>
                  <a:pt x="556" y="1971"/>
                  <a:pt x="555" y="1971"/>
                </a:cubicBezTo>
                <a:cubicBezTo>
                  <a:pt x="554" y="1971"/>
                  <a:pt x="554" y="1971"/>
                  <a:pt x="553" y="1971"/>
                </a:cubicBezTo>
                <a:cubicBezTo>
                  <a:pt x="550" y="1972"/>
                  <a:pt x="546" y="1973"/>
                  <a:pt x="542" y="1973"/>
                </a:cubicBezTo>
                <a:cubicBezTo>
                  <a:pt x="541" y="1973"/>
                  <a:pt x="541" y="1973"/>
                  <a:pt x="541" y="1973"/>
                </a:cubicBezTo>
                <a:cubicBezTo>
                  <a:pt x="534" y="1973"/>
                  <a:pt x="527" y="1973"/>
                  <a:pt x="520" y="1973"/>
                </a:cubicBezTo>
                <a:cubicBezTo>
                  <a:pt x="510" y="1973"/>
                  <a:pt x="499" y="1973"/>
                  <a:pt x="489" y="1973"/>
                </a:cubicBezTo>
                <a:cubicBezTo>
                  <a:pt x="488" y="1973"/>
                  <a:pt x="486" y="1973"/>
                  <a:pt x="484" y="1973"/>
                </a:cubicBezTo>
                <a:cubicBezTo>
                  <a:pt x="484" y="1973"/>
                  <a:pt x="484" y="1973"/>
                  <a:pt x="483" y="1973"/>
                </a:cubicBezTo>
                <a:cubicBezTo>
                  <a:pt x="482" y="1972"/>
                  <a:pt x="480" y="1972"/>
                  <a:pt x="479" y="1972"/>
                </a:cubicBezTo>
                <a:cubicBezTo>
                  <a:pt x="479" y="1972"/>
                  <a:pt x="479" y="1972"/>
                  <a:pt x="479" y="1972"/>
                </a:cubicBezTo>
                <a:cubicBezTo>
                  <a:pt x="479" y="1972"/>
                  <a:pt x="479" y="1972"/>
                  <a:pt x="479" y="1972"/>
                </a:cubicBezTo>
                <a:cubicBezTo>
                  <a:pt x="474" y="1970"/>
                  <a:pt x="470" y="1968"/>
                  <a:pt x="470" y="1963"/>
                </a:cubicBezTo>
                <a:cubicBezTo>
                  <a:pt x="470" y="1962"/>
                  <a:pt x="470" y="1961"/>
                  <a:pt x="470" y="1960"/>
                </a:cubicBezTo>
                <a:cubicBezTo>
                  <a:pt x="470" y="1960"/>
                  <a:pt x="470" y="1959"/>
                  <a:pt x="471" y="1959"/>
                </a:cubicBezTo>
                <a:cubicBezTo>
                  <a:pt x="471" y="1958"/>
                  <a:pt x="471" y="1957"/>
                  <a:pt x="472" y="1957"/>
                </a:cubicBezTo>
                <a:cubicBezTo>
                  <a:pt x="472" y="1957"/>
                  <a:pt x="472" y="1956"/>
                  <a:pt x="472" y="1956"/>
                </a:cubicBezTo>
                <a:cubicBezTo>
                  <a:pt x="472" y="1956"/>
                  <a:pt x="472" y="1956"/>
                  <a:pt x="472" y="1956"/>
                </a:cubicBezTo>
                <a:cubicBezTo>
                  <a:pt x="473" y="1955"/>
                  <a:pt x="474" y="1954"/>
                  <a:pt x="474" y="1953"/>
                </a:cubicBezTo>
                <a:cubicBezTo>
                  <a:pt x="479" y="1945"/>
                  <a:pt x="485" y="1938"/>
                  <a:pt x="490" y="1930"/>
                </a:cubicBezTo>
                <a:cubicBezTo>
                  <a:pt x="490" y="1930"/>
                  <a:pt x="490" y="1930"/>
                  <a:pt x="490" y="1930"/>
                </a:cubicBezTo>
                <a:cubicBezTo>
                  <a:pt x="492" y="1927"/>
                  <a:pt x="492" y="1927"/>
                  <a:pt x="492" y="1927"/>
                </a:cubicBezTo>
                <a:cubicBezTo>
                  <a:pt x="493" y="1925"/>
                  <a:pt x="495" y="1923"/>
                  <a:pt x="498" y="1921"/>
                </a:cubicBezTo>
                <a:cubicBezTo>
                  <a:pt x="499" y="1920"/>
                  <a:pt x="501" y="1919"/>
                  <a:pt x="503" y="1918"/>
                </a:cubicBezTo>
                <a:cubicBezTo>
                  <a:pt x="504" y="1918"/>
                  <a:pt x="505" y="1917"/>
                  <a:pt x="506" y="1917"/>
                </a:cubicBezTo>
                <a:cubicBezTo>
                  <a:pt x="506" y="1917"/>
                  <a:pt x="506" y="1917"/>
                  <a:pt x="507" y="1917"/>
                </a:cubicBezTo>
                <a:cubicBezTo>
                  <a:pt x="507" y="1917"/>
                  <a:pt x="507" y="1916"/>
                  <a:pt x="507" y="1916"/>
                </a:cubicBezTo>
                <a:cubicBezTo>
                  <a:pt x="508" y="1916"/>
                  <a:pt x="508" y="1916"/>
                  <a:pt x="508" y="1916"/>
                </a:cubicBezTo>
                <a:cubicBezTo>
                  <a:pt x="511" y="1915"/>
                  <a:pt x="514" y="1914"/>
                  <a:pt x="517" y="1913"/>
                </a:cubicBezTo>
                <a:cubicBezTo>
                  <a:pt x="521" y="1913"/>
                  <a:pt x="525" y="1912"/>
                  <a:pt x="528" y="1912"/>
                </a:cubicBezTo>
                <a:cubicBezTo>
                  <a:pt x="538" y="1912"/>
                  <a:pt x="538" y="1912"/>
                  <a:pt x="538" y="1912"/>
                </a:cubicBezTo>
                <a:cubicBezTo>
                  <a:pt x="541" y="1912"/>
                  <a:pt x="543" y="1912"/>
                  <a:pt x="545" y="1912"/>
                </a:cubicBezTo>
                <a:cubicBezTo>
                  <a:pt x="555" y="1912"/>
                  <a:pt x="564" y="1912"/>
                  <a:pt x="573" y="1912"/>
                </a:cubicBezTo>
                <a:cubicBezTo>
                  <a:pt x="573" y="1912"/>
                  <a:pt x="573" y="1912"/>
                  <a:pt x="573" y="1912"/>
                </a:cubicBezTo>
                <a:cubicBezTo>
                  <a:pt x="577" y="1912"/>
                  <a:pt x="577" y="1912"/>
                  <a:pt x="577" y="1912"/>
                </a:cubicBezTo>
                <a:cubicBezTo>
                  <a:pt x="581" y="1912"/>
                  <a:pt x="584" y="1913"/>
                  <a:pt x="587" y="1913"/>
                </a:cubicBezTo>
                <a:cubicBezTo>
                  <a:pt x="589" y="1914"/>
                  <a:pt x="590" y="1915"/>
                  <a:pt x="592" y="1915"/>
                </a:cubicBezTo>
                <a:cubicBezTo>
                  <a:pt x="596" y="1918"/>
                  <a:pt x="599" y="1921"/>
                  <a:pt x="595" y="1927"/>
                </a:cubicBezTo>
                <a:cubicBezTo>
                  <a:pt x="592" y="1934"/>
                  <a:pt x="588" y="1941"/>
                  <a:pt x="584" y="1948"/>
                </a:cubicBezTo>
                <a:cubicBezTo>
                  <a:pt x="579" y="1956"/>
                  <a:pt x="579" y="1956"/>
                  <a:pt x="579" y="1956"/>
                </a:cubicBezTo>
                <a:cubicBezTo>
                  <a:pt x="579" y="1956"/>
                  <a:pt x="579" y="1956"/>
                  <a:pt x="579" y="1956"/>
                </a:cubicBezTo>
                <a:close/>
                <a:moveTo>
                  <a:pt x="1064" y="2056"/>
                </a:moveTo>
                <a:cubicBezTo>
                  <a:pt x="1064" y="2057"/>
                  <a:pt x="1064" y="2059"/>
                  <a:pt x="1064" y="2060"/>
                </a:cubicBezTo>
                <a:cubicBezTo>
                  <a:pt x="1064" y="2060"/>
                  <a:pt x="1064" y="2060"/>
                  <a:pt x="1064" y="2061"/>
                </a:cubicBezTo>
                <a:cubicBezTo>
                  <a:pt x="1063" y="2062"/>
                  <a:pt x="1063" y="2063"/>
                  <a:pt x="1062" y="2064"/>
                </a:cubicBezTo>
                <a:cubicBezTo>
                  <a:pt x="1062" y="2064"/>
                  <a:pt x="1062" y="2064"/>
                  <a:pt x="1062" y="2064"/>
                </a:cubicBezTo>
                <a:cubicBezTo>
                  <a:pt x="1062" y="2064"/>
                  <a:pt x="1062" y="2064"/>
                  <a:pt x="1062" y="2064"/>
                </a:cubicBezTo>
                <a:cubicBezTo>
                  <a:pt x="1061" y="2065"/>
                  <a:pt x="1060" y="2066"/>
                  <a:pt x="1059" y="2067"/>
                </a:cubicBezTo>
                <a:cubicBezTo>
                  <a:pt x="1059" y="2067"/>
                  <a:pt x="1059" y="2067"/>
                  <a:pt x="1059" y="2068"/>
                </a:cubicBezTo>
                <a:cubicBezTo>
                  <a:pt x="1058" y="2069"/>
                  <a:pt x="1057" y="2069"/>
                  <a:pt x="1056" y="2070"/>
                </a:cubicBezTo>
                <a:cubicBezTo>
                  <a:pt x="1056" y="2070"/>
                  <a:pt x="1055" y="2071"/>
                  <a:pt x="1055" y="2071"/>
                </a:cubicBezTo>
                <a:cubicBezTo>
                  <a:pt x="1055" y="2071"/>
                  <a:pt x="1055" y="2071"/>
                  <a:pt x="1055" y="2071"/>
                </a:cubicBezTo>
                <a:cubicBezTo>
                  <a:pt x="1053" y="2072"/>
                  <a:pt x="1052" y="2072"/>
                  <a:pt x="1051" y="2073"/>
                </a:cubicBezTo>
                <a:cubicBezTo>
                  <a:pt x="1051" y="2073"/>
                  <a:pt x="1051" y="2073"/>
                  <a:pt x="1050" y="2073"/>
                </a:cubicBezTo>
                <a:cubicBezTo>
                  <a:pt x="1049" y="2074"/>
                  <a:pt x="1048" y="2074"/>
                  <a:pt x="1047" y="2074"/>
                </a:cubicBezTo>
                <a:cubicBezTo>
                  <a:pt x="1047" y="2075"/>
                  <a:pt x="1046" y="2075"/>
                  <a:pt x="1046" y="2075"/>
                </a:cubicBezTo>
                <a:cubicBezTo>
                  <a:pt x="1046" y="2075"/>
                  <a:pt x="1045" y="2075"/>
                  <a:pt x="1045" y="2075"/>
                </a:cubicBezTo>
                <a:cubicBezTo>
                  <a:pt x="1045" y="2075"/>
                  <a:pt x="1045" y="2075"/>
                  <a:pt x="1044" y="2075"/>
                </a:cubicBezTo>
                <a:cubicBezTo>
                  <a:pt x="1043" y="2076"/>
                  <a:pt x="1042" y="2076"/>
                  <a:pt x="1041" y="2076"/>
                </a:cubicBezTo>
                <a:cubicBezTo>
                  <a:pt x="1039" y="2076"/>
                  <a:pt x="1038" y="2076"/>
                  <a:pt x="1037" y="2077"/>
                </a:cubicBezTo>
                <a:cubicBezTo>
                  <a:pt x="1036" y="2077"/>
                  <a:pt x="1035" y="2077"/>
                  <a:pt x="1034" y="2077"/>
                </a:cubicBezTo>
                <a:cubicBezTo>
                  <a:pt x="1033" y="2077"/>
                  <a:pt x="1033" y="2077"/>
                  <a:pt x="1033" y="2077"/>
                </a:cubicBezTo>
                <a:cubicBezTo>
                  <a:pt x="1031" y="2077"/>
                  <a:pt x="1031" y="2077"/>
                  <a:pt x="1031" y="2077"/>
                </a:cubicBezTo>
                <a:cubicBezTo>
                  <a:pt x="1031" y="2077"/>
                  <a:pt x="1031" y="2077"/>
                  <a:pt x="1031" y="2077"/>
                </a:cubicBezTo>
                <a:cubicBezTo>
                  <a:pt x="1025" y="2077"/>
                  <a:pt x="1018" y="2077"/>
                  <a:pt x="1011" y="2077"/>
                </a:cubicBezTo>
                <a:cubicBezTo>
                  <a:pt x="981" y="2077"/>
                  <a:pt x="630" y="2078"/>
                  <a:pt x="605" y="2078"/>
                </a:cubicBezTo>
                <a:cubicBezTo>
                  <a:pt x="604" y="2078"/>
                  <a:pt x="602" y="2078"/>
                  <a:pt x="600" y="2078"/>
                </a:cubicBezTo>
                <a:cubicBezTo>
                  <a:pt x="598" y="2077"/>
                  <a:pt x="596" y="2077"/>
                  <a:pt x="594" y="2076"/>
                </a:cubicBezTo>
                <a:cubicBezTo>
                  <a:pt x="590" y="2075"/>
                  <a:pt x="588" y="2074"/>
                  <a:pt x="586" y="2072"/>
                </a:cubicBezTo>
                <a:cubicBezTo>
                  <a:pt x="584" y="2070"/>
                  <a:pt x="583" y="2068"/>
                  <a:pt x="582" y="2065"/>
                </a:cubicBezTo>
                <a:cubicBezTo>
                  <a:pt x="582" y="2063"/>
                  <a:pt x="582" y="2060"/>
                  <a:pt x="584" y="2057"/>
                </a:cubicBezTo>
                <a:cubicBezTo>
                  <a:pt x="584" y="2056"/>
                  <a:pt x="584" y="2056"/>
                  <a:pt x="584" y="2056"/>
                </a:cubicBezTo>
                <a:cubicBezTo>
                  <a:pt x="584" y="2056"/>
                  <a:pt x="584" y="2056"/>
                  <a:pt x="584" y="2056"/>
                </a:cubicBezTo>
                <a:cubicBezTo>
                  <a:pt x="588" y="2048"/>
                  <a:pt x="592" y="2040"/>
                  <a:pt x="596" y="2031"/>
                </a:cubicBezTo>
                <a:cubicBezTo>
                  <a:pt x="597" y="2030"/>
                  <a:pt x="598" y="2029"/>
                  <a:pt x="598" y="2027"/>
                </a:cubicBezTo>
                <a:cubicBezTo>
                  <a:pt x="601" y="2021"/>
                  <a:pt x="601" y="2021"/>
                  <a:pt x="601" y="2021"/>
                </a:cubicBezTo>
                <a:cubicBezTo>
                  <a:pt x="603" y="2018"/>
                  <a:pt x="605" y="2016"/>
                  <a:pt x="607" y="2014"/>
                </a:cubicBezTo>
                <a:cubicBezTo>
                  <a:pt x="608" y="2013"/>
                  <a:pt x="609" y="2013"/>
                  <a:pt x="609" y="2012"/>
                </a:cubicBezTo>
                <a:cubicBezTo>
                  <a:pt x="610" y="2012"/>
                  <a:pt x="610" y="2012"/>
                  <a:pt x="610" y="2011"/>
                </a:cubicBezTo>
                <a:cubicBezTo>
                  <a:pt x="611" y="2011"/>
                  <a:pt x="612" y="2011"/>
                  <a:pt x="612" y="2010"/>
                </a:cubicBezTo>
                <a:cubicBezTo>
                  <a:pt x="612" y="2010"/>
                  <a:pt x="612" y="2010"/>
                  <a:pt x="613" y="2010"/>
                </a:cubicBezTo>
                <a:cubicBezTo>
                  <a:pt x="613" y="2010"/>
                  <a:pt x="613" y="2010"/>
                  <a:pt x="614" y="2009"/>
                </a:cubicBezTo>
                <a:cubicBezTo>
                  <a:pt x="615" y="2009"/>
                  <a:pt x="616" y="2008"/>
                  <a:pt x="617" y="2008"/>
                </a:cubicBezTo>
                <a:cubicBezTo>
                  <a:pt x="617" y="2008"/>
                  <a:pt x="618" y="2007"/>
                  <a:pt x="618" y="2007"/>
                </a:cubicBezTo>
                <a:cubicBezTo>
                  <a:pt x="619" y="2007"/>
                  <a:pt x="620" y="2007"/>
                  <a:pt x="621" y="2006"/>
                </a:cubicBezTo>
                <a:cubicBezTo>
                  <a:pt x="622" y="2006"/>
                  <a:pt x="623" y="2005"/>
                  <a:pt x="625" y="2005"/>
                </a:cubicBezTo>
                <a:cubicBezTo>
                  <a:pt x="625" y="2005"/>
                  <a:pt x="626" y="2004"/>
                  <a:pt x="627" y="2004"/>
                </a:cubicBezTo>
                <a:cubicBezTo>
                  <a:pt x="627" y="2004"/>
                  <a:pt x="628" y="2004"/>
                  <a:pt x="628" y="2004"/>
                </a:cubicBezTo>
                <a:cubicBezTo>
                  <a:pt x="632" y="2003"/>
                  <a:pt x="636" y="2002"/>
                  <a:pt x="640" y="2002"/>
                </a:cubicBezTo>
                <a:cubicBezTo>
                  <a:pt x="640" y="2002"/>
                  <a:pt x="1008" y="2001"/>
                  <a:pt x="1021" y="2001"/>
                </a:cubicBezTo>
                <a:cubicBezTo>
                  <a:pt x="1026" y="2001"/>
                  <a:pt x="1030" y="2001"/>
                  <a:pt x="1034" y="2001"/>
                </a:cubicBezTo>
                <a:cubicBezTo>
                  <a:pt x="1036" y="2001"/>
                  <a:pt x="1038" y="2002"/>
                  <a:pt x="1040" y="2002"/>
                </a:cubicBezTo>
                <a:cubicBezTo>
                  <a:pt x="1040" y="2002"/>
                  <a:pt x="1040" y="2002"/>
                  <a:pt x="1041" y="2002"/>
                </a:cubicBezTo>
                <a:cubicBezTo>
                  <a:pt x="1042" y="2002"/>
                  <a:pt x="1044" y="2002"/>
                  <a:pt x="1045" y="2003"/>
                </a:cubicBezTo>
                <a:cubicBezTo>
                  <a:pt x="1045" y="2003"/>
                  <a:pt x="1046" y="2003"/>
                  <a:pt x="1046" y="2003"/>
                </a:cubicBezTo>
                <a:cubicBezTo>
                  <a:pt x="1046" y="2003"/>
                  <a:pt x="1046" y="2003"/>
                  <a:pt x="1046" y="2003"/>
                </a:cubicBezTo>
                <a:cubicBezTo>
                  <a:pt x="1048" y="2003"/>
                  <a:pt x="1049" y="2004"/>
                  <a:pt x="1050" y="2004"/>
                </a:cubicBezTo>
                <a:cubicBezTo>
                  <a:pt x="1050" y="2004"/>
                  <a:pt x="1051" y="2005"/>
                  <a:pt x="1051" y="2005"/>
                </a:cubicBezTo>
                <a:cubicBezTo>
                  <a:pt x="1052" y="2005"/>
                  <a:pt x="1053" y="2006"/>
                  <a:pt x="1054" y="2006"/>
                </a:cubicBezTo>
                <a:cubicBezTo>
                  <a:pt x="1055" y="2006"/>
                  <a:pt x="1055" y="2007"/>
                  <a:pt x="1055" y="2007"/>
                </a:cubicBezTo>
                <a:cubicBezTo>
                  <a:pt x="1055" y="2007"/>
                  <a:pt x="1055" y="2007"/>
                  <a:pt x="1056" y="2007"/>
                </a:cubicBezTo>
                <a:cubicBezTo>
                  <a:pt x="1056" y="2008"/>
                  <a:pt x="1057" y="2008"/>
                  <a:pt x="1058" y="2009"/>
                </a:cubicBezTo>
                <a:cubicBezTo>
                  <a:pt x="1059" y="2010"/>
                  <a:pt x="1061" y="2011"/>
                  <a:pt x="1061" y="2013"/>
                </a:cubicBezTo>
                <a:cubicBezTo>
                  <a:pt x="1063" y="2015"/>
                  <a:pt x="1064" y="2017"/>
                  <a:pt x="1064" y="2020"/>
                </a:cubicBezTo>
                <a:cubicBezTo>
                  <a:pt x="1064" y="2022"/>
                  <a:pt x="1064" y="2022"/>
                  <a:pt x="1064" y="2022"/>
                </a:cubicBezTo>
                <a:cubicBezTo>
                  <a:pt x="1064" y="2022"/>
                  <a:pt x="1064" y="2022"/>
                  <a:pt x="1064" y="2022"/>
                </a:cubicBezTo>
                <a:cubicBezTo>
                  <a:pt x="1064" y="2031"/>
                  <a:pt x="1064" y="2040"/>
                  <a:pt x="1064" y="2049"/>
                </a:cubicBezTo>
                <a:cubicBezTo>
                  <a:pt x="1064" y="2051"/>
                  <a:pt x="1064" y="2054"/>
                  <a:pt x="1064" y="2056"/>
                </a:cubicBezTo>
                <a:close/>
                <a:moveTo>
                  <a:pt x="1114" y="1878"/>
                </a:moveTo>
                <a:cubicBezTo>
                  <a:pt x="1114" y="1878"/>
                  <a:pt x="1114" y="1877"/>
                  <a:pt x="1113" y="1877"/>
                </a:cubicBezTo>
                <a:cubicBezTo>
                  <a:pt x="1113" y="1877"/>
                  <a:pt x="1113" y="1877"/>
                  <a:pt x="1113" y="1877"/>
                </a:cubicBezTo>
                <a:cubicBezTo>
                  <a:pt x="1112" y="1875"/>
                  <a:pt x="1111" y="1873"/>
                  <a:pt x="1111" y="1871"/>
                </a:cubicBezTo>
                <a:cubicBezTo>
                  <a:pt x="1111" y="1870"/>
                  <a:pt x="1111" y="1870"/>
                  <a:pt x="1111" y="1870"/>
                </a:cubicBezTo>
                <a:cubicBezTo>
                  <a:pt x="1110" y="1868"/>
                  <a:pt x="1110" y="1867"/>
                  <a:pt x="1110" y="1866"/>
                </a:cubicBezTo>
                <a:cubicBezTo>
                  <a:pt x="1110" y="1866"/>
                  <a:pt x="1110" y="1866"/>
                  <a:pt x="1110" y="1866"/>
                </a:cubicBezTo>
                <a:cubicBezTo>
                  <a:pt x="1110" y="1861"/>
                  <a:pt x="1109" y="1855"/>
                  <a:pt x="1109" y="1849"/>
                </a:cubicBezTo>
                <a:cubicBezTo>
                  <a:pt x="1109" y="1848"/>
                  <a:pt x="1109" y="1848"/>
                  <a:pt x="1109" y="1848"/>
                </a:cubicBezTo>
                <a:cubicBezTo>
                  <a:pt x="1109" y="1846"/>
                  <a:pt x="1109" y="1844"/>
                  <a:pt x="1110" y="1843"/>
                </a:cubicBezTo>
                <a:cubicBezTo>
                  <a:pt x="1112" y="1841"/>
                  <a:pt x="1113" y="1840"/>
                  <a:pt x="1115" y="1839"/>
                </a:cubicBezTo>
                <a:cubicBezTo>
                  <a:pt x="1118" y="1838"/>
                  <a:pt x="1120" y="1837"/>
                  <a:pt x="1123" y="1836"/>
                </a:cubicBezTo>
                <a:cubicBezTo>
                  <a:pt x="1123" y="1836"/>
                  <a:pt x="1123" y="1836"/>
                  <a:pt x="1123" y="1836"/>
                </a:cubicBezTo>
                <a:cubicBezTo>
                  <a:pt x="1123" y="1836"/>
                  <a:pt x="1123" y="1836"/>
                  <a:pt x="1123" y="1836"/>
                </a:cubicBezTo>
                <a:cubicBezTo>
                  <a:pt x="1124" y="1836"/>
                  <a:pt x="1125" y="1836"/>
                  <a:pt x="1126" y="1836"/>
                </a:cubicBezTo>
                <a:cubicBezTo>
                  <a:pt x="1127" y="1836"/>
                  <a:pt x="1127" y="1836"/>
                  <a:pt x="1128" y="1836"/>
                </a:cubicBezTo>
                <a:cubicBezTo>
                  <a:pt x="1133" y="1835"/>
                  <a:pt x="1138" y="1835"/>
                  <a:pt x="1143" y="1835"/>
                </a:cubicBezTo>
                <a:cubicBezTo>
                  <a:pt x="1176" y="1835"/>
                  <a:pt x="1176" y="1835"/>
                  <a:pt x="1176" y="1835"/>
                </a:cubicBezTo>
                <a:cubicBezTo>
                  <a:pt x="1178" y="1835"/>
                  <a:pt x="1180" y="1835"/>
                  <a:pt x="1182" y="1836"/>
                </a:cubicBezTo>
                <a:cubicBezTo>
                  <a:pt x="1191" y="1837"/>
                  <a:pt x="1201" y="1839"/>
                  <a:pt x="1203" y="1848"/>
                </a:cubicBezTo>
                <a:cubicBezTo>
                  <a:pt x="1205" y="1855"/>
                  <a:pt x="1206" y="1863"/>
                  <a:pt x="1207" y="1870"/>
                </a:cubicBezTo>
                <a:cubicBezTo>
                  <a:pt x="1207" y="1871"/>
                  <a:pt x="1207" y="1871"/>
                  <a:pt x="1207" y="1871"/>
                </a:cubicBezTo>
                <a:cubicBezTo>
                  <a:pt x="1208" y="1873"/>
                  <a:pt x="1207" y="1874"/>
                  <a:pt x="1207" y="1876"/>
                </a:cubicBezTo>
                <a:cubicBezTo>
                  <a:pt x="1207" y="1876"/>
                  <a:pt x="1207" y="1876"/>
                  <a:pt x="1206" y="1876"/>
                </a:cubicBezTo>
                <a:cubicBezTo>
                  <a:pt x="1206" y="1876"/>
                  <a:pt x="1206" y="1876"/>
                  <a:pt x="1206" y="1876"/>
                </a:cubicBezTo>
                <a:cubicBezTo>
                  <a:pt x="1206" y="1877"/>
                  <a:pt x="1206" y="1877"/>
                  <a:pt x="1206" y="1877"/>
                </a:cubicBezTo>
                <a:cubicBezTo>
                  <a:pt x="1204" y="1880"/>
                  <a:pt x="1200" y="1882"/>
                  <a:pt x="1195" y="1883"/>
                </a:cubicBezTo>
                <a:cubicBezTo>
                  <a:pt x="1195" y="1883"/>
                  <a:pt x="1195" y="1884"/>
                  <a:pt x="1194" y="1884"/>
                </a:cubicBezTo>
                <a:cubicBezTo>
                  <a:pt x="1194" y="1884"/>
                  <a:pt x="1193" y="1884"/>
                  <a:pt x="1193" y="1884"/>
                </a:cubicBezTo>
                <a:cubicBezTo>
                  <a:pt x="1192" y="1884"/>
                  <a:pt x="1192" y="1884"/>
                  <a:pt x="1192" y="1884"/>
                </a:cubicBezTo>
                <a:cubicBezTo>
                  <a:pt x="1191" y="1884"/>
                  <a:pt x="1190" y="1884"/>
                  <a:pt x="1189" y="1885"/>
                </a:cubicBezTo>
                <a:cubicBezTo>
                  <a:pt x="1178" y="1886"/>
                  <a:pt x="1164" y="1885"/>
                  <a:pt x="1158" y="1885"/>
                </a:cubicBezTo>
                <a:cubicBezTo>
                  <a:pt x="1137" y="1885"/>
                  <a:pt x="1137" y="1885"/>
                  <a:pt x="1137" y="1885"/>
                </a:cubicBezTo>
                <a:cubicBezTo>
                  <a:pt x="1135" y="1885"/>
                  <a:pt x="1134" y="1885"/>
                  <a:pt x="1132" y="1885"/>
                </a:cubicBezTo>
                <a:cubicBezTo>
                  <a:pt x="1131" y="1884"/>
                  <a:pt x="1130" y="1884"/>
                  <a:pt x="1128" y="1884"/>
                </a:cubicBezTo>
                <a:cubicBezTo>
                  <a:pt x="1128" y="1884"/>
                  <a:pt x="1128" y="1884"/>
                  <a:pt x="1127" y="1884"/>
                </a:cubicBezTo>
                <a:cubicBezTo>
                  <a:pt x="1127" y="1884"/>
                  <a:pt x="1127" y="1884"/>
                  <a:pt x="1127" y="1884"/>
                </a:cubicBezTo>
                <a:cubicBezTo>
                  <a:pt x="1126" y="1883"/>
                  <a:pt x="1125" y="1883"/>
                  <a:pt x="1123" y="1883"/>
                </a:cubicBezTo>
                <a:cubicBezTo>
                  <a:pt x="1123" y="1883"/>
                  <a:pt x="1122" y="1882"/>
                  <a:pt x="1122" y="1882"/>
                </a:cubicBezTo>
                <a:cubicBezTo>
                  <a:pt x="1121" y="1882"/>
                  <a:pt x="1120" y="1881"/>
                  <a:pt x="1119" y="1881"/>
                </a:cubicBezTo>
                <a:cubicBezTo>
                  <a:pt x="1117" y="1880"/>
                  <a:pt x="1116" y="1879"/>
                  <a:pt x="1115" y="1878"/>
                </a:cubicBezTo>
                <a:cubicBezTo>
                  <a:pt x="1115" y="1878"/>
                  <a:pt x="1114" y="1878"/>
                  <a:pt x="1114" y="1878"/>
                </a:cubicBezTo>
                <a:close/>
                <a:moveTo>
                  <a:pt x="1120" y="1961"/>
                </a:moveTo>
                <a:cubicBezTo>
                  <a:pt x="1118" y="1959"/>
                  <a:pt x="1117" y="1957"/>
                  <a:pt x="1117" y="1955"/>
                </a:cubicBezTo>
                <a:cubicBezTo>
                  <a:pt x="1117" y="1952"/>
                  <a:pt x="1117" y="1952"/>
                  <a:pt x="1117" y="1952"/>
                </a:cubicBezTo>
                <a:cubicBezTo>
                  <a:pt x="1117" y="1952"/>
                  <a:pt x="1117" y="1952"/>
                  <a:pt x="1117" y="1952"/>
                </a:cubicBezTo>
                <a:cubicBezTo>
                  <a:pt x="1116" y="1943"/>
                  <a:pt x="1116" y="1935"/>
                  <a:pt x="1115" y="1926"/>
                </a:cubicBezTo>
                <a:cubicBezTo>
                  <a:pt x="1115" y="1926"/>
                  <a:pt x="1115" y="1926"/>
                  <a:pt x="1115" y="1926"/>
                </a:cubicBezTo>
                <a:cubicBezTo>
                  <a:pt x="1115" y="1926"/>
                  <a:pt x="1115" y="1926"/>
                  <a:pt x="1115" y="1926"/>
                </a:cubicBezTo>
                <a:cubicBezTo>
                  <a:pt x="1115" y="1925"/>
                  <a:pt x="1115" y="1925"/>
                  <a:pt x="1115" y="1924"/>
                </a:cubicBezTo>
                <a:cubicBezTo>
                  <a:pt x="1117" y="1906"/>
                  <a:pt x="1155" y="1911"/>
                  <a:pt x="1167" y="1911"/>
                </a:cubicBezTo>
                <a:cubicBezTo>
                  <a:pt x="1181" y="1911"/>
                  <a:pt x="1208" y="1907"/>
                  <a:pt x="1216" y="1921"/>
                </a:cubicBezTo>
                <a:cubicBezTo>
                  <a:pt x="1217" y="1923"/>
                  <a:pt x="1218" y="1924"/>
                  <a:pt x="1218" y="1925"/>
                </a:cubicBezTo>
                <a:cubicBezTo>
                  <a:pt x="1219" y="1927"/>
                  <a:pt x="1219" y="1927"/>
                  <a:pt x="1219" y="1927"/>
                </a:cubicBezTo>
                <a:cubicBezTo>
                  <a:pt x="1219" y="1927"/>
                  <a:pt x="1219" y="1927"/>
                  <a:pt x="1219" y="1927"/>
                </a:cubicBezTo>
                <a:cubicBezTo>
                  <a:pt x="1219" y="1931"/>
                  <a:pt x="1220" y="1936"/>
                  <a:pt x="1221" y="1940"/>
                </a:cubicBezTo>
                <a:cubicBezTo>
                  <a:pt x="1224" y="1955"/>
                  <a:pt x="1224" y="1955"/>
                  <a:pt x="1224" y="1955"/>
                </a:cubicBezTo>
                <a:cubicBezTo>
                  <a:pt x="1225" y="1957"/>
                  <a:pt x="1224" y="1959"/>
                  <a:pt x="1223" y="1961"/>
                </a:cubicBezTo>
                <a:cubicBezTo>
                  <a:pt x="1223" y="1962"/>
                  <a:pt x="1222" y="1963"/>
                  <a:pt x="1220" y="1964"/>
                </a:cubicBezTo>
                <a:cubicBezTo>
                  <a:pt x="1220" y="1965"/>
                  <a:pt x="1219" y="1965"/>
                  <a:pt x="1219" y="1966"/>
                </a:cubicBezTo>
                <a:cubicBezTo>
                  <a:pt x="1219" y="1966"/>
                  <a:pt x="1218" y="1966"/>
                  <a:pt x="1218" y="1966"/>
                </a:cubicBezTo>
                <a:cubicBezTo>
                  <a:pt x="1218" y="1966"/>
                  <a:pt x="1218" y="1966"/>
                  <a:pt x="1218" y="1967"/>
                </a:cubicBezTo>
                <a:cubicBezTo>
                  <a:pt x="1217" y="1967"/>
                  <a:pt x="1216" y="1967"/>
                  <a:pt x="1215" y="1968"/>
                </a:cubicBezTo>
                <a:cubicBezTo>
                  <a:pt x="1215" y="1968"/>
                  <a:pt x="1214" y="1968"/>
                  <a:pt x="1213" y="1969"/>
                </a:cubicBezTo>
                <a:cubicBezTo>
                  <a:pt x="1213" y="1969"/>
                  <a:pt x="1212" y="1969"/>
                  <a:pt x="1212" y="1969"/>
                </a:cubicBezTo>
                <a:cubicBezTo>
                  <a:pt x="1211" y="1969"/>
                  <a:pt x="1211" y="1970"/>
                  <a:pt x="1210" y="1970"/>
                </a:cubicBezTo>
                <a:cubicBezTo>
                  <a:pt x="1209" y="1970"/>
                  <a:pt x="1209" y="1970"/>
                  <a:pt x="1208" y="1970"/>
                </a:cubicBezTo>
                <a:cubicBezTo>
                  <a:pt x="1208" y="1970"/>
                  <a:pt x="1207" y="1970"/>
                  <a:pt x="1207" y="1970"/>
                </a:cubicBezTo>
                <a:cubicBezTo>
                  <a:pt x="1206" y="1971"/>
                  <a:pt x="1205" y="1971"/>
                  <a:pt x="1204" y="1971"/>
                </a:cubicBezTo>
                <a:cubicBezTo>
                  <a:pt x="1202" y="1971"/>
                  <a:pt x="1201" y="1971"/>
                  <a:pt x="1199" y="1971"/>
                </a:cubicBezTo>
                <a:cubicBezTo>
                  <a:pt x="1199" y="1971"/>
                  <a:pt x="1199" y="1971"/>
                  <a:pt x="1199" y="1971"/>
                </a:cubicBezTo>
                <a:cubicBezTo>
                  <a:pt x="1199" y="1971"/>
                  <a:pt x="1199" y="1971"/>
                  <a:pt x="1199" y="1971"/>
                </a:cubicBezTo>
                <a:cubicBezTo>
                  <a:pt x="1181" y="1971"/>
                  <a:pt x="1164" y="1971"/>
                  <a:pt x="1147" y="1971"/>
                </a:cubicBezTo>
                <a:cubicBezTo>
                  <a:pt x="1145" y="1971"/>
                  <a:pt x="1143" y="1971"/>
                  <a:pt x="1141" y="1971"/>
                </a:cubicBezTo>
                <a:cubicBezTo>
                  <a:pt x="1141" y="1971"/>
                  <a:pt x="1140" y="1971"/>
                  <a:pt x="1140" y="1971"/>
                </a:cubicBezTo>
                <a:cubicBezTo>
                  <a:pt x="1139" y="1971"/>
                  <a:pt x="1137" y="1970"/>
                  <a:pt x="1136" y="1970"/>
                </a:cubicBezTo>
                <a:cubicBezTo>
                  <a:pt x="1136" y="1970"/>
                  <a:pt x="1136" y="1970"/>
                  <a:pt x="1136" y="1970"/>
                </a:cubicBezTo>
                <a:cubicBezTo>
                  <a:pt x="1135" y="1970"/>
                  <a:pt x="1135" y="1970"/>
                  <a:pt x="1135" y="1970"/>
                </a:cubicBezTo>
                <a:cubicBezTo>
                  <a:pt x="1134" y="1969"/>
                  <a:pt x="1132" y="1969"/>
                  <a:pt x="1131" y="1969"/>
                </a:cubicBezTo>
                <a:cubicBezTo>
                  <a:pt x="1130" y="1968"/>
                  <a:pt x="1130" y="1968"/>
                  <a:pt x="1129" y="1968"/>
                </a:cubicBezTo>
                <a:cubicBezTo>
                  <a:pt x="1128" y="1967"/>
                  <a:pt x="1128" y="1967"/>
                  <a:pt x="1127" y="1967"/>
                </a:cubicBezTo>
                <a:cubicBezTo>
                  <a:pt x="1127" y="1967"/>
                  <a:pt x="1126" y="1967"/>
                  <a:pt x="1126" y="1966"/>
                </a:cubicBezTo>
                <a:cubicBezTo>
                  <a:pt x="1124" y="1965"/>
                  <a:pt x="1121" y="1963"/>
                  <a:pt x="1120" y="1961"/>
                </a:cubicBezTo>
                <a:close/>
                <a:moveTo>
                  <a:pt x="1244" y="2063"/>
                </a:moveTo>
                <a:cubicBezTo>
                  <a:pt x="1243" y="2066"/>
                  <a:pt x="1241" y="2068"/>
                  <a:pt x="1238" y="2070"/>
                </a:cubicBezTo>
                <a:cubicBezTo>
                  <a:pt x="1236" y="2072"/>
                  <a:pt x="1233" y="2074"/>
                  <a:pt x="1229" y="2075"/>
                </a:cubicBezTo>
                <a:cubicBezTo>
                  <a:pt x="1225" y="2076"/>
                  <a:pt x="1221" y="2076"/>
                  <a:pt x="1217" y="2076"/>
                </a:cubicBezTo>
                <a:cubicBezTo>
                  <a:pt x="1205" y="2076"/>
                  <a:pt x="1205" y="2076"/>
                  <a:pt x="1205" y="2076"/>
                </a:cubicBezTo>
                <a:cubicBezTo>
                  <a:pt x="1205" y="2076"/>
                  <a:pt x="1205" y="2076"/>
                  <a:pt x="1205" y="2076"/>
                </a:cubicBezTo>
                <a:cubicBezTo>
                  <a:pt x="1189" y="2076"/>
                  <a:pt x="1174" y="2076"/>
                  <a:pt x="1158" y="2077"/>
                </a:cubicBezTo>
                <a:cubicBezTo>
                  <a:pt x="1156" y="2077"/>
                  <a:pt x="1154" y="2076"/>
                  <a:pt x="1152" y="2076"/>
                </a:cubicBezTo>
                <a:cubicBezTo>
                  <a:pt x="1152" y="2076"/>
                  <a:pt x="1151" y="2076"/>
                  <a:pt x="1151" y="2076"/>
                </a:cubicBezTo>
                <a:cubicBezTo>
                  <a:pt x="1149" y="2076"/>
                  <a:pt x="1148" y="2075"/>
                  <a:pt x="1146" y="2075"/>
                </a:cubicBezTo>
                <a:cubicBezTo>
                  <a:pt x="1146" y="2075"/>
                  <a:pt x="1146" y="2075"/>
                  <a:pt x="1146" y="2075"/>
                </a:cubicBezTo>
                <a:cubicBezTo>
                  <a:pt x="1145" y="2075"/>
                  <a:pt x="1145" y="2075"/>
                  <a:pt x="1145" y="2075"/>
                </a:cubicBezTo>
                <a:cubicBezTo>
                  <a:pt x="1138" y="2073"/>
                  <a:pt x="1132" y="2069"/>
                  <a:pt x="1128" y="2064"/>
                </a:cubicBezTo>
                <a:cubicBezTo>
                  <a:pt x="1128" y="2064"/>
                  <a:pt x="1128" y="2064"/>
                  <a:pt x="1128" y="2064"/>
                </a:cubicBezTo>
                <a:cubicBezTo>
                  <a:pt x="1128" y="2064"/>
                  <a:pt x="1128" y="2064"/>
                  <a:pt x="1128" y="2064"/>
                </a:cubicBezTo>
                <a:cubicBezTo>
                  <a:pt x="1127" y="2063"/>
                  <a:pt x="1126" y="2062"/>
                  <a:pt x="1126" y="2060"/>
                </a:cubicBezTo>
                <a:cubicBezTo>
                  <a:pt x="1126" y="2060"/>
                  <a:pt x="1126" y="2059"/>
                  <a:pt x="1125" y="2059"/>
                </a:cubicBezTo>
                <a:cubicBezTo>
                  <a:pt x="1125" y="2058"/>
                  <a:pt x="1125" y="2057"/>
                  <a:pt x="1125" y="2057"/>
                </a:cubicBezTo>
                <a:cubicBezTo>
                  <a:pt x="1125" y="2056"/>
                  <a:pt x="1125" y="2056"/>
                  <a:pt x="1125" y="2056"/>
                </a:cubicBezTo>
                <a:cubicBezTo>
                  <a:pt x="1125" y="2055"/>
                  <a:pt x="1125" y="2055"/>
                  <a:pt x="1125" y="2055"/>
                </a:cubicBezTo>
                <a:cubicBezTo>
                  <a:pt x="1125" y="2055"/>
                  <a:pt x="1125" y="2055"/>
                  <a:pt x="1125" y="2055"/>
                </a:cubicBezTo>
                <a:cubicBezTo>
                  <a:pt x="1124" y="2046"/>
                  <a:pt x="1123" y="2037"/>
                  <a:pt x="1123" y="2029"/>
                </a:cubicBezTo>
                <a:cubicBezTo>
                  <a:pt x="1123" y="2027"/>
                  <a:pt x="1122" y="2026"/>
                  <a:pt x="1122" y="2024"/>
                </a:cubicBezTo>
                <a:cubicBezTo>
                  <a:pt x="1122" y="2020"/>
                  <a:pt x="1122" y="2020"/>
                  <a:pt x="1122" y="2020"/>
                </a:cubicBezTo>
                <a:cubicBezTo>
                  <a:pt x="1122" y="2019"/>
                  <a:pt x="1122" y="2019"/>
                  <a:pt x="1122" y="2019"/>
                </a:cubicBezTo>
                <a:cubicBezTo>
                  <a:pt x="1122" y="2018"/>
                  <a:pt x="1122" y="2017"/>
                  <a:pt x="1122" y="2016"/>
                </a:cubicBezTo>
                <a:cubicBezTo>
                  <a:pt x="1122" y="2016"/>
                  <a:pt x="1123" y="2016"/>
                  <a:pt x="1123" y="2015"/>
                </a:cubicBezTo>
                <a:cubicBezTo>
                  <a:pt x="1123" y="2014"/>
                  <a:pt x="1123" y="2014"/>
                  <a:pt x="1123" y="2013"/>
                </a:cubicBezTo>
                <a:cubicBezTo>
                  <a:pt x="1124" y="2013"/>
                  <a:pt x="1124" y="2013"/>
                  <a:pt x="1124" y="2012"/>
                </a:cubicBezTo>
                <a:cubicBezTo>
                  <a:pt x="1124" y="2012"/>
                  <a:pt x="1124" y="2012"/>
                  <a:pt x="1124" y="2012"/>
                </a:cubicBezTo>
                <a:cubicBezTo>
                  <a:pt x="1125" y="2011"/>
                  <a:pt x="1125" y="2010"/>
                  <a:pt x="1126" y="2010"/>
                </a:cubicBezTo>
                <a:cubicBezTo>
                  <a:pt x="1126" y="2009"/>
                  <a:pt x="1127" y="2009"/>
                  <a:pt x="1127" y="2009"/>
                </a:cubicBezTo>
                <a:cubicBezTo>
                  <a:pt x="1128" y="2008"/>
                  <a:pt x="1128" y="2008"/>
                  <a:pt x="1129" y="2007"/>
                </a:cubicBezTo>
                <a:cubicBezTo>
                  <a:pt x="1129" y="2007"/>
                  <a:pt x="1129" y="2007"/>
                  <a:pt x="1130" y="2006"/>
                </a:cubicBezTo>
                <a:cubicBezTo>
                  <a:pt x="1130" y="2006"/>
                  <a:pt x="1130" y="2006"/>
                  <a:pt x="1130" y="2006"/>
                </a:cubicBezTo>
                <a:cubicBezTo>
                  <a:pt x="1131" y="2006"/>
                  <a:pt x="1132" y="2005"/>
                  <a:pt x="1133" y="2004"/>
                </a:cubicBezTo>
                <a:cubicBezTo>
                  <a:pt x="1134" y="2004"/>
                  <a:pt x="1134" y="2004"/>
                  <a:pt x="1134" y="2004"/>
                </a:cubicBezTo>
                <a:cubicBezTo>
                  <a:pt x="1134" y="2004"/>
                  <a:pt x="1135" y="2004"/>
                  <a:pt x="1135" y="2004"/>
                </a:cubicBezTo>
                <a:cubicBezTo>
                  <a:pt x="1135" y="2004"/>
                  <a:pt x="1135" y="2004"/>
                  <a:pt x="1136" y="2004"/>
                </a:cubicBezTo>
                <a:cubicBezTo>
                  <a:pt x="1137" y="2003"/>
                  <a:pt x="1138" y="2003"/>
                  <a:pt x="1139" y="2003"/>
                </a:cubicBezTo>
                <a:cubicBezTo>
                  <a:pt x="1139" y="2002"/>
                  <a:pt x="1140" y="2002"/>
                  <a:pt x="1140" y="2002"/>
                </a:cubicBezTo>
                <a:cubicBezTo>
                  <a:pt x="1141" y="2002"/>
                  <a:pt x="1141" y="2002"/>
                  <a:pt x="1142" y="2002"/>
                </a:cubicBezTo>
                <a:cubicBezTo>
                  <a:pt x="1143" y="2002"/>
                  <a:pt x="1145" y="2001"/>
                  <a:pt x="1147" y="2001"/>
                </a:cubicBezTo>
                <a:cubicBezTo>
                  <a:pt x="1147" y="2001"/>
                  <a:pt x="1148" y="2001"/>
                  <a:pt x="1148" y="2001"/>
                </a:cubicBezTo>
                <a:cubicBezTo>
                  <a:pt x="1149" y="2001"/>
                  <a:pt x="1149" y="2001"/>
                  <a:pt x="1150" y="2001"/>
                </a:cubicBezTo>
                <a:cubicBezTo>
                  <a:pt x="1153" y="2001"/>
                  <a:pt x="1153" y="2001"/>
                  <a:pt x="1153" y="2001"/>
                </a:cubicBezTo>
                <a:cubicBezTo>
                  <a:pt x="1155" y="2001"/>
                  <a:pt x="1158" y="2001"/>
                  <a:pt x="1160" y="2001"/>
                </a:cubicBezTo>
                <a:cubicBezTo>
                  <a:pt x="1163" y="2001"/>
                  <a:pt x="1165" y="2001"/>
                  <a:pt x="1168" y="2001"/>
                </a:cubicBezTo>
                <a:cubicBezTo>
                  <a:pt x="1191" y="2001"/>
                  <a:pt x="1191" y="2001"/>
                  <a:pt x="1191" y="2001"/>
                </a:cubicBezTo>
                <a:cubicBezTo>
                  <a:pt x="1197" y="2001"/>
                  <a:pt x="1203" y="2001"/>
                  <a:pt x="1209" y="2001"/>
                </a:cubicBezTo>
                <a:cubicBezTo>
                  <a:pt x="1210" y="2001"/>
                  <a:pt x="1211" y="2001"/>
                  <a:pt x="1212" y="2002"/>
                </a:cubicBezTo>
                <a:cubicBezTo>
                  <a:pt x="1212" y="2002"/>
                  <a:pt x="1213" y="2002"/>
                  <a:pt x="1214" y="2002"/>
                </a:cubicBezTo>
                <a:cubicBezTo>
                  <a:pt x="1214" y="2002"/>
                  <a:pt x="1214" y="2002"/>
                  <a:pt x="1215" y="2002"/>
                </a:cubicBezTo>
                <a:cubicBezTo>
                  <a:pt x="1215" y="2002"/>
                  <a:pt x="1216" y="2002"/>
                  <a:pt x="1216" y="2002"/>
                </a:cubicBezTo>
                <a:cubicBezTo>
                  <a:pt x="1216" y="2002"/>
                  <a:pt x="1216" y="2003"/>
                  <a:pt x="1217" y="2003"/>
                </a:cubicBezTo>
                <a:cubicBezTo>
                  <a:pt x="1218" y="2003"/>
                  <a:pt x="1219" y="2003"/>
                  <a:pt x="1220" y="2004"/>
                </a:cubicBezTo>
                <a:cubicBezTo>
                  <a:pt x="1221" y="2004"/>
                  <a:pt x="1221" y="2004"/>
                  <a:pt x="1222" y="2004"/>
                </a:cubicBezTo>
                <a:cubicBezTo>
                  <a:pt x="1222" y="2005"/>
                  <a:pt x="1223" y="2005"/>
                  <a:pt x="1223" y="2005"/>
                </a:cubicBezTo>
                <a:cubicBezTo>
                  <a:pt x="1224" y="2005"/>
                  <a:pt x="1225" y="2006"/>
                  <a:pt x="1226" y="2006"/>
                </a:cubicBezTo>
                <a:cubicBezTo>
                  <a:pt x="1229" y="2008"/>
                  <a:pt x="1231" y="2010"/>
                  <a:pt x="1233" y="2012"/>
                </a:cubicBezTo>
                <a:cubicBezTo>
                  <a:pt x="1235" y="2014"/>
                  <a:pt x="1237" y="2017"/>
                  <a:pt x="1237" y="2019"/>
                </a:cubicBezTo>
                <a:cubicBezTo>
                  <a:pt x="1240" y="2034"/>
                  <a:pt x="1240" y="2034"/>
                  <a:pt x="1240" y="2034"/>
                </a:cubicBezTo>
                <a:cubicBezTo>
                  <a:pt x="1241" y="2040"/>
                  <a:pt x="1243" y="2046"/>
                  <a:pt x="1244" y="2052"/>
                </a:cubicBezTo>
                <a:cubicBezTo>
                  <a:pt x="1244" y="2052"/>
                  <a:pt x="1244" y="2052"/>
                  <a:pt x="1244" y="2052"/>
                </a:cubicBezTo>
                <a:cubicBezTo>
                  <a:pt x="1244" y="2055"/>
                  <a:pt x="1244" y="2055"/>
                  <a:pt x="1244" y="2055"/>
                </a:cubicBezTo>
                <a:cubicBezTo>
                  <a:pt x="1245" y="2058"/>
                  <a:pt x="1245" y="2061"/>
                  <a:pt x="1244" y="2063"/>
                </a:cubicBezTo>
                <a:close/>
                <a:moveTo>
                  <a:pt x="1349" y="1880"/>
                </a:moveTo>
                <a:cubicBezTo>
                  <a:pt x="1346" y="1879"/>
                  <a:pt x="1344" y="1878"/>
                  <a:pt x="1342" y="1876"/>
                </a:cubicBezTo>
                <a:cubicBezTo>
                  <a:pt x="1340" y="1875"/>
                  <a:pt x="1338" y="1873"/>
                  <a:pt x="1338" y="1871"/>
                </a:cubicBezTo>
                <a:cubicBezTo>
                  <a:pt x="1337" y="1868"/>
                  <a:pt x="1337" y="1868"/>
                  <a:pt x="1337" y="1868"/>
                </a:cubicBezTo>
                <a:cubicBezTo>
                  <a:pt x="1335" y="1863"/>
                  <a:pt x="1333" y="1859"/>
                  <a:pt x="1332" y="1854"/>
                </a:cubicBezTo>
                <a:cubicBezTo>
                  <a:pt x="1331" y="1852"/>
                  <a:pt x="1329" y="1848"/>
                  <a:pt x="1329" y="1845"/>
                </a:cubicBezTo>
                <a:cubicBezTo>
                  <a:pt x="1329" y="1845"/>
                  <a:pt x="1329" y="1845"/>
                  <a:pt x="1329" y="1844"/>
                </a:cubicBezTo>
                <a:cubicBezTo>
                  <a:pt x="1329" y="1844"/>
                  <a:pt x="1329" y="1844"/>
                  <a:pt x="1329" y="1844"/>
                </a:cubicBezTo>
                <a:cubicBezTo>
                  <a:pt x="1329" y="1844"/>
                  <a:pt x="1329" y="1843"/>
                  <a:pt x="1329" y="1843"/>
                </a:cubicBezTo>
                <a:cubicBezTo>
                  <a:pt x="1329" y="1843"/>
                  <a:pt x="1329" y="1843"/>
                  <a:pt x="1329" y="1842"/>
                </a:cubicBezTo>
                <a:cubicBezTo>
                  <a:pt x="1329" y="1842"/>
                  <a:pt x="1329" y="1842"/>
                  <a:pt x="1329" y="1842"/>
                </a:cubicBezTo>
                <a:cubicBezTo>
                  <a:pt x="1333" y="1834"/>
                  <a:pt x="1348" y="1835"/>
                  <a:pt x="1355" y="1835"/>
                </a:cubicBezTo>
                <a:cubicBezTo>
                  <a:pt x="1392" y="1835"/>
                  <a:pt x="1392" y="1835"/>
                  <a:pt x="1392" y="1835"/>
                </a:cubicBezTo>
                <a:cubicBezTo>
                  <a:pt x="1396" y="1835"/>
                  <a:pt x="1399" y="1835"/>
                  <a:pt x="1402" y="1836"/>
                </a:cubicBezTo>
                <a:cubicBezTo>
                  <a:pt x="1403" y="1836"/>
                  <a:pt x="1404" y="1836"/>
                  <a:pt x="1405" y="1836"/>
                </a:cubicBezTo>
                <a:cubicBezTo>
                  <a:pt x="1405" y="1836"/>
                  <a:pt x="1405" y="1837"/>
                  <a:pt x="1406" y="1837"/>
                </a:cubicBezTo>
                <a:cubicBezTo>
                  <a:pt x="1406" y="1837"/>
                  <a:pt x="1407" y="1837"/>
                  <a:pt x="1408" y="1837"/>
                </a:cubicBezTo>
                <a:cubicBezTo>
                  <a:pt x="1409" y="1837"/>
                  <a:pt x="1410" y="1838"/>
                  <a:pt x="1411" y="1838"/>
                </a:cubicBezTo>
                <a:cubicBezTo>
                  <a:pt x="1411" y="1838"/>
                  <a:pt x="1411" y="1838"/>
                  <a:pt x="1411" y="1838"/>
                </a:cubicBezTo>
                <a:cubicBezTo>
                  <a:pt x="1411" y="1838"/>
                  <a:pt x="1411" y="1838"/>
                  <a:pt x="1411" y="1838"/>
                </a:cubicBezTo>
                <a:cubicBezTo>
                  <a:pt x="1412" y="1839"/>
                  <a:pt x="1413" y="1839"/>
                  <a:pt x="1414" y="1840"/>
                </a:cubicBezTo>
                <a:cubicBezTo>
                  <a:pt x="1415" y="1840"/>
                  <a:pt x="1415" y="1840"/>
                  <a:pt x="1416" y="1841"/>
                </a:cubicBezTo>
                <a:cubicBezTo>
                  <a:pt x="1416" y="1841"/>
                  <a:pt x="1416" y="1841"/>
                  <a:pt x="1417" y="1841"/>
                </a:cubicBezTo>
                <a:cubicBezTo>
                  <a:pt x="1417" y="1841"/>
                  <a:pt x="1417" y="1841"/>
                  <a:pt x="1417" y="1842"/>
                </a:cubicBezTo>
                <a:cubicBezTo>
                  <a:pt x="1418" y="1842"/>
                  <a:pt x="1418" y="1842"/>
                  <a:pt x="1418" y="1842"/>
                </a:cubicBezTo>
                <a:cubicBezTo>
                  <a:pt x="1420" y="1844"/>
                  <a:pt x="1422" y="1845"/>
                  <a:pt x="1423" y="1847"/>
                </a:cubicBezTo>
                <a:cubicBezTo>
                  <a:pt x="1423" y="1847"/>
                  <a:pt x="1423" y="1847"/>
                  <a:pt x="1423" y="1847"/>
                </a:cubicBezTo>
                <a:cubicBezTo>
                  <a:pt x="1426" y="1852"/>
                  <a:pt x="1428" y="1859"/>
                  <a:pt x="1431" y="1864"/>
                </a:cubicBezTo>
                <a:cubicBezTo>
                  <a:pt x="1431" y="1864"/>
                  <a:pt x="1431" y="1864"/>
                  <a:pt x="1431" y="1864"/>
                </a:cubicBezTo>
                <a:cubicBezTo>
                  <a:pt x="1432" y="1867"/>
                  <a:pt x="1434" y="1870"/>
                  <a:pt x="1435" y="1873"/>
                </a:cubicBezTo>
                <a:cubicBezTo>
                  <a:pt x="1435" y="1873"/>
                  <a:pt x="1435" y="1873"/>
                  <a:pt x="1435" y="1873"/>
                </a:cubicBezTo>
                <a:cubicBezTo>
                  <a:pt x="1435" y="1873"/>
                  <a:pt x="1435" y="1873"/>
                  <a:pt x="1435" y="1874"/>
                </a:cubicBezTo>
                <a:cubicBezTo>
                  <a:pt x="1436" y="1879"/>
                  <a:pt x="1431" y="1882"/>
                  <a:pt x="1425" y="1883"/>
                </a:cubicBezTo>
                <a:cubicBezTo>
                  <a:pt x="1425" y="1883"/>
                  <a:pt x="1425" y="1883"/>
                  <a:pt x="1425" y="1883"/>
                </a:cubicBezTo>
                <a:cubicBezTo>
                  <a:pt x="1425" y="1883"/>
                  <a:pt x="1424" y="1883"/>
                  <a:pt x="1424" y="1883"/>
                </a:cubicBezTo>
                <a:cubicBezTo>
                  <a:pt x="1423" y="1884"/>
                  <a:pt x="1422" y="1884"/>
                  <a:pt x="1421" y="1884"/>
                </a:cubicBezTo>
                <a:cubicBezTo>
                  <a:pt x="1421" y="1884"/>
                  <a:pt x="1420" y="1884"/>
                  <a:pt x="1420" y="1884"/>
                </a:cubicBezTo>
                <a:cubicBezTo>
                  <a:pt x="1419" y="1884"/>
                  <a:pt x="1418" y="1884"/>
                  <a:pt x="1417" y="1884"/>
                </a:cubicBezTo>
                <a:cubicBezTo>
                  <a:pt x="1417" y="1884"/>
                  <a:pt x="1416" y="1884"/>
                  <a:pt x="1416" y="1884"/>
                </a:cubicBezTo>
                <a:cubicBezTo>
                  <a:pt x="1416" y="1884"/>
                  <a:pt x="1416" y="1884"/>
                  <a:pt x="1415" y="1884"/>
                </a:cubicBezTo>
                <a:cubicBezTo>
                  <a:pt x="1414" y="1884"/>
                  <a:pt x="1414" y="1884"/>
                  <a:pt x="1414" y="1884"/>
                </a:cubicBezTo>
                <a:cubicBezTo>
                  <a:pt x="1408" y="1884"/>
                  <a:pt x="1403" y="1884"/>
                  <a:pt x="1397" y="1884"/>
                </a:cubicBezTo>
                <a:cubicBezTo>
                  <a:pt x="1387" y="1884"/>
                  <a:pt x="1378" y="1884"/>
                  <a:pt x="1368" y="1884"/>
                </a:cubicBezTo>
                <a:cubicBezTo>
                  <a:pt x="1362" y="1884"/>
                  <a:pt x="1355" y="1883"/>
                  <a:pt x="1349" y="1880"/>
                </a:cubicBezTo>
                <a:cubicBezTo>
                  <a:pt x="1349" y="1880"/>
                  <a:pt x="1349" y="1880"/>
                  <a:pt x="1349" y="1880"/>
                </a:cubicBezTo>
                <a:close/>
                <a:moveTo>
                  <a:pt x="1373" y="1961"/>
                </a:moveTo>
                <a:cubicBezTo>
                  <a:pt x="1371" y="1959"/>
                  <a:pt x="1369" y="1956"/>
                  <a:pt x="1369" y="1954"/>
                </a:cubicBezTo>
                <a:cubicBezTo>
                  <a:pt x="1363" y="1940"/>
                  <a:pt x="1363" y="1940"/>
                  <a:pt x="1363" y="1940"/>
                </a:cubicBezTo>
                <a:cubicBezTo>
                  <a:pt x="1362" y="1935"/>
                  <a:pt x="1360" y="1931"/>
                  <a:pt x="1359" y="1927"/>
                </a:cubicBezTo>
                <a:cubicBezTo>
                  <a:pt x="1359" y="1927"/>
                  <a:pt x="1359" y="1927"/>
                  <a:pt x="1359" y="1927"/>
                </a:cubicBezTo>
                <a:cubicBezTo>
                  <a:pt x="1358" y="1925"/>
                  <a:pt x="1358" y="1925"/>
                  <a:pt x="1358" y="1925"/>
                </a:cubicBezTo>
                <a:cubicBezTo>
                  <a:pt x="1357" y="1923"/>
                  <a:pt x="1357" y="1921"/>
                  <a:pt x="1358" y="1919"/>
                </a:cubicBezTo>
                <a:cubicBezTo>
                  <a:pt x="1358" y="1918"/>
                  <a:pt x="1359" y="1917"/>
                  <a:pt x="1360" y="1916"/>
                </a:cubicBezTo>
                <a:cubicBezTo>
                  <a:pt x="1360" y="1916"/>
                  <a:pt x="1361" y="1916"/>
                  <a:pt x="1361" y="1915"/>
                </a:cubicBezTo>
                <a:cubicBezTo>
                  <a:pt x="1361" y="1915"/>
                  <a:pt x="1361" y="1915"/>
                  <a:pt x="1362" y="1915"/>
                </a:cubicBezTo>
                <a:cubicBezTo>
                  <a:pt x="1364" y="1913"/>
                  <a:pt x="1366" y="1912"/>
                  <a:pt x="1369" y="1911"/>
                </a:cubicBezTo>
                <a:cubicBezTo>
                  <a:pt x="1371" y="1911"/>
                  <a:pt x="1374" y="1910"/>
                  <a:pt x="1376" y="1910"/>
                </a:cubicBezTo>
                <a:cubicBezTo>
                  <a:pt x="1386" y="1909"/>
                  <a:pt x="1397" y="1910"/>
                  <a:pt x="1402" y="1910"/>
                </a:cubicBezTo>
                <a:cubicBezTo>
                  <a:pt x="1420" y="1910"/>
                  <a:pt x="1451" y="1906"/>
                  <a:pt x="1461" y="1925"/>
                </a:cubicBezTo>
                <a:cubicBezTo>
                  <a:pt x="1461" y="1925"/>
                  <a:pt x="1461" y="1925"/>
                  <a:pt x="1461" y="1925"/>
                </a:cubicBezTo>
                <a:cubicBezTo>
                  <a:pt x="1461" y="1925"/>
                  <a:pt x="1461" y="1925"/>
                  <a:pt x="1461" y="1925"/>
                </a:cubicBezTo>
                <a:cubicBezTo>
                  <a:pt x="1461" y="1925"/>
                  <a:pt x="1461" y="1925"/>
                  <a:pt x="1461" y="1925"/>
                </a:cubicBezTo>
                <a:cubicBezTo>
                  <a:pt x="1465" y="1933"/>
                  <a:pt x="1469" y="1940"/>
                  <a:pt x="1473" y="1948"/>
                </a:cubicBezTo>
                <a:cubicBezTo>
                  <a:pt x="1474" y="1951"/>
                  <a:pt x="1476" y="1953"/>
                  <a:pt x="1476" y="1956"/>
                </a:cubicBezTo>
                <a:cubicBezTo>
                  <a:pt x="1476" y="1956"/>
                  <a:pt x="1476" y="1956"/>
                  <a:pt x="1476" y="1957"/>
                </a:cubicBezTo>
                <a:cubicBezTo>
                  <a:pt x="1477" y="1957"/>
                  <a:pt x="1477" y="1958"/>
                  <a:pt x="1477" y="1958"/>
                </a:cubicBezTo>
                <a:cubicBezTo>
                  <a:pt x="1477" y="1959"/>
                  <a:pt x="1477" y="1959"/>
                  <a:pt x="1477" y="1960"/>
                </a:cubicBezTo>
                <a:cubicBezTo>
                  <a:pt x="1477" y="1960"/>
                  <a:pt x="1477" y="1960"/>
                  <a:pt x="1477" y="1960"/>
                </a:cubicBezTo>
                <a:cubicBezTo>
                  <a:pt x="1477" y="1960"/>
                  <a:pt x="1476" y="1961"/>
                  <a:pt x="1476" y="1961"/>
                </a:cubicBezTo>
                <a:cubicBezTo>
                  <a:pt x="1476" y="1962"/>
                  <a:pt x="1476" y="1962"/>
                  <a:pt x="1475" y="1963"/>
                </a:cubicBezTo>
                <a:cubicBezTo>
                  <a:pt x="1475" y="1963"/>
                  <a:pt x="1475" y="1963"/>
                  <a:pt x="1475" y="1963"/>
                </a:cubicBezTo>
                <a:cubicBezTo>
                  <a:pt x="1475" y="1964"/>
                  <a:pt x="1474" y="1965"/>
                  <a:pt x="1474" y="1965"/>
                </a:cubicBezTo>
                <a:cubicBezTo>
                  <a:pt x="1473" y="1965"/>
                  <a:pt x="1473" y="1965"/>
                  <a:pt x="1473" y="1966"/>
                </a:cubicBezTo>
                <a:cubicBezTo>
                  <a:pt x="1473" y="1966"/>
                  <a:pt x="1473" y="1966"/>
                  <a:pt x="1472" y="1966"/>
                </a:cubicBezTo>
                <a:cubicBezTo>
                  <a:pt x="1472" y="1966"/>
                  <a:pt x="1472" y="1967"/>
                  <a:pt x="1471" y="1967"/>
                </a:cubicBezTo>
                <a:cubicBezTo>
                  <a:pt x="1470" y="1968"/>
                  <a:pt x="1468" y="1969"/>
                  <a:pt x="1466" y="1969"/>
                </a:cubicBezTo>
                <a:cubicBezTo>
                  <a:pt x="1465" y="1969"/>
                  <a:pt x="1465" y="1969"/>
                  <a:pt x="1464" y="1970"/>
                </a:cubicBezTo>
                <a:cubicBezTo>
                  <a:pt x="1463" y="1970"/>
                  <a:pt x="1462" y="1970"/>
                  <a:pt x="1462" y="1970"/>
                </a:cubicBezTo>
                <a:cubicBezTo>
                  <a:pt x="1461" y="1970"/>
                  <a:pt x="1461" y="1970"/>
                  <a:pt x="1461" y="1970"/>
                </a:cubicBezTo>
                <a:cubicBezTo>
                  <a:pt x="1460" y="1970"/>
                  <a:pt x="1460" y="1970"/>
                  <a:pt x="1460" y="1970"/>
                </a:cubicBezTo>
                <a:cubicBezTo>
                  <a:pt x="1441" y="1972"/>
                  <a:pt x="1422" y="1971"/>
                  <a:pt x="1403" y="1971"/>
                </a:cubicBezTo>
                <a:cubicBezTo>
                  <a:pt x="1401" y="1971"/>
                  <a:pt x="1399" y="1971"/>
                  <a:pt x="1397" y="1970"/>
                </a:cubicBezTo>
                <a:cubicBezTo>
                  <a:pt x="1397" y="1970"/>
                  <a:pt x="1397" y="1970"/>
                  <a:pt x="1397" y="1970"/>
                </a:cubicBezTo>
                <a:cubicBezTo>
                  <a:pt x="1390" y="1970"/>
                  <a:pt x="1383" y="1967"/>
                  <a:pt x="1377" y="1964"/>
                </a:cubicBezTo>
                <a:cubicBezTo>
                  <a:pt x="1376" y="1963"/>
                  <a:pt x="1374" y="1962"/>
                  <a:pt x="1373" y="1961"/>
                </a:cubicBezTo>
                <a:close/>
                <a:moveTo>
                  <a:pt x="1527" y="2063"/>
                </a:moveTo>
                <a:cubicBezTo>
                  <a:pt x="1527" y="2063"/>
                  <a:pt x="1527" y="2064"/>
                  <a:pt x="1527" y="2064"/>
                </a:cubicBezTo>
                <a:cubicBezTo>
                  <a:pt x="1527" y="2065"/>
                  <a:pt x="1526" y="2065"/>
                  <a:pt x="1526" y="2065"/>
                </a:cubicBezTo>
                <a:cubicBezTo>
                  <a:pt x="1526" y="2066"/>
                  <a:pt x="1526" y="2066"/>
                  <a:pt x="1525" y="2067"/>
                </a:cubicBezTo>
                <a:cubicBezTo>
                  <a:pt x="1525" y="2067"/>
                  <a:pt x="1525" y="2068"/>
                  <a:pt x="1525" y="2068"/>
                </a:cubicBezTo>
                <a:cubicBezTo>
                  <a:pt x="1525" y="2068"/>
                  <a:pt x="1524" y="2068"/>
                  <a:pt x="1524" y="2069"/>
                </a:cubicBezTo>
                <a:cubicBezTo>
                  <a:pt x="1524" y="2069"/>
                  <a:pt x="1524" y="2069"/>
                  <a:pt x="1524" y="2069"/>
                </a:cubicBezTo>
                <a:cubicBezTo>
                  <a:pt x="1524" y="2069"/>
                  <a:pt x="1523" y="2070"/>
                  <a:pt x="1523" y="2070"/>
                </a:cubicBezTo>
                <a:cubicBezTo>
                  <a:pt x="1520" y="2073"/>
                  <a:pt x="1515" y="2074"/>
                  <a:pt x="1511" y="2075"/>
                </a:cubicBezTo>
                <a:cubicBezTo>
                  <a:pt x="1510" y="2075"/>
                  <a:pt x="1510" y="2075"/>
                  <a:pt x="1510" y="2075"/>
                </a:cubicBezTo>
                <a:cubicBezTo>
                  <a:pt x="1508" y="2075"/>
                  <a:pt x="1506" y="2076"/>
                  <a:pt x="1504" y="2076"/>
                </a:cubicBezTo>
                <a:cubicBezTo>
                  <a:pt x="1504" y="2076"/>
                  <a:pt x="1504" y="2076"/>
                  <a:pt x="1504" y="2076"/>
                </a:cubicBezTo>
                <a:cubicBezTo>
                  <a:pt x="1503" y="2076"/>
                  <a:pt x="1503" y="2076"/>
                  <a:pt x="1503" y="2076"/>
                </a:cubicBezTo>
                <a:cubicBezTo>
                  <a:pt x="1501" y="2076"/>
                  <a:pt x="1499" y="2076"/>
                  <a:pt x="1497" y="2076"/>
                </a:cubicBezTo>
                <a:cubicBezTo>
                  <a:pt x="1446" y="2076"/>
                  <a:pt x="1446" y="2076"/>
                  <a:pt x="1446" y="2076"/>
                </a:cubicBezTo>
                <a:cubicBezTo>
                  <a:pt x="1444" y="2076"/>
                  <a:pt x="1441" y="2076"/>
                  <a:pt x="1439" y="2075"/>
                </a:cubicBezTo>
                <a:cubicBezTo>
                  <a:pt x="1439" y="2075"/>
                  <a:pt x="1438" y="2075"/>
                  <a:pt x="1438" y="2075"/>
                </a:cubicBezTo>
                <a:cubicBezTo>
                  <a:pt x="1427" y="2074"/>
                  <a:pt x="1414" y="2069"/>
                  <a:pt x="1408" y="2059"/>
                </a:cubicBezTo>
                <a:cubicBezTo>
                  <a:pt x="1407" y="2058"/>
                  <a:pt x="1407" y="2056"/>
                  <a:pt x="1406" y="2055"/>
                </a:cubicBezTo>
                <a:cubicBezTo>
                  <a:pt x="1406" y="2055"/>
                  <a:pt x="1406" y="2055"/>
                  <a:pt x="1406" y="2055"/>
                </a:cubicBezTo>
                <a:cubicBezTo>
                  <a:pt x="1406" y="2055"/>
                  <a:pt x="1406" y="2055"/>
                  <a:pt x="1406" y="2055"/>
                </a:cubicBezTo>
                <a:cubicBezTo>
                  <a:pt x="1403" y="2047"/>
                  <a:pt x="1400" y="2040"/>
                  <a:pt x="1398" y="2032"/>
                </a:cubicBezTo>
                <a:cubicBezTo>
                  <a:pt x="1396" y="2029"/>
                  <a:pt x="1394" y="2024"/>
                  <a:pt x="1393" y="2019"/>
                </a:cubicBezTo>
                <a:cubicBezTo>
                  <a:pt x="1393" y="2019"/>
                  <a:pt x="1393" y="2019"/>
                  <a:pt x="1393" y="2019"/>
                </a:cubicBezTo>
                <a:cubicBezTo>
                  <a:pt x="1393" y="2019"/>
                  <a:pt x="1393" y="2019"/>
                  <a:pt x="1393" y="2019"/>
                </a:cubicBezTo>
                <a:cubicBezTo>
                  <a:pt x="1392" y="2018"/>
                  <a:pt x="1392" y="2018"/>
                  <a:pt x="1392" y="2017"/>
                </a:cubicBezTo>
                <a:cubicBezTo>
                  <a:pt x="1392" y="2015"/>
                  <a:pt x="1392" y="2013"/>
                  <a:pt x="1392" y="2012"/>
                </a:cubicBezTo>
                <a:cubicBezTo>
                  <a:pt x="1393" y="2011"/>
                  <a:pt x="1393" y="2010"/>
                  <a:pt x="1394" y="2009"/>
                </a:cubicBezTo>
                <a:cubicBezTo>
                  <a:pt x="1394" y="2009"/>
                  <a:pt x="1394" y="2009"/>
                  <a:pt x="1394" y="2009"/>
                </a:cubicBezTo>
                <a:cubicBezTo>
                  <a:pt x="1397" y="2004"/>
                  <a:pt x="1403" y="2002"/>
                  <a:pt x="1409" y="2001"/>
                </a:cubicBezTo>
                <a:cubicBezTo>
                  <a:pt x="1409" y="2001"/>
                  <a:pt x="1409" y="2001"/>
                  <a:pt x="1410" y="2001"/>
                </a:cubicBezTo>
                <a:cubicBezTo>
                  <a:pt x="1411" y="2001"/>
                  <a:pt x="1413" y="2001"/>
                  <a:pt x="1414" y="2000"/>
                </a:cubicBezTo>
                <a:cubicBezTo>
                  <a:pt x="1414" y="2000"/>
                  <a:pt x="1415" y="2000"/>
                  <a:pt x="1415" y="2000"/>
                </a:cubicBezTo>
                <a:cubicBezTo>
                  <a:pt x="1418" y="2000"/>
                  <a:pt x="1418" y="2000"/>
                  <a:pt x="1418" y="2000"/>
                </a:cubicBezTo>
                <a:cubicBezTo>
                  <a:pt x="1419" y="2000"/>
                  <a:pt x="1420" y="2000"/>
                  <a:pt x="1421" y="2000"/>
                </a:cubicBezTo>
                <a:cubicBezTo>
                  <a:pt x="1437" y="2000"/>
                  <a:pt x="1453" y="2000"/>
                  <a:pt x="1469" y="2000"/>
                </a:cubicBezTo>
                <a:cubicBezTo>
                  <a:pt x="1469" y="2000"/>
                  <a:pt x="1469" y="2000"/>
                  <a:pt x="1469" y="2000"/>
                </a:cubicBezTo>
                <a:cubicBezTo>
                  <a:pt x="1469" y="2000"/>
                  <a:pt x="1469" y="2000"/>
                  <a:pt x="1469" y="2000"/>
                </a:cubicBezTo>
                <a:cubicBezTo>
                  <a:pt x="1471" y="2000"/>
                  <a:pt x="1473" y="2000"/>
                  <a:pt x="1475" y="2001"/>
                </a:cubicBezTo>
                <a:cubicBezTo>
                  <a:pt x="1475" y="2001"/>
                  <a:pt x="1476" y="2001"/>
                  <a:pt x="1476" y="2001"/>
                </a:cubicBezTo>
                <a:cubicBezTo>
                  <a:pt x="1487" y="2002"/>
                  <a:pt x="1499" y="2006"/>
                  <a:pt x="1505" y="2015"/>
                </a:cubicBezTo>
                <a:cubicBezTo>
                  <a:pt x="1506" y="2016"/>
                  <a:pt x="1507" y="2017"/>
                  <a:pt x="1508" y="2019"/>
                </a:cubicBezTo>
                <a:cubicBezTo>
                  <a:pt x="1509" y="2022"/>
                  <a:pt x="1509" y="2022"/>
                  <a:pt x="1509" y="2022"/>
                </a:cubicBezTo>
                <a:cubicBezTo>
                  <a:pt x="1512" y="2028"/>
                  <a:pt x="1516" y="2035"/>
                  <a:pt x="1519" y="2041"/>
                </a:cubicBezTo>
                <a:cubicBezTo>
                  <a:pt x="1521" y="2045"/>
                  <a:pt x="1524" y="2051"/>
                  <a:pt x="1526" y="2056"/>
                </a:cubicBezTo>
                <a:cubicBezTo>
                  <a:pt x="1527" y="2058"/>
                  <a:pt x="1527" y="2061"/>
                  <a:pt x="1527" y="2063"/>
                </a:cubicBezTo>
                <a:close/>
                <a:moveTo>
                  <a:pt x="1640" y="2000"/>
                </a:moveTo>
                <a:cubicBezTo>
                  <a:pt x="1642" y="2000"/>
                  <a:pt x="1643" y="2000"/>
                  <a:pt x="1645" y="2000"/>
                </a:cubicBezTo>
                <a:cubicBezTo>
                  <a:pt x="1645" y="2000"/>
                  <a:pt x="1645" y="2000"/>
                  <a:pt x="1646" y="2000"/>
                </a:cubicBezTo>
                <a:cubicBezTo>
                  <a:pt x="1657" y="2002"/>
                  <a:pt x="1669" y="2006"/>
                  <a:pt x="1677" y="2014"/>
                </a:cubicBezTo>
                <a:cubicBezTo>
                  <a:pt x="1678" y="2014"/>
                  <a:pt x="1678" y="2015"/>
                  <a:pt x="1678" y="2015"/>
                </a:cubicBezTo>
                <a:cubicBezTo>
                  <a:pt x="1679" y="2016"/>
                  <a:pt x="1679" y="2016"/>
                  <a:pt x="1680" y="2017"/>
                </a:cubicBezTo>
                <a:cubicBezTo>
                  <a:pt x="1680" y="2017"/>
                  <a:pt x="1680" y="2017"/>
                  <a:pt x="1680" y="2018"/>
                </a:cubicBezTo>
                <a:cubicBezTo>
                  <a:pt x="1681" y="2018"/>
                  <a:pt x="1681" y="2018"/>
                  <a:pt x="1681" y="2018"/>
                </a:cubicBezTo>
                <a:cubicBezTo>
                  <a:pt x="1682" y="2019"/>
                  <a:pt x="1682" y="2019"/>
                  <a:pt x="1682" y="2019"/>
                </a:cubicBezTo>
                <a:cubicBezTo>
                  <a:pt x="1685" y="2024"/>
                  <a:pt x="1688" y="2029"/>
                  <a:pt x="1692" y="2034"/>
                </a:cubicBezTo>
                <a:cubicBezTo>
                  <a:pt x="1692" y="2034"/>
                  <a:pt x="1692" y="2034"/>
                  <a:pt x="1692" y="2034"/>
                </a:cubicBezTo>
                <a:cubicBezTo>
                  <a:pt x="1697" y="2041"/>
                  <a:pt x="1703" y="2049"/>
                  <a:pt x="1707" y="2056"/>
                </a:cubicBezTo>
                <a:cubicBezTo>
                  <a:pt x="1707" y="2057"/>
                  <a:pt x="1707" y="2057"/>
                  <a:pt x="1708" y="2058"/>
                </a:cubicBezTo>
                <a:cubicBezTo>
                  <a:pt x="1708" y="2058"/>
                  <a:pt x="1708" y="2058"/>
                  <a:pt x="1708" y="2058"/>
                </a:cubicBezTo>
                <a:cubicBezTo>
                  <a:pt x="1709" y="2063"/>
                  <a:pt x="1709" y="2066"/>
                  <a:pt x="1707" y="2068"/>
                </a:cubicBezTo>
                <a:cubicBezTo>
                  <a:pt x="1706" y="2069"/>
                  <a:pt x="1706" y="2069"/>
                  <a:pt x="1706" y="2069"/>
                </a:cubicBezTo>
                <a:cubicBezTo>
                  <a:pt x="1705" y="2071"/>
                  <a:pt x="1702" y="2072"/>
                  <a:pt x="1699" y="2073"/>
                </a:cubicBezTo>
                <a:cubicBezTo>
                  <a:pt x="1696" y="2074"/>
                  <a:pt x="1692" y="2075"/>
                  <a:pt x="1688" y="2075"/>
                </a:cubicBezTo>
                <a:cubicBezTo>
                  <a:pt x="1684" y="2075"/>
                  <a:pt x="1684" y="2075"/>
                  <a:pt x="1684" y="2075"/>
                </a:cubicBezTo>
                <a:cubicBezTo>
                  <a:pt x="1684" y="2075"/>
                  <a:pt x="1684" y="2075"/>
                  <a:pt x="1684" y="2075"/>
                </a:cubicBezTo>
                <a:cubicBezTo>
                  <a:pt x="1666" y="2075"/>
                  <a:pt x="1648" y="2075"/>
                  <a:pt x="1629" y="2075"/>
                </a:cubicBezTo>
                <a:cubicBezTo>
                  <a:pt x="1627" y="2075"/>
                  <a:pt x="1625" y="2075"/>
                  <a:pt x="1623" y="2075"/>
                </a:cubicBezTo>
                <a:cubicBezTo>
                  <a:pt x="1623" y="2075"/>
                  <a:pt x="1623" y="2075"/>
                  <a:pt x="1623" y="2075"/>
                </a:cubicBezTo>
                <a:cubicBezTo>
                  <a:pt x="1610" y="2073"/>
                  <a:pt x="1597" y="2068"/>
                  <a:pt x="1589" y="2059"/>
                </a:cubicBezTo>
                <a:cubicBezTo>
                  <a:pt x="1588" y="2057"/>
                  <a:pt x="1587" y="2056"/>
                  <a:pt x="1586" y="2055"/>
                </a:cubicBezTo>
                <a:cubicBezTo>
                  <a:pt x="1586" y="2054"/>
                  <a:pt x="1586" y="2054"/>
                  <a:pt x="1586" y="2054"/>
                </a:cubicBezTo>
                <a:cubicBezTo>
                  <a:pt x="1586" y="2054"/>
                  <a:pt x="1586" y="2054"/>
                  <a:pt x="1586" y="2054"/>
                </a:cubicBezTo>
                <a:cubicBezTo>
                  <a:pt x="1582" y="2047"/>
                  <a:pt x="1578" y="2041"/>
                  <a:pt x="1574" y="2034"/>
                </a:cubicBezTo>
                <a:cubicBezTo>
                  <a:pt x="1571" y="2029"/>
                  <a:pt x="1566" y="2021"/>
                  <a:pt x="1564" y="2015"/>
                </a:cubicBezTo>
                <a:cubicBezTo>
                  <a:pt x="1564" y="2015"/>
                  <a:pt x="1564" y="2015"/>
                  <a:pt x="1564" y="2014"/>
                </a:cubicBezTo>
                <a:cubicBezTo>
                  <a:pt x="1564" y="2014"/>
                  <a:pt x="1564" y="2013"/>
                  <a:pt x="1564" y="2013"/>
                </a:cubicBezTo>
                <a:cubicBezTo>
                  <a:pt x="1564" y="2006"/>
                  <a:pt x="1568" y="2003"/>
                  <a:pt x="1574" y="2002"/>
                </a:cubicBezTo>
                <a:cubicBezTo>
                  <a:pt x="1574" y="2001"/>
                  <a:pt x="1574" y="2001"/>
                  <a:pt x="1574" y="2001"/>
                </a:cubicBezTo>
                <a:cubicBezTo>
                  <a:pt x="1574" y="2001"/>
                  <a:pt x="1575" y="2001"/>
                  <a:pt x="1575" y="2001"/>
                </a:cubicBezTo>
                <a:cubicBezTo>
                  <a:pt x="1575" y="2001"/>
                  <a:pt x="1576" y="2001"/>
                  <a:pt x="1576" y="2001"/>
                </a:cubicBezTo>
                <a:cubicBezTo>
                  <a:pt x="1579" y="2000"/>
                  <a:pt x="1581" y="2000"/>
                  <a:pt x="1585" y="2000"/>
                </a:cubicBezTo>
                <a:cubicBezTo>
                  <a:pt x="1621" y="2000"/>
                  <a:pt x="1621" y="2000"/>
                  <a:pt x="1621" y="2000"/>
                </a:cubicBezTo>
                <a:cubicBezTo>
                  <a:pt x="1627" y="2000"/>
                  <a:pt x="1633" y="2000"/>
                  <a:pt x="1639" y="2000"/>
                </a:cubicBezTo>
                <a:cubicBezTo>
                  <a:pt x="1639" y="2000"/>
                  <a:pt x="1639" y="2000"/>
                  <a:pt x="1639" y="2000"/>
                </a:cubicBezTo>
                <a:cubicBezTo>
                  <a:pt x="1639" y="2000"/>
                  <a:pt x="1640" y="2000"/>
                  <a:pt x="1640" y="2000"/>
                </a:cubicBezTo>
                <a:close/>
                <a:moveTo>
                  <a:pt x="1617" y="1924"/>
                </a:moveTo>
                <a:cubicBezTo>
                  <a:pt x="1621" y="1930"/>
                  <a:pt x="1625" y="1937"/>
                  <a:pt x="1629" y="1943"/>
                </a:cubicBezTo>
                <a:cubicBezTo>
                  <a:pt x="1631" y="1946"/>
                  <a:pt x="1635" y="1950"/>
                  <a:pt x="1637" y="1955"/>
                </a:cubicBezTo>
                <a:cubicBezTo>
                  <a:pt x="1638" y="1956"/>
                  <a:pt x="1639" y="1958"/>
                  <a:pt x="1639" y="1960"/>
                </a:cubicBezTo>
                <a:cubicBezTo>
                  <a:pt x="1639" y="1961"/>
                  <a:pt x="1638" y="1962"/>
                  <a:pt x="1638" y="1963"/>
                </a:cubicBezTo>
                <a:cubicBezTo>
                  <a:pt x="1637" y="1964"/>
                  <a:pt x="1637" y="1964"/>
                  <a:pt x="1636" y="1965"/>
                </a:cubicBezTo>
                <a:cubicBezTo>
                  <a:pt x="1636" y="1965"/>
                  <a:pt x="1636" y="1965"/>
                  <a:pt x="1636" y="1965"/>
                </a:cubicBezTo>
                <a:cubicBezTo>
                  <a:pt x="1636" y="1965"/>
                  <a:pt x="1636" y="1965"/>
                  <a:pt x="1636" y="1965"/>
                </a:cubicBezTo>
                <a:cubicBezTo>
                  <a:pt x="1636" y="1966"/>
                  <a:pt x="1635" y="1966"/>
                  <a:pt x="1635" y="1966"/>
                </a:cubicBezTo>
                <a:cubicBezTo>
                  <a:pt x="1635" y="1966"/>
                  <a:pt x="1634" y="1967"/>
                  <a:pt x="1634" y="1967"/>
                </a:cubicBezTo>
                <a:cubicBezTo>
                  <a:pt x="1634" y="1967"/>
                  <a:pt x="1633" y="1967"/>
                  <a:pt x="1632" y="1968"/>
                </a:cubicBezTo>
                <a:cubicBezTo>
                  <a:pt x="1632" y="1968"/>
                  <a:pt x="1631" y="1968"/>
                  <a:pt x="1630" y="1969"/>
                </a:cubicBezTo>
                <a:cubicBezTo>
                  <a:pt x="1630" y="1969"/>
                  <a:pt x="1630" y="1969"/>
                  <a:pt x="1630" y="1969"/>
                </a:cubicBezTo>
                <a:cubicBezTo>
                  <a:pt x="1630" y="1969"/>
                  <a:pt x="1630" y="1969"/>
                  <a:pt x="1629" y="1969"/>
                </a:cubicBezTo>
                <a:cubicBezTo>
                  <a:pt x="1620" y="1972"/>
                  <a:pt x="1607" y="1970"/>
                  <a:pt x="1598" y="1970"/>
                </a:cubicBezTo>
                <a:cubicBezTo>
                  <a:pt x="1588" y="1970"/>
                  <a:pt x="1578" y="1970"/>
                  <a:pt x="1567" y="1970"/>
                </a:cubicBezTo>
                <a:cubicBezTo>
                  <a:pt x="1558" y="1970"/>
                  <a:pt x="1547" y="1968"/>
                  <a:pt x="1539" y="1962"/>
                </a:cubicBezTo>
                <a:cubicBezTo>
                  <a:pt x="1538" y="1962"/>
                  <a:pt x="1536" y="1961"/>
                  <a:pt x="1535" y="1960"/>
                </a:cubicBezTo>
                <a:cubicBezTo>
                  <a:pt x="1533" y="1958"/>
                  <a:pt x="1531" y="1956"/>
                  <a:pt x="1530" y="1954"/>
                </a:cubicBezTo>
                <a:cubicBezTo>
                  <a:pt x="1529" y="1952"/>
                  <a:pt x="1529" y="1952"/>
                  <a:pt x="1529" y="1952"/>
                </a:cubicBezTo>
                <a:cubicBezTo>
                  <a:pt x="1529" y="1952"/>
                  <a:pt x="1529" y="1952"/>
                  <a:pt x="1529" y="1952"/>
                </a:cubicBezTo>
                <a:cubicBezTo>
                  <a:pt x="1524" y="1944"/>
                  <a:pt x="1520" y="1936"/>
                  <a:pt x="1515" y="1928"/>
                </a:cubicBezTo>
                <a:cubicBezTo>
                  <a:pt x="1513" y="1925"/>
                  <a:pt x="1513" y="1925"/>
                  <a:pt x="1513" y="1925"/>
                </a:cubicBezTo>
                <a:cubicBezTo>
                  <a:pt x="1512" y="1923"/>
                  <a:pt x="1512" y="1921"/>
                  <a:pt x="1512" y="1919"/>
                </a:cubicBezTo>
                <a:cubicBezTo>
                  <a:pt x="1512" y="1917"/>
                  <a:pt x="1513" y="1915"/>
                  <a:pt x="1515" y="1914"/>
                </a:cubicBezTo>
                <a:cubicBezTo>
                  <a:pt x="1517" y="1913"/>
                  <a:pt x="1519" y="1912"/>
                  <a:pt x="1522" y="1911"/>
                </a:cubicBezTo>
                <a:cubicBezTo>
                  <a:pt x="1524" y="1910"/>
                  <a:pt x="1528" y="1910"/>
                  <a:pt x="1531" y="1910"/>
                </a:cubicBezTo>
                <a:cubicBezTo>
                  <a:pt x="1532" y="1910"/>
                  <a:pt x="1532" y="1910"/>
                  <a:pt x="1532" y="1910"/>
                </a:cubicBezTo>
                <a:cubicBezTo>
                  <a:pt x="1540" y="1909"/>
                  <a:pt x="1548" y="1910"/>
                  <a:pt x="1553" y="1910"/>
                </a:cubicBezTo>
                <a:cubicBezTo>
                  <a:pt x="1573" y="1910"/>
                  <a:pt x="1604" y="1906"/>
                  <a:pt x="1617" y="1924"/>
                </a:cubicBezTo>
                <a:close/>
                <a:moveTo>
                  <a:pt x="366" y="1441"/>
                </a:moveTo>
                <a:cubicBezTo>
                  <a:pt x="372" y="1443"/>
                  <a:pt x="377" y="1446"/>
                  <a:pt x="382" y="1448"/>
                </a:cubicBezTo>
                <a:cubicBezTo>
                  <a:pt x="392" y="1453"/>
                  <a:pt x="403" y="1458"/>
                  <a:pt x="413" y="1462"/>
                </a:cubicBezTo>
                <a:cubicBezTo>
                  <a:pt x="418" y="1464"/>
                  <a:pt x="422" y="1466"/>
                  <a:pt x="426" y="1468"/>
                </a:cubicBezTo>
                <a:cubicBezTo>
                  <a:pt x="430" y="1469"/>
                  <a:pt x="433" y="1470"/>
                  <a:pt x="437" y="1472"/>
                </a:cubicBezTo>
                <a:cubicBezTo>
                  <a:pt x="458" y="1479"/>
                  <a:pt x="479" y="1486"/>
                  <a:pt x="502" y="1492"/>
                </a:cubicBezTo>
                <a:cubicBezTo>
                  <a:pt x="527" y="1499"/>
                  <a:pt x="552" y="1505"/>
                  <a:pt x="578" y="1510"/>
                </a:cubicBezTo>
                <a:cubicBezTo>
                  <a:pt x="683" y="1532"/>
                  <a:pt x="786" y="1541"/>
                  <a:pt x="819" y="1542"/>
                </a:cubicBezTo>
                <a:cubicBezTo>
                  <a:pt x="819" y="1610"/>
                  <a:pt x="819" y="1610"/>
                  <a:pt x="819" y="1610"/>
                </a:cubicBezTo>
                <a:cubicBezTo>
                  <a:pt x="857" y="1570"/>
                  <a:pt x="857" y="1570"/>
                  <a:pt x="857" y="1570"/>
                </a:cubicBezTo>
                <a:cubicBezTo>
                  <a:pt x="906" y="1518"/>
                  <a:pt x="906" y="1518"/>
                  <a:pt x="906" y="1518"/>
                </a:cubicBezTo>
                <a:cubicBezTo>
                  <a:pt x="1019" y="1399"/>
                  <a:pt x="1019" y="1399"/>
                  <a:pt x="1019" y="1399"/>
                </a:cubicBezTo>
                <a:cubicBezTo>
                  <a:pt x="933" y="1308"/>
                  <a:pt x="933" y="1308"/>
                  <a:pt x="933" y="1308"/>
                </a:cubicBezTo>
                <a:cubicBezTo>
                  <a:pt x="819" y="1188"/>
                  <a:pt x="819" y="1188"/>
                  <a:pt x="819" y="1188"/>
                </a:cubicBezTo>
                <a:cubicBezTo>
                  <a:pt x="819" y="1271"/>
                  <a:pt x="819" y="1271"/>
                  <a:pt x="819" y="1271"/>
                </a:cubicBezTo>
                <a:cubicBezTo>
                  <a:pt x="740" y="1279"/>
                  <a:pt x="653" y="1266"/>
                  <a:pt x="578" y="1249"/>
                </a:cubicBezTo>
                <a:cubicBezTo>
                  <a:pt x="550" y="1242"/>
                  <a:pt x="525" y="1235"/>
                  <a:pt x="502" y="1229"/>
                </a:cubicBezTo>
                <a:cubicBezTo>
                  <a:pt x="471" y="1219"/>
                  <a:pt x="445" y="1211"/>
                  <a:pt x="426" y="1204"/>
                </a:cubicBezTo>
                <a:cubicBezTo>
                  <a:pt x="422" y="1202"/>
                  <a:pt x="418" y="1201"/>
                  <a:pt x="415" y="1199"/>
                </a:cubicBezTo>
                <a:cubicBezTo>
                  <a:pt x="414" y="1199"/>
                  <a:pt x="414" y="1199"/>
                  <a:pt x="413" y="1199"/>
                </a:cubicBezTo>
                <a:cubicBezTo>
                  <a:pt x="413" y="1199"/>
                  <a:pt x="413" y="1199"/>
                  <a:pt x="413" y="1199"/>
                </a:cubicBezTo>
                <a:cubicBezTo>
                  <a:pt x="354" y="1175"/>
                  <a:pt x="300" y="1147"/>
                  <a:pt x="253" y="1115"/>
                </a:cubicBezTo>
                <a:cubicBezTo>
                  <a:pt x="189" y="1073"/>
                  <a:pt x="142" y="1028"/>
                  <a:pt x="110" y="981"/>
                </a:cubicBezTo>
                <a:cubicBezTo>
                  <a:pt x="94" y="963"/>
                  <a:pt x="80" y="944"/>
                  <a:pt x="68" y="925"/>
                </a:cubicBezTo>
                <a:cubicBezTo>
                  <a:pt x="33" y="870"/>
                  <a:pt x="13" y="811"/>
                  <a:pt x="11" y="751"/>
                </a:cubicBezTo>
                <a:cubicBezTo>
                  <a:pt x="7" y="768"/>
                  <a:pt x="4" y="785"/>
                  <a:pt x="3" y="802"/>
                </a:cubicBezTo>
                <a:cubicBezTo>
                  <a:pt x="0" y="834"/>
                  <a:pt x="4" y="864"/>
                  <a:pt x="7" y="893"/>
                </a:cubicBezTo>
                <a:cubicBezTo>
                  <a:pt x="8" y="898"/>
                  <a:pt x="9" y="904"/>
                  <a:pt x="9" y="909"/>
                </a:cubicBezTo>
                <a:cubicBezTo>
                  <a:pt x="22" y="1021"/>
                  <a:pt x="22" y="1021"/>
                  <a:pt x="22" y="1021"/>
                </a:cubicBezTo>
                <a:cubicBezTo>
                  <a:pt x="23" y="1025"/>
                  <a:pt x="23" y="1029"/>
                  <a:pt x="24" y="1033"/>
                </a:cubicBezTo>
                <a:cubicBezTo>
                  <a:pt x="25" y="1048"/>
                  <a:pt x="27" y="1064"/>
                  <a:pt x="30" y="1080"/>
                </a:cubicBezTo>
                <a:cubicBezTo>
                  <a:pt x="34" y="1101"/>
                  <a:pt x="40" y="1121"/>
                  <a:pt x="47" y="1140"/>
                </a:cubicBezTo>
                <a:cubicBezTo>
                  <a:pt x="61" y="1175"/>
                  <a:pt x="80" y="1208"/>
                  <a:pt x="103" y="1239"/>
                </a:cubicBezTo>
                <a:cubicBezTo>
                  <a:pt x="146" y="1295"/>
                  <a:pt x="202" y="1344"/>
                  <a:pt x="275" y="1390"/>
                </a:cubicBezTo>
                <a:cubicBezTo>
                  <a:pt x="304" y="1409"/>
                  <a:pt x="335" y="1426"/>
                  <a:pt x="366" y="1441"/>
                </a:cubicBezTo>
                <a:close/>
                <a:moveTo>
                  <a:pt x="64" y="773"/>
                </a:moveTo>
                <a:cubicBezTo>
                  <a:pt x="67" y="798"/>
                  <a:pt x="74" y="823"/>
                  <a:pt x="84" y="848"/>
                </a:cubicBezTo>
                <a:cubicBezTo>
                  <a:pt x="107" y="785"/>
                  <a:pt x="165" y="713"/>
                  <a:pt x="209" y="677"/>
                </a:cubicBezTo>
                <a:cubicBezTo>
                  <a:pt x="272" y="628"/>
                  <a:pt x="353" y="583"/>
                  <a:pt x="451" y="545"/>
                </a:cubicBezTo>
                <a:cubicBezTo>
                  <a:pt x="515" y="521"/>
                  <a:pt x="582" y="501"/>
                  <a:pt x="652" y="486"/>
                </a:cubicBezTo>
                <a:cubicBezTo>
                  <a:pt x="652" y="314"/>
                  <a:pt x="652" y="314"/>
                  <a:pt x="652" y="314"/>
                </a:cubicBezTo>
                <a:cubicBezTo>
                  <a:pt x="640" y="317"/>
                  <a:pt x="627" y="320"/>
                  <a:pt x="615" y="323"/>
                </a:cubicBezTo>
                <a:cubicBezTo>
                  <a:pt x="544" y="340"/>
                  <a:pt x="476" y="361"/>
                  <a:pt x="413" y="386"/>
                </a:cubicBezTo>
                <a:cubicBezTo>
                  <a:pt x="345" y="413"/>
                  <a:pt x="288" y="442"/>
                  <a:pt x="238" y="474"/>
                </a:cubicBezTo>
                <a:cubicBezTo>
                  <a:pt x="204" y="496"/>
                  <a:pt x="178" y="516"/>
                  <a:pt x="153" y="537"/>
                </a:cubicBezTo>
                <a:cubicBezTo>
                  <a:pt x="142" y="547"/>
                  <a:pt x="131" y="556"/>
                  <a:pt x="122" y="566"/>
                </a:cubicBezTo>
                <a:cubicBezTo>
                  <a:pt x="81" y="622"/>
                  <a:pt x="60" y="684"/>
                  <a:pt x="62" y="747"/>
                </a:cubicBezTo>
                <a:cubicBezTo>
                  <a:pt x="62" y="756"/>
                  <a:pt x="63" y="764"/>
                  <a:pt x="64" y="773"/>
                </a:cubicBezTo>
                <a:close/>
                <a:moveTo>
                  <a:pt x="1928" y="693"/>
                </a:moveTo>
                <a:cubicBezTo>
                  <a:pt x="1966" y="727"/>
                  <a:pt x="2007" y="795"/>
                  <a:pt x="2021" y="856"/>
                </a:cubicBezTo>
                <a:cubicBezTo>
                  <a:pt x="2034" y="828"/>
                  <a:pt x="2042" y="798"/>
                  <a:pt x="2045" y="768"/>
                </a:cubicBezTo>
                <a:cubicBezTo>
                  <a:pt x="2046" y="761"/>
                  <a:pt x="2047" y="754"/>
                  <a:pt x="2047" y="747"/>
                </a:cubicBezTo>
                <a:cubicBezTo>
                  <a:pt x="2049" y="670"/>
                  <a:pt x="2018" y="595"/>
                  <a:pt x="1958" y="530"/>
                </a:cubicBezTo>
                <a:cubicBezTo>
                  <a:pt x="1924" y="501"/>
                  <a:pt x="1884" y="473"/>
                  <a:pt x="1839" y="447"/>
                </a:cubicBezTo>
                <a:cubicBezTo>
                  <a:pt x="1782" y="415"/>
                  <a:pt x="1718" y="387"/>
                  <a:pt x="1639" y="359"/>
                </a:cubicBezTo>
                <a:cubicBezTo>
                  <a:pt x="1584" y="340"/>
                  <a:pt x="1524" y="324"/>
                  <a:pt x="1457" y="310"/>
                </a:cubicBezTo>
                <a:cubicBezTo>
                  <a:pt x="1457" y="482"/>
                  <a:pt x="1457" y="482"/>
                  <a:pt x="1457" y="482"/>
                </a:cubicBezTo>
                <a:cubicBezTo>
                  <a:pt x="1542" y="500"/>
                  <a:pt x="1625" y="525"/>
                  <a:pt x="1700" y="556"/>
                </a:cubicBezTo>
                <a:cubicBezTo>
                  <a:pt x="1795" y="595"/>
                  <a:pt x="1871" y="642"/>
                  <a:pt x="1928" y="693"/>
                </a:cubicBezTo>
                <a:close/>
                <a:moveTo>
                  <a:pt x="1054" y="814"/>
                </a:moveTo>
                <a:cubicBezTo>
                  <a:pt x="1186" y="814"/>
                  <a:pt x="1408" y="789"/>
                  <a:pt x="1408" y="696"/>
                </a:cubicBezTo>
                <a:cubicBezTo>
                  <a:pt x="1408" y="118"/>
                  <a:pt x="1408" y="118"/>
                  <a:pt x="1408" y="118"/>
                </a:cubicBezTo>
                <a:cubicBezTo>
                  <a:pt x="1408" y="25"/>
                  <a:pt x="1186" y="0"/>
                  <a:pt x="1054" y="0"/>
                </a:cubicBezTo>
                <a:cubicBezTo>
                  <a:pt x="923" y="0"/>
                  <a:pt x="701" y="25"/>
                  <a:pt x="701" y="118"/>
                </a:cubicBezTo>
                <a:cubicBezTo>
                  <a:pt x="701" y="696"/>
                  <a:pt x="701" y="696"/>
                  <a:pt x="701" y="696"/>
                </a:cubicBezTo>
                <a:cubicBezTo>
                  <a:pt x="701" y="789"/>
                  <a:pt x="923" y="814"/>
                  <a:pt x="1054" y="814"/>
                </a:cubicBezTo>
                <a:close/>
                <a:moveTo>
                  <a:pt x="1054" y="35"/>
                </a:moveTo>
                <a:cubicBezTo>
                  <a:pt x="1219" y="35"/>
                  <a:pt x="1352" y="71"/>
                  <a:pt x="1352" y="116"/>
                </a:cubicBezTo>
                <a:cubicBezTo>
                  <a:pt x="1352" y="161"/>
                  <a:pt x="1219" y="197"/>
                  <a:pt x="1054" y="197"/>
                </a:cubicBezTo>
                <a:cubicBezTo>
                  <a:pt x="890" y="197"/>
                  <a:pt x="757" y="161"/>
                  <a:pt x="757" y="116"/>
                </a:cubicBezTo>
                <a:cubicBezTo>
                  <a:pt x="757" y="71"/>
                  <a:pt x="890" y="35"/>
                  <a:pt x="1054" y="3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>
              <a:solidFill>
                <a:srgbClr val="66747C"/>
              </a:solidFill>
            </a:endParaRPr>
          </a:p>
        </p:txBody>
      </p:sp>
      <p:pic>
        <p:nvPicPr>
          <p:cNvPr id="62" name="Picture 6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47591" y="3398708"/>
            <a:ext cx="356560" cy="418369"/>
          </a:xfrm>
          <a:prstGeom prst="rect">
            <a:avLst/>
          </a:prstGeom>
        </p:spPr>
      </p:pic>
      <p:pic>
        <p:nvPicPr>
          <p:cNvPr id="63" name="Picture 4"/>
          <p:cNvPicPr>
            <a:picLocks noChangeAspect="1"/>
          </p:cNvPicPr>
          <p:nvPr/>
        </p:nvPicPr>
        <p:blipFill>
          <a:blip r:embed="rId12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39458" y="3388201"/>
            <a:ext cx="288979" cy="397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3"/>
          <p:cNvPicPr>
            <a:picLocks noChangeAspect="1"/>
          </p:cNvPicPr>
          <p:nvPr/>
        </p:nvPicPr>
        <p:blipFill>
          <a:blip r:embed="rId13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36689" y="3403606"/>
            <a:ext cx="183308" cy="469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46"/>
          <p:cNvPicPr>
            <a:picLocks noChangeAspect="1"/>
          </p:cNvPicPr>
          <p:nvPr/>
        </p:nvPicPr>
        <p:blipFill>
          <a:blip r:embed="rId14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8895" y="4704674"/>
            <a:ext cx="338785" cy="4281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20"/>
          <p:cNvPicPr>
            <a:picLocks noChangeAspect="1"/>
          </p:cNvPicPr>
          <p:nvPr/>
        </p:nvPicPr>
        <p:blipFill>
          <a:blip r:embed="rId15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85542" y="4687188"/>
            <a:ext cx="395867" cy="459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2325216" y="4695279"/>
            <a:ext cx="367385" cy="479641"/>
          </a:xfrm>
          <a:prstGeom prst="rect">
            <a:avLst/>
          </a:prstGeom>
        </p:spPr>
      </p:pic>
      <p:pic>
        <p:nvPicPr>
          <p:cNvPr id="68" name="Picture 17"/>
          <p:cNvPicPr>
            <a:picLocks noChangeAspect="1"/>
          </p:cNvPicPr>
          <p:nvPr/>
        </p:nvPicPr>
        <p:blipFill>
          <a:blip r:embed="rId17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20643" y="4683170"/>
            <a:ext cx="420626" cy="377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1"/>
          <p:cNvPicPr>
            <a:picLocks noChangeAspect="1"/>
          </p:cNvPicPr>
          <p:nvPr/>
        </p:nvPicPr>
        <p:blipFill>
          <a:blip r:embed="rId18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82935" y="4608280"/>
            <a:ext cx="363226" cy="497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26"/>
          <p:cNvPicPr>
            <a:picLocks noChangeAspect="1"/>
          </p:cNvPicPr>
          <p:nvPr/>
        </p:nvPicPr>
        <p:blipFill>
          <a:blip r:embed="rId19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44655" y="4683170"/>
            <a:ext cx="303070" cy="427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Picture 14"/>
          <p:cNvPicPr>
            <a:picLocks noChangeAspect="1"/>
          </p:cNvPicPr>
          <p:nvPr/>
        </p:nvPicPr>
        <p:blipFill>
          <a:blip r:embed="rId20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88555" y="2204467"/>
            <a:ext cx="307928" cy="466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7"/>
          <p:cNvPicPr>
            <a:picLocks noChangeAspect="1"/>
          </p:cNvPicPr>
          <p:nvPr/>
        </p:nvPicPr>
        <p:blipFill>
          <a:blip r:embed="rId21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586449" y="3385427"/>
            <a:ext cx="422801" cy="410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3"/>
          <p:cNvPicPr>
            <a:picLocks noChangeAspect="1"/>
          </p:cNvPicPr>
          <p:nvPr/>
        </p:nvPicPr>
        <p:blipFill>
          <a:blip r:embed="rId22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84279" y="5926821"/>
            <a:ext cx="310769" cy="436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4479061" y="5907088"/>
            <a:ext cx="419327" cy="385097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5418881" y="5904495"/>
            <a:ext cx="284033" cy="466106"/>
          </a:xfrm>
          <a:prstGeom prst="rect">
            <a:avLst/>
          </a:prstGeom>
        </p:spPr>
      </p:pic>
      <p:pic>
        <p:nvPicPr>
          <p:cNvPr id="76" name="Picture 6"/>
          <p:cNvPicPr>
            <a:picLocks noChangeAspect="1"/>
          </p:cNvPicPr>
          <p:nvPr/>
        </p:nvPicPr>
        <p:blipFill>
          <a:blip r:embed="rId25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07151" y="5921364"/>
            <a:ext cx="305233" cy="444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26" cstate="print"/>
          <a:stretch>
            <a:fillRect/>
          </a:stretch>
        </p:blipFill>
        <p:spPr>
          <a:xfrm>
            <a:off x="5523105" y="3374359"/>
            <a:ext cx="192046" cy="411756"/>
          </a:xfrm>
          <a:prstGeom prst="rect">
            <a:avLst/>
          </a:prstGeom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669356" y="2197890"/>
            <a:ext cx="418061" cy="417619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28" cstate="print"/>
          <a:stretch>
            <a:fillRect/>
          </a:stretch>
        </p:blipFill>
        <p:spPr>
          <a:xfrm>
            <a:off x="4340805" y="983591"/>
            <a:ext cx="335808" cy="438729"/>
          </a:xfrm>
          <a:prstGeom prst="rect">
            <a:avLst/>
          </a:prstGeom>
        </p:spPr>
      </p:pic>
      <p:pic>
        <p:nvPicPr>
          <p:cNvPr id="80" name="Picture 79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7617144" y="2188176"/>
            <a:ext cx="383167" cy="441223"/>
          </a:xfrm>
          <a:prstGeom prst="rect">
            <a:avLst/>
          </a:prstGeom>
        </p:spPr>
      </p:pic>
      <p:pic>
        <p:nvPicPr>
          <p:cNvPr id="81" name="Picture 80"/>
          <p:cNvPicPr>
            <a:picLocks noChangeAspect="1"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4624365" y="3398236"/>
            <a:ext cx="311120" cy="418841"/>
          </a:xfrm>
          <a:prstGeom prst="rect">
            <a:avLst/>
          </a:prstGeom>
        </p:spPr>
      </p:pic>
      <p:pic>
        <p:nvPicPr>
          <p:cNvPr id="82" name="Picture 81"/>
          <p:cNvPicPr>
            <a:picLocks noChangeAspect="1"/>
          </p:cNvPicPr>
          <p:nvPr/>
        </p:nvPicPr>
        <p:blipFill>
          <a:blip r:embed="rId31" cstate="print"/>
          <a:stretch>
            <a:fillRect/>
          </a:stretch>
        </p:blipFill>
        <p:spPr>
          <a:xfrm>
            <a:off x="6948401" y="5904495"/>
            <a:ext cx="399915" cy="510640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32" cstate="print"/>
          <a:stretch>
            <a:fillRect/>
          </a:stretch>
        </p:blipFill>
        <p:spPr>
          <a:xfrm>
            <a:off x="1653086" y="957080"/>
            <a:ext cx="230367" cy="458464"/>
          </a:xfrm>
          <a:prstGeom prst="rect">
            <a:avLst/>
          </a:prstGeom>
        </p:spPr>
      </p:pic>
      <p:pic>
        <p:nvPicPr>
          <p:cNvPr id="84" name="Picture 5"/>
          <p:cNvPicPr>
            <a:picLocks noChangeAspect="1"/>
          </p:cNvPicPr>
          <p:nvPr/>
        </p:nvPicPr>
        <p:blipFill>
          <a:blip r:embed="rId33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9643" y="5916688"/>
            <a:ext cx="384671" cy="447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6"/>
          <p:cNvPicPr>
            <a:picLocks noChangeAspect="1"/>
          </p:cNvPicPr>
          <p:nvPr/>
        </p:nvPicPr>
        <p:blipFill>
          <a:blip r:embed="rId34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13954" y="5916688"/>
            <a:ext cx="385241" cy="445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" name="Picture 7"/>
          <p:cNvPicPr>
            <a:picLocks noChangeAspect="1"/>
          </p:cNvPicPr>
          <p:nvPr/>
        </p:nvPicPr>
        <p:blipFill>
          <a:blip r:embed="rId35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88277" y="5916688"/>
            <a:ext cx="386562" cy="446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36" cstate="print"/>
          <a:stretch>
            <a:fillRect/>
          </a:stretch>
        </p:blipFill>
        <p:spPr>
          <a:xfrm>
            <a:off x="2862158" y="5916691"/>
            <a:ext cx="387899" cy="449233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37" cstate="print"/>
          <a:stretch>
            <a:fillRect/>
          </a:stretch>
        </p:blipFill>
        <p:spPr>
          <a:xfrm>
            <a:off x="1588295" y="2209031"/>
            <a:ext cx="316907" cy="470791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38" cstate="print"/>
          <a:stretch>
            <a:fillRect/>
          </a:stretch>
        </p:blipFill>
        <p:spPr>
          <a:xfrm>
            <a:off x="2245527" y="2183587"/>
            <a:ext cx="474276" cy="505060"/>
          </a:xfrm>
          <a:prstGeom prst="rect">
            <a:avLst/>
          </a:prstGeom>
        </p:spPr>
      </p:pic>
      <p:pic>
        <p:nvPicPr>
          <p:cNvPr id="90" name="Picture 89"/>
          <p:cNvPicPr>
            <a:picLocks noChangeAspect="1"/>
          </p:cNvPicPr>
          <p:nvPr/>
        </p:nvPicPr>
        <p:blipFill>
          <a:blip r:embed="rId39" cstate="print"/>
          <a:stretch>
            <a:fillRect/>
          </a:stretch>
        </p:blipFill>
        <p:spPr>
          <a:xfrm>
            <a:off x="970890" y="3398235"/>
            <a:ext cx="361954" cy="482605"/>
          </a:xfrm>
          <a:prstGeom prst="rect">
            <a:avLst/>
          </a:prstGeom>
        </p:spPr>
      </p:pic>
      <p:pic>
        <p:nvPicPr>
          <p:cNvPr id="91" name="Picture 90"/>
          <p:cNvPicPr>
            <a:picLocks noChangeAspect="1"/>
          </p:cNvPicPr>
          <p:nvPr/>
        </p:nvPicPr>
        <p:blipFill>
          <a:blip r:embed="rId40" cstate="print"/>
          <a:stretch>
            <a:fillRect/>
          </a:stretch>
        </p:blipFill>
        <p:spPr>
          <a:xfrm>
            <a:off x="1658167" y="3398233"/>
            <a:ext cx="237764" cy="477848"/>
          </a:xfrm>
          <a:prstGeom prst="rect">
            <a:avLst/>
          </a:prstGeom>
        </p:spPr>
      </p:pic>
      <p:pic>
        <p:nvPicPr>
          <p:cNvPr id="92" name="Picture 91"/>
          <p:cNvPicPr>
            <a:picLocks noChangeAspect="1"/>
          </p:cNvPicPr>
          <p:nvPr/>
        </p:nvPicPr>
        <p:blipFill>
          <a:blip r:embed="rId41" cstate="print"/>
          <a:stretch>
            <a:fillRect/>
          </a:stretch>
        </p:blipFill>
        <p:spPr>
          <a:xfrm>
            <a:off x="2220917" y="3398233"/>
            <a:ext cx="327191" cy="482500"/>
          </a:xfrm>
          <a:prstGeom prst="rect">
            <a:avLst/>
          </a:prstGeom>
        </p:spPr>
      </p:pic>
      <p:pic>
        <p:nvPicPr>
          <p:cNvPr id="93" name="Picture 92"/>
          <p:cNvPicPr>
            <a:picLocks noChangeAspect="1"/>
          </p:cNvPicPr>
          <p:nvPr/>
        </p:nvPicPr>
        <p:blipFill>
          <a:blip r:embed="rId42" cstate="print"/>
          <a:stretch>
            <a:fillRect/>
          </a:stretch>
        </p:blipFill>
        <p:spPr>
          <a:xfrm>
            <a:off x="2873094" y="3398235"/>
            <a:ext cx="338188" cy="469065"/>
          </a:xfrm>
          <a:prstGeom prst="rect">
            <a:avLst/>
          </a:prstGeom>
        </p:spPr>
      </p:pic>
      <p:sp>
        <p:nvSpPr>
          <p:cNvPr id="94" name="TextBox 93"/>
          <p:cNvSpPr txBox="1"/>
          <p:nvPr/>
        </p:nvSpPr>
        <p:spPr>
          <a:xfrm>
            <a:off x="861212" y="3879462"/>
            <a:ext cx="58131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597"/>
            <a:r>
              <a:rPr lang="en-US" altLang="zh-CN" sz="1100" dirty="0" smtClean="0">
                <a:solidFill>
                  <a:srgbClr val="FFFFFF"/>
                </a:solidFill>
              </a:rPr>
              <a:t>Web App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1430059" y="3879462"/>
            <a:ext cx="69557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597"/>
            <a:r>
              <a:rPr lang="en-US" altLang="zh-CN" sz="1100" dirty="0" smtClean="0">
                <a:solidFill>
                  <a:srgbClr val="FFFFFF"/>
                </a:solidFill>
              </a:rPr>
              <a:t>Mobile App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2122493" y="3879462"/>
            <a:ext cx="51585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597"/>
            <a:r>
              <a:rPr lang="en-US" altLang="zh-CN" sz="1100" dirty="0" smtClean="0">
                <a:solidFill>
                  <a:srgbClr val="FFFFFF"/>
                </a:solidFill>
              </a:rPr>
              <a:t>API App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2663782" y="3879462"/>
            <a:ext cx="69557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597"/>
            <a:r>
              <a:rPr lang="en-US" altLang="zh-CN" sz="1100" dirty="0" smtClean="0">
                <a:solidFill>
                  <a:srgbClr val="FFFFFF"/>
                </a:solidFill>
              </a:rPr>
              <a:t>Logic App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741760" y="6413759"/>
            <a:ext cx="5813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597"/>
            <a:r>
              <a:rPr lang="en-US" altLang="zh-CN" sz="1100" dirty="0" smtClean="0">
                <a:solidFill>
                  <a:srgbClr val="FFFFFF"/>
                </a:solidFill>
              </a:rPr>
              <a:t>Blobs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1362043" y="6413759"/>
            <a:ext cx="6955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597"/>
            <a:r>
              <a:rPr lang="en-US" altLang="zh-CN" sz="1100" dirty="0" smtClean="0">
                <a:solidFill>
                  <a:srgbClr val="FFFFFF"/>
                </a:solidFill>
              </a:rPr>
              <a:t>Tables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2113054" y="6381328"/>
            <a:ext cx="6587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597"/>
            <a:r>
              <a:rPr lang="en-US" altLang="zh-CN" sz="1100" dirty="0" smtClean="0">
                <a:solidFill>
                  <a:srgbClr val="FFFFFF"/>
                </a:solidFill>
              </a:rPr>
              <a:t>Queues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2770073" y="6413759"/>
            <a:ext cx="5696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597"/>
            <a:r>
              <a:rPr lang="en-US" altLang="zh-CN" sz="1100" dirty="0" smtClean="0">
                <a:solidFill>
                  <a:srgbClr val="FFFFFF"/>
                </a:solidFill>
              </a:rPr>
              <a:t>Files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 rot="16200000">
            <a:off x="5225650" y="1199443"/>
            <a:ext cx="11012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468"/>
            <a:r>
              <a:rPr lang="en-US" sz="1400" dirty="0" smtClean="0">
                <a:solidFill>
                  <a:srgbClr val="FFFFFF"/>
                </a:solidFill>
                <a:cs typeface="Segoe UI" panose="020B0502040204020203" pitchFamily="34" charset="0"/>
              </a:rPr>
              <a:t>Marketplace</a:t>
            </a:r>
            <a:endParaRPr lang="en-US" sz="1400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5724128" y="916349"/>
            <a:ext cx="3419873" cy="8986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pic>
        <p:nvPicPr>
          <p:cNvPr id="104" name="Picture 103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056710" y="1025253"/>
            <a:ext cx="640634" cy="640633"/>
          </a:xfrm>
          <a:prstGeom prst="rect">
            <a:avLst/>
          </a:prstGeom>
        </p:spPr>
      </p:pic>
      <p:pic>
        <p:nvPicPr>
          <p:cNvPr id="105" name="Picture 104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99660" y="1362229"/>
            <a:ext cx="899435" cy="399748"/>
          </a:xfrm>
          <a:prstGeom prst="rect">
            <a:avLst/>
          </a:prstGeom>
        </p:spPr>
      </p:pic>
      <p:sp>
        <p:nvSpPr>
          <p:cNvPr id="106" name="TextBox 105"/>
          <p:cNvSpPr txBox="1"/>
          <p:nvPr/>
        </p:nvSpPr>
        <p:spPr>
          <a:xfrm>
            <a:off x="8685610" y="934434"/>
            <a:ext cx="5813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2597"/>
            <a:r>
              <a:rPr lang="en-US" altLang="zh-CN" sz="3200" dirty="0" smtClean="0">
                <a:solidFill>
                  <a:srgbClr val="FFFFFF">
                    <a:lumMod val="50000"/>
                  </a:srgbClr>
                </a:solidFill>
              </a:rPr>
              <a:t>…</a:t>
            </a:r>
            <a:endParaRPr lang="en-US" sz="32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07" name="Picture 2" descr="SendGrid logo"/>
          <p:cNvPicPr>
            <a:picLocks noChangeAspect="1" noChangeArrowheads="1"/>
          </p:cNvPicPr>
          <p:nvPr/>
        </p:nvPicPr>
        <p:blipFill>
          <a:blip r:embed="rId45" cstate="print">
            <a:duotone>
              <a:prstClr val="black"/>
              <a:srgbClr val="080808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85510" y="1229726"/>
            <a:ext cx="880433" cy="674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4" descr="logoappdynamics"/>
          <p:cNvPicPr>
            <a:picLocks noChangeAspect="1" noChangeArrowheads="1"/>
          </p:cNvPicPr>
          <p:nvPr/>
        </p:nvPicPr>
        <p:blipFill>
          <a:blip r:embed="rId46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99711" y="1025253"/>
            <a:ext cx="1103705" cy="279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9" name="Rectangle 108"/>
          <p:cNvSpPr/>
          <p:nvPr/>
        </p:nvSpPr>
        <p:spPr>
          <a:xfrm>
            <a:off x="7507955" y="5851894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Data Lake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8309114" y="5851894"/>
            <a:ext cx="834886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Data Warehouse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3707510" y="4623662"/>
            <a:ext cx="792482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RemoteApp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pic>
        <p:nvPicPr>
          <p:cNvPr id="112" name="Picture 111"/>
          <p:cNvPicPr>
            <a:picLocks noChangeAspect="1"/>
          </p:cNvPicPr>
          <p:nvPr/>
        </p:nvPicPr>
        <p:blipFill>
          <a:blip r:embed="rId47" cstate="print"/>
          <a:stretch>
            <a:fillRect/>
          </a:stretch>
        </p:blipFill>
        <p:spPr>
          <a:xfrm>
            <a:off x="3992950" y="4670452"/>
            <a:ext cx="342213" cy="451868"/>
          </a:xfrm>
          <a:prstGeom prst="rect">
            <a:avLst/>
          </a:prstGeom>
        </p:spPr>
      </p:pic>
      <p:sp>
        <p:nvSpPr>
          <p:cNvPr id="113" name="Rectangle 112"/>
          <p:cNvSpPr/>
          <p:nvPr/>
        </p:nvSpPr>
        <p:spPr>
          <a:xfrm>
            <a:off x="7135652" y="4623662"/>
            <a:ext cx="675000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DNS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7946252" y="4623662"/>
            <a:ext cx="802211" cy="90000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b"/>
          <a:lstStyle/>
          <a:p>
            <a:pPr defTabSz="932468"/>
            <a:r>
              <a:rPr lang="en-US" sz="1122" dirty="0" smtClean="0">
                <a:solidFill>
                  <a:srgbClr val="FFFFFF"/>
                </a:solidFill>
                <a:cs typeface="Segoe UI" panose="020B0502040204020203" pitchFamily="34" charset="0"/>
              </a:rPr>
              <a:t>Application Gateway</a:t>
            </a:r>
            <a:endParaRPr lang="en-US" sz="1122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pic>
        <p:nvPicPr>
          <p:cNvPr id="115" name="Picture 114"/>
          <p:cNvPicPr>
            <a:picLocks noChangeAspect="1"/>
          </p:cNvPicPr>
          <p:nvPr/>
        </p:nvPicPr>
        <p:blipFill>
          <a:blip r:embed="rId48" cstate="print"/>
          <a:stretch>
            <a:fillRect/>
          </a:stretch>
        </p:blipFill>
        <p:spPr>
          <a:xfrm>
            <a:off x="8223886" y="4683170"/>
            <a:ext cx="335607" cy="446086"/>
          </a:xfrm>
          <a:prstGeom prst="rect">
            <a:avLst/>
          </a:prstGeom>
        </p:spPr>
      </p:pic>
      <p:sp>
        <p:nvSpPr>
          <p:cNvPr id="117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TextBox 117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Microsoft Azure Service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08993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/>
          <p:cNvSpPr/>
          <p:nvPr/>
        </p:nvSpPr>
        <p:spPr>
          <a:xfrm>
            <a:off x="0" y="2952328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TextBox 3"/>
          <p:cNvSpPr txBox="1"/>
          <p:nvPr/>
        </p:nvSpPr>
        <p:spPr>
          <a:xfrm>
            <a:off x="0" y="3060249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Microsoft Azure  Service Models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4151451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6055775" y="6208309"/>
            <a:ext cx="2618509" cy="605301"/>
          </a:xfrm>
          <a:custGeom>
            <a:avLst/>
            <a:gdLst/>
            <a:ahLst/>
            <a:cxnLst/>
            <a:rect l="l" t="t" r="r" b="b"/>
            <a:pathLst>
              <a:path w="3560445" h="680085">
                <a:moveTo>
                  <a:pt x="0" y="679704"/>
                </a:moveTo>
                <a:lnTo>
                  <a:pt x="3560064" y="679704"/>
                </a:lnTo>
                <a:lnTo>
                  <a:pt x="3560064" y="0"/>
                </a:lnTo>
                <a:lnTo>
                  <a:pt x="0" y="0"/>
                </a:lnTo>
                <a:lnTo>
                  <a:pt x="0" y="679704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6055775" y="3645024"/>
            <a:ext cx="2618509" cy="2494818"/>
          </a:xfrm>
          <a:custGeom>
            <a:avLst/>
            <a:gdLst/>
            <a:ahLst/>
            <a:cxnLst/>
            <a:rect l="l" t="t" r="r" b="b"/>
            <a:pathLst>
              <a:path w="3560445" h="3200400">
                <a:moveTo>
                  <a:pt x="0" y="3200399"/>
                </a:moveTo>
                <a:lnTo>
                  <a:pt x="3560064" y="3200399"/>
                </a:lnTo>
                <a:lnTo>
                  <a:pt x="3560064" y="0"/>
                </a:lnTo>
                <a:lnTo>
                  <a:pt x="0" y="0"/>
                </a:lnTo>
                <a:lnTo>
                  <a:pt x="0" y="3200399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7000625" y="3758886"/>
            <a:ext cx="661281" cy="111027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143198" y="5695103"/>
            <a:ext cx="2443381" cy="328366"/>
          </a:xfrm>
          <a:custGeom>
            <a:avLst/>
            <a:gdLst/>
            <a:ahLst/>
            <a:cxnLst/>
            <a:rect l="l" t="t" r="r" b="b"/>
            <a:pathLst>
              <a:path w="3322320" h="368935">
                <a:moveTo>
                  <a:pt x="0" y="368807"/>
                </a:moveTo>
                <a:lnTo>
                  <a:pt x="3322320" y="368807"/>
                </a:lnTo>
                <a:lnTo>
                  <a:pt x="3322320" y="0"/>
                </a:lnTo>
                <a:lnTo>
                  <a:pt x="0" y="0"/>
                </a:lnTo>
                <a:lnTo>
                  <a:pt x="0" y="368807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475987" y="5748464"/>
            <a:ext cx="707049" cy="172943"/>
          </a:xfrm>
          <a:custGeom>
            <a:avLst/>
            <a:gdLst/>
            <a:ahLst/>
            <a:cxnLst/>
            <a:rect l="l" t="t" r="r" b="b"/>
            <a:pathLst>
              <a:path w="961390" h="194310">
                <a:moveTo>
                  <a:pt x="0" y="159385"/>
                </a:moveTo>
                <a:lnTo>
                  <a:pt x="0" y="183895"/>
                </a:lnTo>
                <a:lnTo>
                  <a:pt x="2285" y="185547"/>
                </a:lnTo>
                <a:lnTo>
                  <a:pt x="34162" y="193420"/>
                </a:lnTo>
                <a:lnTo>
                  <a:pt x="38353" y="193929"/>
                </a:lnTo>
                <a:lnTo>
                  <a:pt x="41782" y="194182"/>
                </a:lnTo>
                <a:lnTo>
                  <a:pt x="53085" y="194182"/>
                </a:lnTo>
                <a:lnTo>
                  <a:pt x="94741" y="179450"/>
                </a:lnTo>
                <a:lnTo>
                  <a:pt x="98597" y="175387"/>
                </a:lnTo>
                <a:lnTo>
                  <a:pt x="44069" y="175387"/>
                </a:lnTo>
                <a:lnTo>
                  <a:pt x="40004" y="175006"/>
                </a:lnTo>
                <a:lnTo>
                  <a:pt x="10159" y="165988"/>
                </a:lnTo>
                <a:lnTo>
                  <a:pt x="6223" y="164083"/>
                </a:lnTo>
                <a:lnTo>
                  <a:pt x="2794" y="161798"/>
                </a:lnTo>
                <a:lnTo>
                  <a:pt x="0" y="159385"/>
                </a:lnTo>
                <a:close/>
              </a:path>
              <a:path w="961390" h="194310">
                <a:moveTo>
                  <a:pt x="62102" y="9906"/>
                </a:moveTo>
                <a:lnTo>
                  <a:pt x="54482" y="9906"/>
                </a:lnTo>
                <a:lnTo>
                  <a:pt x="46862" y="10922"/>
                </a:lnTo>
                <a:lnTo>
                  <a:pt x="9144" y="30352"/>
                </a:lnTo>
                <a:lnTo>
                  <a:pt x="253" y="49402"/>
                </a:lnTo>
                <a:lnTo>
                  <a:pt x="253" y="64135"/>
                </a:lnTo>
                <a:lnTo>
                  <a:pt x="13080" y="88137"/>
                </a:lnTo>
                <a:lnTo>
                  <a:pt x="17018" y="92075"/>
                </a:lnTo>
                <a:lnTo>
                  <a:pt x="21716" y="95631"/>
                </a:lnTo>
                <a:lnTo>
                  <a:pt x="27050" y="98806"/>
                </a:lnTo>
                <a:lnTo>
                  <a:pt x="38226" y="105282"/>
                </a:lnTo>
                <a:lnTo>
                  <a:pt x="44450" y="108331"/>
                </a:lnTo>
                <a:lnTo>
                  <a:pt x="55879" y="114173"/>
                </a:lnTo>
                <a:lnTo>
                  <a:pt x="60959" y="116839"/>
                </a:lnTo>
                <a:lnTo>
                  <a:pt x="66039" y="119633"/>
                </a:lnTo>
                <a:lnTo>
                  <a:pt x="70484" y="122427"/>
                </a:lnTo>
                <a:lnTo>
                  <a:pt x="74168" y="125349"/>
                </a:lnTo>
                <a:lnTo>
                  <a:pt x="77977" y="128269"/>
                </a:lnTo>
                <a:lnTo>
                  <a:pt x="80899" y="131572"/>
                </a:lnTo>
                <a:lnTo>
                  <a:pt x="82930" y="135127"/>
                </a:lnTo>
                <a:lnTo>
                  <a:pt x="85089" y="138683"/>
                </a:lnTo>
                <a:lnTo>
                  <a:pt x="86105" y="142875"/>
                </a:lnTo>
                <a:lnTo>
                  <a:pt x="86105" y="156591"/>
                </a:lnTo>
                <a:lnTo>
                  <a:pt x="47878" y="175387"/>
                </a:lnTo>
                <a:lnTo>
                  <a:pt x="98597" y="175387"/>
                </a:lnTo>
                <a:lnTo>
                  <a:pt x="99440" y="174498"/>
                </a:lnTo>
                <a:lnTo>
                  <a:pt x="102870" y="168529"/>
                </a:lnTo>
                <a:lnTo>
                  <a:pt x="106299" y="162432"/>
                </a:lnTo>
                <a:lnTo>
                  <a:pt x="107950" y="154939"/>
                </a:lnTo>
                <a:lnTo>
                  <a:pt x="107950" y="139573"/>
                </a:lnTo>
                <a:lnTo>
                  <a:pt x="106679" y="133604"/>
                </a:lnTo>
                <a:lnTo>
                  <a:pt x="104022" y="128269"/>
                </a:lnTo>
                <a:lnTo>
                  <a:pt x="101726" y="123317"/>
                </a:lnTo>
                <a:lnTo>
                  <a:pt x="67182" y="96138"/>
                </a:lnTo>
                <a:lnTo>
                  <a:pt x="49022" y="87122"/>
                </a:lnTo>
                <a:lnTo>
                  <a:pt x="44323" y="84581"/>
                </a:lnTo>
                <a:lnTo>
                  <a:pt x="22098" y="60198"/>
                </a:lnTo>
                <a:lnTo>
                  <a:pt x="22098" y="50800"/>
                </a:lnTo>
                <a:lnTo>
                  <a:pt x="23240" y="46608"/>
                </a:lnTo>
                <a:lnTo>
                  <a:pt x="25526" y="43306"/>
                </a:lnTo>
                <a:lnTo>
                  <a:pt x="27685" y="39877"/>
                </a:lnTo>
                <a:lnTo>
                  <a:pt x="55499" y="28829"/>
                </a:lnTo>
                <a:lnTo>
                  <a:pt x="100583" y="28829"/>
                </a:lnTo>
                <a:lnTo>
                  <a:pt x="100583" y="16256"/>
                </a:lnTo>
                <a:lnTo>
                  <a:pt x="93624" y="13495"/>
                </a:lnTo>
                <a:lnTo>
                  <a:pt x="84915" y="11509"/>
                </a:lnTo>
                <a:lnTo>
                  <a:pt x="74420" y="10308"/>
                </a:lnTo>
                <a:lnTo>
                  <a:pt x="62102" y="9906"/>
                </a:lnTo>
                <a:close/>
              </a:path>
              <a:path w="961390" h="194310">
                <a:moveTo>
                  <a:pt x="100583" y="28829"/>
                </a:moveTo>
                <a:lnTo>
                  <a:pt x="60071" y="28829"/>
                </a:lnTo>
                <a:lnTo>
                  <a:pt x="71830" y="29517"/>
                </a:lnTo>
                <a:lnTo>
                  <a:pt x="82518" y="31575"/>
                </a:lnTo>
                <a:lnTo>
                  <a:pt x="92110" y="34990"/>
                </a:lnTo>
                <a:lnTo>
                  <a:pt x="100583" y="39750"/>
                </a:lnTo>
                <a:lnTo>
                  <a:pt x="100583" y="28829"/>
                </a:lnTo>
                <a:close/>
              </a:path>
              <a:path w="961390" h="194310">
                <a:moveTo>
                  <a:pt x="197357" y="60960"/>
                </a:moveTo>
                <a:lnTo>
                  <a:pt x="159531" y="71032"/>
                </a:lnTo>
                <a:lnTo>
                  <a:pt x="133681" y="113889"/>
                </a:lnTo>
                <a:lnTo>
                  <a:pt x="132587" y="129031"/>
                </a:lnTo>
                <a:lnTo>
                  <a:pt x="133635" y="143003"/>
                </a:lnTo>
                <a:lnTo>
                  <a:pt x="158468" y="184110"/>
                </a:lnTo>
                <a:lnTo>
                  <a:pt x="194436" y="194182"/>
                </a:lnTo>
                <a:lnTo>
                  <a:pt x="208176" y="193020"/>
                </a:lnTo>
                <a:lnTo>
                  <a:pt x="220440" y="189547"/>
                </a:lnTo>
                <a:lnTo>
                  <a:pt x="231227" y="183788"/>
                </a:lnTo>
                <a:lnTo>
                  <a:pt x="239063" y="177037"/>
                </a:lnTo>
                <a:lnTo>
                  <a:pt x="195960" y="177037"/>
                </a:lnTo>
                <a:lnTo>
                  <a:pt x="186743" y="176208"/>
                </a:lnTo>
                <a:lnTo>
                  <a:pt x="156289" y="148494"/>
                </a:lnTo>
                <a:lnTo>
                  <a:pt x="153466" y="129031"/>
                </a:lnTo>
                <a:lnTo>
                  <a:pt x="153497" y="127000"/>
                </a:lnTo>
                <a:lnTo>
                  <a:pt x="171065" y="85605"/>
                </a:lnTo>
                <a:lnTo>
                  <a:pt x="195960" y="78105"/>
                </a:lnTo>
                <a:lnTo>
                  <a:pt x="241372" y="78105"/>
                </a:lnTo>
                <a:lnTo>
                  <a:pt x="233041" y="70818"/>
                </a:lnTo>
                <a:lnTo>
                  <a:pt x="222726" y="65341"/>
                </a:lnTo>
                <a:lnTo>
                  <a:pt x="210839" y="62055"/>
                </a:lnTo>
                <a:lnTo>
                  <a:pt x="197357" y="60960"/>
                </a:lnTo>
                <a:close/>
              </a:path>
              <a:path w="961390" h="194310">
                <a:moveTo>
                  <a:pt x="241372" y="78105"/>
                </a:moveTo>
                <a:lnTo>
                  <a:pt x="195960" y="78105"/>
                </a:lnTo>
                <a:lnTo>
                  <a:pt x="205222" y="78912"/>
                </a:lnTo>
                <a:lnTo>
                  <a:pt x="213375" y="81327"/>
                </a:lnTo>
                <a:lnTo>
                  <a:pt x="236208" y="116524"/>
                </a:lnTo>
                <a:lnTo>
                  <a:pt x="236811" y="127000"/>
                </a:lnTo>
                <a:lnTo>
                  <a:pt x="236781" y="129031"/>
                </a:lnTo>
                <a:lnTo>
                  <a:pt x="220410" y="169804"/>
                </a:lnTo>
                <a:lnTo>
                  <a:pt x="195960" y="177037"/>
                </a:lnTo>
                <a:lnTo>
                  <a:pt x="239063" y="177037"/>
                </a:lnTo>
                <a:lnTo>
                  <a:pt x="256736" y="141477"/>
                </a:lnTo>
                <a:lnTo>
                  <a:pt x="257809" y="127000"/>
                </a:lnTo>
                <a:lnTo>
                  <a:pt x="256809" y="112329"/>
                </a:lnTo>
                <a:lnTo>
                  <a:pt x="253809" y="99361"/>
                </a:lnTo>
                <a:lnTo>
                  <a:pt x="248808" y="88084"/>
                </a:lnTo>
                <a:lnTo>
                  <a:pt x="241807" y="78486"/>
                </a:lnTo>
                <a:lnTo>
                  <a:pt x="241372" y="78105"/>
                </a:lnTo>
                <a:close/>
              </a:path>
              <a:path w="961390" h="194310">
                <a:moveTo>
                  <a:pt x="318515" y="81280"/>
                </a:moveTo>
                <a:lnTo>
                  <a:pt x="298323" y="81280"/>
                </a:lnTo>
                <a:lnTo>
                  <a:pt x="298323" y="191135"/>
                </a:lnTo>
                <a:lnTo>
                  <a:pt x="318515" y="191135"/>
                </a:lnTo>
                <a:lnTo>
                  <a:pt x="318515" y="81280"/>
                </a:lnTo>
                <a:close/>
              </a:path>
              <a:path w="961390" h="194310">
                <a:moveTo>
                  <a:pt x="348360" y="63881"/>
                </a:moveTo>
                <a:lnTo>
                  <a:pt x="276478" y="63881"/>
                </a:lnTo>
                <a:lnTo>
                  <a:pt x="276478" y="81280"/>
                </a:lnTo>
                <a:lnTo>
                  <a:pt x="348360" y="81280"/>
                </a:lnTo>
                <a:lnTo>
                  <a:pt x="348360" y="63881"/>
                </a:lnTo>
                <a:close/>
              </a:path>
              <a:path w="961390" h="194310">
                <a:moveTo>
                  <a:pt x="344931" y="0"/>
                </a:moveTo>
                <a:lnTo>
                  <a:pt x="338708" y="0"/>
                </a:lnTo>
                <a:lnTo>
                  <a:pt x="330400" y="736"/>
                </a:lnTo>
                <a:lnTo>
                  <a:pt x="301196" y="25400"/>
                </a:lnTo>
                <a:lnTo>
                  <a:pt x="298323" y="43306"/>
                </a:lnTo>
                <a:lnTo>
                  <a:pt x="298323" y="63881"/>
                </a:lnTo>
                <a:lnTo>
                  <a:pt x="318515" y="63881"/>
                </a:lnTo>
                <a:lnTo>
                  <a:pt x="318616" y="43306"/>
                </a:lnTo>
                <a:lnTo>
                  <a:pt x="319849" y="32434"/>
                </a:lnTo>
                <a:lnTo>
                  <a:pt x="323850" y="24018"/>
                </a:lnTo>
                <a:lnTo>
                  <a:pt x="330517" y="18960"/>
                </a:lnTo>
                <a:lnTo>
                  <a:pt x="339851" y="17272"/>
                </a:lnTo>
                <a:lnTo>
                  <a:pt x="353440" y="17272"/>
                </a:lnTo>
                <a:lnTo>
                  <a:pt x="353440" y="2286"/>
                </a:lnTo>
                <a:lnTo>
                  <a:pt x="349757" y="762"/>
                </a:lnTo>
                <a:lnTo>
                  <a:pt x="344931" y="0"/>
                </a:lnTo>
                <a:close/>
              </a:path>
              <a:path w="961390" h="194310">
                <a:moveTo>
                  <a:pt x="353440" y="17272"/>
                </a:moveTo>
                <a:lnTo>
                  <a:pt x="344931" y="17272"/>
                </a:lnTo>
                <a:lnTo>
                  <a:pt x="349503" y="18414"/>
                </a:lnTo>
                <a:lnTo>
                  <a:pt x="353440" y="20700"/>
                </a:lnTo>
                <a:lnTo>
                  <a:pt x="353440" y="17272"/>
                </a:lnTo>
                <a:close/>
              </a:path>
              <a:path w="961390" h="194310">
                <a:moveTo>
                  <a:pt x="396748" y="81280"/>
                </a:moveTo>
                <a:lnTo>
                  <a:pt x="376427" y="81280"/>
                </a:lnTo>
                <a:lnTo>
                  <a:pt x="376427" y="156591"/>
                </a:lnTo>
                <a:lnTo>
                  <a:pt x="378521" y="172926"/>
                </a:lnTo>
                <a:lnTo>
                  <a:pt x="384794" y="184594"/>
                </a:lnTo>
                <a:lnTo>
                  <a:pt x="395233" y="191595"/>
                </a:lnTo>
                <a:lnTo>
                  <a:pt x="409828" y="193929"/>
                </a:lnTo>
                <a:lnTo>
                  <a:pt x="417702" y="193929"/>
                </a:lnTo>
                <a:lnTo>
                  <a:pt x="424052" y="192531"/>
                </a:lnTo>
                <a:lnTo>
                  <a:pt x="428878" y="189864"/>
                </a:lnTo>
                <a:lnTo>
                  <a:pt x="428878" y="176783"/>
                </a:lnTo>
                <a:lnTo>
                  <a:pt x="408812" y="176783"/>
                </a:lnTo>
                <a:lnTo>
                  <a:pt x="403986" y="174879"/>
                </a:lnTo>
                <a:lnTo>
                  <a:pt x="398272" y="167639"/>
                </a:lnTo>
                <a:lnTo>
                  <a:pt x="396748" y="161544"/>
                </a:lnTo>
                <a:lnTo>
                  <a:pt x="396748" y="81280"/>
                </a:lnTo>
                <a:close/>
              </a:path>
              <a:path w="961390" h="194310">
                <a:moveTo>
                  <a:pt x="428878" y="172466"/>
                </a:moveTo>
                <a:lnTo>
                  <a:pt x="425069" y="175260"/>
                </a:lnTo>
                <a:lnTo>
                  <a:pt x="420750" y="176783"/>
                </a:lnTo>
                <a:lnTo>
                  <a:pt x="428878" y="176783"/>
                </a:lnTo>
                <a:lnTo>
                  <a:pt x="428878" y="172466"/>
                </a:lnTo>
                <a:close/>
              </a:path>
              <a:path w="961390" h="194310">
                <a:moveTo>
                  <a:pt x="428878" y="63881"/>
                </a:moveTo>
                <a:lnTo>
                  <a:pt x="354583" y="63881"/>
                </a:lnTo>
                <a:lnTo>
                  <a:pt x="354583" y="81280"/>
                </a:lnTo>
                <a:lnTo>
                  <a:pt x="428878" y="81280"/>
                </a:lnTo>
                <a:lnTo>
                  <a:pt x="428878" y="63881"/>
                </a:lnTo>
                <a:close/>
              </a:path>
              <a:path w="961390" h="194310">
                <a:moveTo>
                  <a:pt x="396748" y="26288"/>
                </a:moveTo>
                <a:lnTo>
                  <a:pt x="376427" y="32766"/>
                </a:lnTo>
                <a:lnTo>
                  <a:pt x="376427" y="63881"/>
                </a:lnTo>
                <a:lnTo>
                  <a:pt x="396748" y="63881"/>
                </a:lnTo>
                <a:lnTo>
                  <a:pt x="396748" y="26288"/>
                </a:lnTo>
                <a:close/>
              </a:path>
              <a:path w="961390" h="194310">
                <a:moveTo>
                  <a:pt x="460375" y="63881"/>
                </a:moveTo>
                <a:lnTo>
                  <a:pt x="439038" y="63881"/>
                </a:lnTo>
                <a:lnTo>
                  <a:pt x="477520" y="191135"/>
                </a:lnTo>
                <a:lnTo>
                  <a:pt x="497966" y="191135"/>
                </a:lnTo>
                <a:lnTo>
                  <a:pt x="504218" y="171069"/>
                </a:lnTo>
                <a:lnTo>
                  <a:pt x="488569" y="171069"/>
                </a:lnTo>
                <a:lnTo>
                  <a:pt x="488187" y="166243"/>
                </a:lnTo>
                <a:lnTo>
                  <a:pt x="487552" y="162432"/>
                </a:lnTo>
                <a:lnTo>
                  <a:pt x="460375" y="63881"/>
                </a:lnTo>
                <a:close/>
              </a:path>
              <a:path w="961390" h="194310">
                <a:moveTo>
                  <a:pt x="546435" y="88264"/>
                </a:moveTo>
                <a:lnTo>
                  <a:pt x="529462" y="88264"/>
                </a:lnTo>
                <a:lnTo>
                  <a:pt x="529844" y="92582"/>
                </a:lnTo>
                <a:lnTo>
                  <a:pt x="530478" y="96519"/>
                </a:lnTo>
                <a:lnTo>
                  <a:pt x="557783" y="191135"/>
                </a:lnTo>
                <a:lnTo>
                  <a:pt x="578865" y="191135"/>
                </a:lnTo>
                <a:lnTo>
                  <a:pt x="584797" y="171323"/>
                </a:lnTo>
                <a:lnTo>
                  <a:pt x="567944" y="171323"/>
                </a:lnTo>
                <a:lnTo>
                  <a:pt x="567562" y="166750"/>
                </a:lnTo>
                <a:lnTo>
                  <a:pt x="566927" y="162941"/>
                </a:lnTo>
                <a:lnTo>
                  <a:pt x="565934" y="159385"/>
                </a:lnTo>
                <a:lnTo>
                  <a:pt x="546435" y="88264"/>
                </a:lnTo>
                <a:close/>
              </a:path>
              <a:path w="961390" h="194310">
                <a:moveTo>
                  <a:pt x="616965" y="63881"/>
                </a:moveTo>
                <a:lnTo>
                  <a:pt x="596900" y="63881"/>
                </a:lnTo>
                <a:lnTo>
                  <a:pt x="570991" y="159766"/>
                </a:lnTo>
                <a:lnTo>
                  <a:pt x="569722" y="164211"/>
                </a:lnTo>
                <a:lnTo>
                  <a:pt x="569086" y="168020"/>
                </a:lnTo>
                <a:lnTo>
                  <a:pt x="568959" y="171323"/>
                </a:lnTo>
                <a:lnTo>
                  <a:pt x="584797" y="171323"/>
                </a:lnTo>
                <a:lnTo>
                  <a:pt x="616965" y="63881"/>
                </a:lnTo>
                <a:close/>
              </a:path>
              <a:path w="961390" h="194310">
                <a:moveTo>
                  <a:pt x="539750" y="63881"/>
                </a:moveTo>
                <a:lnTo>
                  <a:pt x="521080" y="63881"/>
                </a:lnTo>
                <a:lnTo>
                  <a:pt x="491624" y="159766"/>
                </a:lnTo>
                <a:lnTo>
                  <a:pt x="490474" y="163449"/>
                </a:lnTo>
                <a:lnTo>
                  <a:pt x="489711" y="167386"/>
                </a:lnTo>
                <a:lnTo>
                  <a:pt x="489457" y="171069"/>
                </a:lnTo>
                <a:lnTo>
                  <a:pt x="504218" y="171069"/>
                </a:lnTo>
                <a:lnTo>
                  <a:pt x="526414" y="99822"/>
                </a:lnTo>
                <a:lnTo>
                  <a:pt x="527938" y="95123"/>
                </a:lnTo>
                <a:lnTo>
                  <a:pt x="528827" y="91186"/>
                </a:lnTo>
                <a:lnTo>
                  <a:pt x="529081" y="88264"/>
                </a:lnTo>
                <a:lnTo>
                  <a:pt x="546435" y="88264"/>
                </a:lnTo>
                <a:lnTo>
                  <a:pt x="539750" y="63881"/>
                </a:lnTo>
                <a:close/>
              </a:path>
              <a:path w="961390" h="194310">
                <a:moveTo>
                  <a:pt x="723992" y="78105"/>
                </a:moveTo>
                <a:lnTo>
                  <a:pt x="685546" y="78105"/>
                </a:lnTo>
                <a:lnTo>
                  <a:pt x="697047" y="80129"/>
                </a:lnTo>
                <a:lnTo>
                  <a:pt x="705262" y="86201"/>
                </a:lnTo>
                <a:lnTo>
                  <a:pt x="710191" y="96321"/>
                </a:lnTo>
                <a:lnTo>
                  <a:pt x="711834" y="110489"/>
                </a:lnTo>
                <a:lnTo>
                  <a:pt x="673607" y="115824"/>
                </a:lnTo>
                <a:lnTo>
                  <a:pt x="655272" y="120634"/>
                </a:lnTo>
                <a:lnTo>
                  <a:pt x="642175" y="129158"/>
                </a:lnTo>
                <a:lnTo>
                  <a:pt x="634317" y="141398"/>
                </a:lnTo>
                <a:lnTo>
                  <a:pt x="631698" y="157352"/>
                </a:lnTo>
                <a:lnTo>
                  <a:pt x="632364" y="165234"/>
                </a:lnTo>
                <a:lnTo>
                  <a:pt x="663207" y="193542"/>
                </a:lnTo>
                <a:lnTo>
                  <a:pt x="672210" y="194182"/>
                </a:lnTo>
                <a:lnTo>
                  <a:pt x="684305" y="192754"/>
                </a:lnTo>
                <a:lnTo>
                  <a:pt x="694887" y="188450"/>
                </a:lnTo>
                <a:lnTo>
                  <a:pt x="703875" y="181324"/>
                </a:lnTo>
                <a:lnTo>
                  <a:pt x="707069" y="177037"/>
                </a:lnTo>
                <a:lnTo>
                  <a:pt x="669544" y="177037"/>
                </a:lnTo>
                <a:lnTo>
                  <a:pt x="663575" y="175006"/>
                </a:lnTo>
                <a:lnTo>
                  <a:pt x="654684" y="167131"/>
                </a:lnTo>
                <a:lnTo>
                  <a:pt x="652526" y="162051"/>
                </a:lnTo>
                <a:lnTo>
                  <a:pt x="652571" y="147206"/>
                </a:lnTo>
                <a:lnTo>
                  <a:pt x="654938" y="141350"/>
                </a:lnTo>
                <a:lnTo>
                  <a:pt x="659764" y="138049"/>
                </a:lnTo>
                <a:lnTo>
                  <a:pt x="664590" y="134619"/>
                </a:lnTo>
                <a:lnTo>
                  <a:pt x="671702" y="132333"/>
                </a:lnTo>
                <a:lnTo>
                  <a:pt x="681101" y="130937"/>
                </a:lnTo>
                <a:lnTo>
                  <a:pt x="711834" y="126745"/>
                </a:lnTo>
                <a:lnTo>
                  <a:pt x="732154" y="126745"/>
                </a:lnTo>
                <a:lnTo>
                  <a:pt x="732154" y="108331"/>
                </a:lnTo>
                <a:lnTo>
                  <a:pt x="729364" y="87588"/>
                </a:lnTo>
                <a:lnTo>
                  <a:pt x="723992" y="78105"/>
                </a:lnTo>
                <a:close/>
              </a:path>
              <a:path w="961390" h="194310">
                <a:moveTo>
                  <a:pt x="732154" y="171323"/>
                </a:moveTo>
                <a:lnTo>
                  <a:pt x="711834" y="171323"/>
                </a:lnTo>
                <a:lnTo>
                  <a:pt x="711834" y="191135"/>
                </a:lnTo>
                <a:lnTo>
                  <a:pt x="732154" y="191135"/>
                </a:lnTo>
                <a:lnTo>
                  <a:pt x="732154" y="171323"/>
                </a:lnTo>
                <a:close/>
              </a:path>
              <a:path w="961390" h="194310">
                <a:moveTo>
                  <a:pt x="732154" y="126745"/>
                </a:moveTo>
                <a:lnTo>
                  <a:pt x="711834" y="126745"/>
                </a:lnTo>
                <a:lnTo>
                  <a:pt x="711834" y="139445"/>
                </a:lnTo>
                <a:lnTo>
                  <a:pt x="711215" y="147206"/>
                </a:lnTo>
                <a:lnTo>
                  <a:pt x="684123" y="176371"/>
                </a:lnTo>
                <a:lnTo>
                  <a:pt x="676909" y="177037"/>
                </a:lnTo>
                <a:lnTo>
                  <a:pt x="707069" y="177037"/>
                </a:lnTo>
                <a:lnTo>
                  <a:pt x="711326" y="171323"/>
                </a:lnTo>
                <a:lnTo>
                  <a:pt x="732154" y="171323"/>
                </a:lnTo>
                <a:lnTo>
                  <a:pt x="732154" y="126745"/>
                </a:lnTo>
                <a:close/>
              </a:path>
              <a:path w="961390" h="194310">
                <a:moveTo>
                  <a:pt x="687324" y="60960"/>
                </a:moveTo>
                <a:lnTo>
                  <a:pt x="675467" y="61700"/>
                </a:lnTo>
                <a:lnTo>
                  <a:pt x="664289" y="63928"/>
                </a:lnTo>
                <a:lnTo>
                  <a:pt x="653801" y="67657"/>
                </a:lnTo>
                <a:lnTo>
                  <a:pt x="644016" y="72898"/>
                </a:lnTo>
                <a:lnTo>
                  <a:pt x="644016" y="93725"/>
                </a:lnTo>
                <a:lnTo>
                  <a:pt x="653613" y="86891"/>
                </a:lnTo>
                <a:lnTo>
                  <a:pt x="663733" y="82010"/>
                </a:lnTo>
                <a:lnTo>
                  <a:pt x="674377" y="79081"/>
                </a:lnTo>
                <a:lnTo>
                  <a:pt x="685546" y="78105"/>
                </a:lnTo>
                <a:lnTo>
                  <a:pt x="723992" y="78105"/>
                </a:lnTo>
                <a:lnTo>
                  <a:pt x="720978" y="72786"/>
                </a:lnTo>
                <a:lnTo>
                  <a:pt x="706973" y="63914"/>
                </a:lnTo>
                <a:lnTo>
                  <a:pt x="687324" y="60960"/>
                </a:lnTo>
                <a:close/>
              </a:path>
              <a:path w="961390" h="194310">
                <a:moveTo>
                  <a:pt x="790955" y="63881"/>
                </a:moveTo>
                <a:lnTo>
                  <a:pt x="770635" y="63881"/>
                </a:lnTo>
                <a:lnTo>
                  <a:pt x="770635" y="191135"/>
                </a:lnTo>
                <a:lnTo>
                  <a:pt x="790955" y="191135"/>
                </a:lnTo>
                <a:lnTo>
                  <a:pt x="790955" y="126237"/>
                </a:lnTo>
                <a:lnTo>
                  <a:pt x="791503" y="116212"/>
                </a:lnTo>
                <a:lnTo>
                  <a:pt x="793146" y="107283"/>
                </a:lnTo>
                <a:lnTo>
                  <a:pt x="795885" y="99448"/>
                </a:lnTo>
                <a:lnTo>
                  <a:pt x="799719" y="92710"/>
                </a:lnTo>
                <a:lnTo>
                  <a:pt x="801544" y="90169"/>
                </a:lnTo>
                <a:lnTo>
                  <a:pt x="790955" y="90169"/>
                </a:lnTo>
                <a:lnTo>
                  <a:pt x="790955" y="63881"/>
                </a:lnTo>
                <a:close/>
              </a:path>
              <a:path w="961390" h="194310">
                <a:moveTo>
                  <a:pt x="830072" y="61594"/>
                </a:moveTo>
                <a:lnTo>
                  <a:pt x="817499" y="61594"/>
                </a:lnTo>
                <a:lnTo>
                  <a:pt x="810768" y="64135"/>
                </a:lnTo>
                <a:lnTo>
                  <a:pt x="804799" y="69214"/>
                </a:lnTo>
                <a:lnTo>
                  <a:pt x="798829" y="74168"/>
                </a:lnTo>
                <a:lnTo>
                  <a:pt x="794384" y="81152"/>
                </a:lnTo>
                <a:lnTo>
                  <a:pt x="791463" y="90169"/>
                </a:lnTo>
                <a:lnTo>
                  <a:pt x="801544" y="90169"/>
                </a:lnTo>
                <a:lnTo>
                  <a:pt x="805560" y="84581"/>
                </a:lnTo>
                <a:lnTo>
                  <a:pt x="812926" y="80391"/>
                </a:lnTo>
                <a:lnTo>
                  <a:pt x="837056" y="80391"/>
                </a:lnTo>
                <a:lnTo>
                  <a:pt x="837056" y="63373"/>
                </a:lnTo>
                <a:lnTo>
                  <a:pt x="834135" y="62230"/>
                </a:lnTo>
                <a:lnTo>
                  <a:pt x="830072" y="61594"/>
                </a:lnTo>
                <a:close/>
              </a:path>
              <a:path w="961390" h="194310">
                <a:moveTo>
                  <a:pt x="837056" y="80391"/>
                </a:moveTo>
                <a:lnTo>
                  <a:pt x="828294" y="80391"/>
                </a:lnTo>
                <a:lnTo>
                  <a:pt x="833374" y="81787"/>
                </a:lnTo>
                <a:lnTo>
                  <a:pt x="837056" y="84581"/>
                </a:lnTo>
                <a:lnTo>
                  <a:pt x="837056" y="80391"/>
                </a:lnTo>
                <a:close/>
              </a:path>
              <a:path w="961390" h="194310">
                <a:moveTo>
                  <a:pt x="908938" y="60960"/>
                </a:moveTo>
                <a:lnTo>
                  <a:pt x="867155" y="79629"/>
                </a:lnTo>
                <a:lnTo>
                  <a:pt x="850391" y="128016"/>
                </a:lnTo>
                <a:lnTo>
                  <a:pt x="851346" y="142851"/>
                </a:lnTo>
                <a:lnTo>
                  <a:pt x="874190" y="184378"/>
                </a:lnTo>
                <a:lnTo>
                  <a:pt x="908176" y="194182"/>
                </a:lnTo>
                <a:lnTo>
                  <a:pt x="921246" y="193420"/>
                </a:lnTo>
                <a:lnTo>
                  <a:pt x="933005" y="191134"/>
                </a:lnTo>
                <a:lnTo>
                  <a:pt x="943431" y="187325"/>
                </a:lnTo>
                <a:lnTo>
                  <a:pt x="952500" y="181991"/>
                </a:lnTo>
                <a:lnTo>
                  <a:pt x="952500" y="177037"/>
                </a:lnTo>
                <a:lnTo>
                  <a:pt x="913002" y="177037"/>
                </a:lnTo>
                <a:lnTo>
                  <a:pt x="903906" y="176303"/>
                </a:lnTo>
                <a:lnTo>
                  <a:pt x="874522" y="151463"/>
                </a:lnTo>
                <a:lnTo>
                  <a:pt x="871474" y="132587"/>
                </a:lnTo>
                <a:lnTo>
                  <a:pt x="961262" y="132587"/>
                </a:lnTo>
                <a:lnTo>
                  <a:pt x="961262" y="121919"/>
                </a:lnTo>
                <a:lnTo>
                  <a:pt x="960846" y="115316"/>
                </a:lnTo>
                <a:lnTo>
                  <a:pt x="871727" y="115316"/>
                </a:lnTo>
                <a:lnTo>
                  <a:pt x="873369" y="107412"/>
                </a:lnTo>
                <a:lnTo>
                  <a:pt x="901676" y="78747"/>
                </a:lnTo>
                <a:lnTo>
                  <a:pt x="908557" y="78105"/>
                </a:lnTo>
                <a:lnTo>
                  <a:pt x="948353" y="78105"/>
                </a:lnTo>
                <a:lnTo>
                  <a:pt x="947674" y="77088"/>
                </a:lnTo>
                <a:lnTo>
                  <a:pt x="940103" y="70014"/>
                </a:lnTo>
                <a:lnTo>
                  <a:pt x="931116" y="64976"/>
                </a:lnTo>
                <a:lnTo>
                  <a:pt x="920724" y="61962"/>
                </a:lnTo>
                <a:lnTo>
                  <a:pt x="908938" y="60960"/>
                </a:lnTo>
                <a:close/>
              </a:path>
              <a:path w="961390" h="194310">
                <a:moveTo>
                  <a:pt x="952500" y="162813"/>
                </a:moveTo>
                <a:lnTo>
                  <a:pt x="943256" y="169001"/>
                </a:lnTo>
                <a:lnTo>
                  <a:pt x="933608" y="173450"/>
                </a:lnTo>
                <a:lnTo>
                  <a:pt x="923532" y="176137"/>
                </a:lnTo>
                <a:lnTo>
                  <a:pt x="913002" y="177037"/>
                </a:lnTo>
                <a:lnTo>
                  <a:pt x="952500" y="177037"/>
                </a:lnTo>
                <a:lnTo>
                  <a:pt x="952500" y="162813"/>
                </a:lnTo>
                <a:close/>
              </a:path>
              <a:path w="961390" h="194310">
                <a:moveTo>
                  <a:pt x="948353" y="78105"/>
                </a:moveTo>
                <a:lnTo>
                  <a:pt x="918590" y="78105"/>
                </a:lnTo>
                <a:lnTo>
                  <a:pt x="926337" y="81280"/>
                </a:lnTo>
                <a:lnTo>
                  <a:pt x="931926" y="87883"/>
                </a:lnTo>
                <a:lnTo>
                  <a:pt x="935595" y="93259"/>
                </a:lnTo>
                <a:lnTo>
                  <a:pt x="938228" y="99647"/>
                </a:lnTo>
                <a:lnTo>
                  <a:pt x="939837" y="107011"/>
                </a:lnTo>
                <a:lnTo>
                  <a:pt x="940434" y="115316"/>
                </a:lnTo>
                <a:lnTo>
                  <a:pt x="960846" y="115316"/>
                </a:lnTo>
                <a:lnTo>
                  <a:pt x="960407" y="108342"/>
                </a:lnTo>
                <a:lnTo>
                  <a:pt x="957849" y="96361"/>
                </a:lnTo>
                <a:lnTo>
                  <a:pt x="953601" y="85951"/>
                </a:lnTo>
                <a:lnTo>
                  <a:pt x="948353" y="78105"/>
                </a:lnTo>
                <a:close/>
              </a:path>
            </a:pathLst>
          </a:custGeom>
          <a:solidFill>
            <a:srgbClr val="6E6E6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203212" y="5811435"/>
            <a:ext cx="49970" cy="45719"/>
          </a:xfrm>
          <a:custGeom>
            <a:avLst/>
            <a:gdLst/>
            <a:ahLst/>
            <a:cxnLst/>
            <a:rect l="l" t="t" r="r" b="b"/>
            <a:pathLst>
              <a:path w="67945" h="16510">
                <a:moveTo>
                  <a:pt x="0" y="16031"/>
                </a:moveTo>
                <a:lnTo>
                  <a:pt x="67852" y="16031"/>
                </a:lnTo>
                <a:lnTo>
                  <a:pt x="67852" y="0"/>
                </a:lnTo>
                <a:lnTo>
                  <a:pt x="0" y="0"/>
                </a:lnTo>
                <a:lnTo>
                  <a:pt x="0" y="16031"/>
                </a:lnTo>
                <a:close/>
              </a:path>
            </a:pathLst>
          </a:custGeom>
          <a:solidFill>
            <a:srgbClr val="6E6E6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273449" y="5802709"/>
            <a:ext cx="158596" cy="11857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453153" y="5811435"/>
            <a:ext cx="49970" cy="45719"/>
          </a:xfrm>
          <a:custGeom>
            <a:avLst/>
            <a:gdLst/>
            <a:ahLst/>
            <a:cxnLst/>
            <a:rect l="l" t="t" r="r" b="b"/>
            <a:pathLst>
              <a:path w="67945" h="16510">
                <a:moveTo>
                  <a:pt x="0" y="16031"/>
                </a:moveTo>
                <a:lnTo>
                  <a:pt x="67852" y="16031"/>
                </a:lnTo>
                <a:lnTo>
                  <a:pt x="67852" y="0"/>
                </a:lnTo>
                <a:lnTo>
                  <a:pt x="0" y="0"/>
                </a:lnTo>
                <a:lnTo>
                  <a:pt x="0" y="16031"/>
                </a:lnTo>
                <a:close/>
              </a:path>
            </a:pathLst>
          </a:custGeom>
          <a:solidFill>
            <a:srgbClr val="6E6E6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523391" y="5802709"/>
            <a:ext cx="73880" cy="11857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623518" y="5811435"/>
            <a:ext cx="49970" cy="45719"/>
          </a:xfrm>
          <a:custGeom>
            <a:avLst/>
            <a:gdLst/>
            <a:ahLst/>
            <a:cxnLst/>
            <a:rect l="l" t="t" r="r" b="b"/>
            <a:pathLst>
              <a:path w="67945" h="16510">
                <a:moveTo>
                  <a:pt x="0" y="16031"/>
                </a:moveTo>
                <a:lnTo>
                  <a:pt x="67852" y="16031"/>
                </a:lnTo>
                <a:lnTo>
                  <a:pt x="67852" y="0"/>
                </a:lnTo>
                <a:lnTo>
                  <a:pt x="0" y="0"/>
                </a:lnTo>
                <a:lnTo>
                  <a:pt x="0" y="16031"/>
                </a:lnTo>
                <a:close/>
              </a:path>
            </a:pathLst>
          </a:custGeom>
          <a:solidFill>
            <a:srgbClr val="6E6E6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695437" y="5752985"/>
            <a:ext cx="562744" cy="168422"/>
          </a:xfrm>
          <a:custGeom>
            <a:avLst/>
            <a:gdLst/>
            <a:ahLst/>
            <a:cxnLst/>
            <a:rect l="l" t="t" r="r" b="b"/>
            <a:pathLst>
              <a:path w="765175" h="189229">
                <a:moveTo>
                  <a:pt x="0" y="154305"/>
                </a:moveTo>
                <a:lnTo>
                  <a:pt x="0" y="178816"/>
                </a:lnTo>
                <a:lnTo>
                  <a:pt x="2286" y="180467"/>
                </a:lnTo>
                <a:lnTo>
                  <a:pt x="34163" y="188341"/>
                </a:lnTo>
                <a:lnTo>
                  <a:pt x="38353" y="188849"/>
                </a:lnTo>
                <a:lnTo>
                  <a:pt x="41783" y="189103"/>
                </a:lnTo>
                <a:lnTo>
                  <a:pt x="53086" y="189103"/>
                </a:lnTo>
                <a:lnTo>
                  <a:pt x="94742" y="174371"/>
                </a:lnTo>
                <a:lnTo>
                  <a:pt x="98597" y="170307"/>
                </a:lnTo>
                <a:lnTo>
                  <a:pt x="44069" y="170307"/>
                </a:lnTo>
                <a:lnTo>
                  <a:pt x="40004" y="169926"/>
                </a:lnTo>
                <a:lnTo>
                  <a:pt x="10160" y="160909"/>
                </a:lnTo>
                <a:lnTo>
                  <a:pt x="6223" y="159004"/>
                </a:lnTo>
                <a:lnTo>
                  <a:pt x="2794" y="156718"/>
                </a:lnTo>
                <a:lnTo>
                  <a:pt x="0" y="154305"/>
                </a:lnTo>
                <a:close/>
              </a:path>
              <a:path w="765175" h="189229">
                <a:moveTo>
                  <a:pt x="62102" y="4826"/>
                </a:moveTo>
                <a:lnTo>
                  <a:pt x="54483" y="4826"/>
                </a:lnTo>
                <a:lnTo>
                  <a:pt x="46863" y="5842"/>
                </a:lnTo>
                <a:lnTo>
                  <a:pt x="9144" y="25273"/>
                </a:lnTo>
                <a:lnTo>
                  <a:pt x="253" y="44323"/>
                </a:lnTo>
                <a:lnTo>
                  <a:pt x="253" y="59055"/>
                </a:lnTo>
                <a:lnTo>
                  <a:pt x="13081" y="83058"/>
                </a:lnTo>
                <a:lnTo>
                  <a:pt x="17018" y="86995"/>
                </a:lnTo>
                <a:lnTo>
                  <a:pt x="21717" y="90551"/>
                </a:lnTo>
                <a:lnTo>
                  <a:pt x="27050" y="93726"/>
                </a:lnTo>
                <a:lnTo>
                  <a:pt x="38226" y="100203"/>
                </a:lnTo>
                <a:lnTo>
                  <a:pt x="44450" y="103251"/>
                </a:lnTo>
                <a:lnTo>
                  <a:pt x="55879" y="109093"/>
                </a:lnTo>
                <a:lnTo>
                  <a:pt x="60960" y="111760"/>
                </a:lnTo>
                <a:lnTo>
                  <a:pt x="66040" y="114554"/>
                </a:lnTo>
                <a:lnTo>
                  <a:pt x="70485" y="117348"/>
                </a:lnTo>
                <a:lnTo>
                  <a:pt x="74168" y="120269"/>
                </a:lnTo>
                <a:lnTo>
                  <a:pt x="77977" y="123190"/>
                </a:lnTo>
                <a:lnTo>
                  <a:pt x="80899" y="126492"/>
                </a:lnTo>
                <a:lnTo>
                  <a:pt x="82931" y="130048"/>
                </a:lnTo>
                <a:lnTo>
                  <a:pt x="85090" y="133604"/>
                </a:lnTo>
                <a:lnTo>
                  <a:pt x="86106" y="137795"/>
                </a:lnTo>
                <a:lnTo>
                  <a:pt x="86106" y="151511"/>
                </a:lnTo>
                <a:lnTo>
                  <a:pt x="47878" y="170307"/>
                </a:lnTo>
                <a:lnTo>
                  <a:pt x="98597" y="170307"/>
                </a:lnTo>
                <a:lnTo>
                  <a:pt x="99441" y="169418"/>
                </a:lnTo>
                <a:lnTo>
                  <a:pt x="102870" y="163449"/>
                </a:lnTo>
                <a:lnTo>
                  <a:pt x="106299" y="157353"/>
                </a:lnTo>
                <a:lnTo>
                  <a:pt x="107950" y="149860"/>
                </a:lnTo>
                <a:lnTo>
                  <a:pt x="107950" y="134493"/>
                </a:lnTo>
                <a:lnTo>
                  <a:pt x="106679" y="128524"/>
                </a:lnTo>
                <a:lnTo>
                  <a:pt x="104022" y="123190"/>
                </a:lnTo>
                <a:lnTo>
                  <a:pt x="101726" y="118237"/>
                </a:lnTo>
                <a:lnTo>
                  <a:pt x="67183" y="91059"/>
                </a:lnTo>
                <a:lnTo>
                  <a:pt x="49022" y="82042"/>
                </a:lnTo>
                <a:lnTo>
                  <a:pt x="44323" y="79502"/>
                </a:lnTo>
                <a:lnTo>
                  <a:pt x="22098" y="55118"/>
                </a:lnTo>
                <a:lnTo>
                  <a:pt x="22098" y="45720"/>
                </a:lnTo>
                <a:lnTo>
                  <a:pt x="23241" y="41529"/>
                </a:lnTo>
                <a:lnTo>
                  <a:pt x="25526" y="38227"/>
                </a:lnTo>
                <a:lnTo>
                  <a:pt x="27686" y="34798"/>
                </a:lnTo>
                <a:lnTo>
                  <a:pt x="55499" y="23749"/>
                </a:lnTo>
                <a:lnTo>
                  <a:pt x="100584" y="23749"/>
                </a:lnTo>
                <a:lnTo>
                  <a:pt x="100584" y="11176"/>
                </a:lnTo>
                <a:lnTo>
                  <a:pt x="93624" y="8415"/>
                </a:lnTo>
                <a:lnTo>
                  <a:pt x="84915" y="6429"/>
                </a:lnTo>
                <a:lnTo>
                  <a:pt x="74420" y="5228"/>
                </a:lnTo>
                <a:lnTo>
                  <a:pt x="62102" y="4826"/>
                </a:lnTo>
                <a:close/>
              </a:path>
              <a:path w="765175" h="189229">
                <a:moveTo>
                  <a:pt x="100584" y="23749"/>
                </a:moveTo>
                <a:lnTo>
                  <a:pt x="60071" y="23749"/>
                </a:lnTo>
                <a:lnTo>
                  <a:pt x="71830" y="24437"/>
                </a:lnTo>
                <a:lnTo>
                  <a:pt x="82518" y="26495"/>
                </a:lnTo>
                <a:lnTo>
                  <a:pt x="92110" y="29910"/>
                </a:lnTo>
                <a:lnTo>
                  <a:pt x="100584" y="34671"/>
                </a:lnTo>
                <a:lnTo>
                  <a:pt x="100584" y="23749"/>
                </a:lnTo>
                <a:close/>
              </a:path>
              <a:path w="765175" h="189229">
                <a:moveTo>
                  <a:pt x="191135" y="55880"/>
                </a:moveTo>
                <a:lnTo>
                  <a:pt x="149351" y="74549"/>
                </a:lnTo>
                <a:lnTo>
                  <a:pt x="132588" y="122936"/>
                </a:lnTo>
                <a:lnTo>
                  <a:pt x="133542" y="137771"/>
                </a:lnTo>
                <a:lnTo>
                  <a:pt x="156386" y="179298"/>
                </a:lnTo>
                <a:lnTo>
                  <a:pt x="190373" y="189103"/>
                </a:lnTo>
                <a:lnTo>
                  <a:pt x="203442" y="188341"/>
                </a:lnTo>
                <a:lnTo>
                  <a:pt x="215201" y="186055"/>
                </a:lnTo>
                <a:lnTo>
                  <a:pt x="225627" y="182245"/>
                </a:lnTo>
                <a:lnTo>
                  <a:pt x="234696" y="176911"/>
                </a:lnTo>
                <a:lnTo>
                  <a:pt x="234696" y="171958"/>
                </a:lnTo>
                <a:lnTo>
                  <a:pt x="195199" y="171958"/>
                </a:lnTo>
                <a:lnTo>
                  <a:pt x="186102" y="171223"/>
                </a:lnTo>
                <a:lnTo>
                  <a:pt x="156718" y="146383"/>
                </a:lnTo>
                <a:lnTo>
                  <a:pt x="153670" y="127508"/>
                </a:lnTo>
                <a:lnTo>
                  <a:pt x="243459" y="127508"/>
                </a:lnTo>
                <a:lnTo>
                  <a:pt x="243459" y="116840"/>
                </a:lnTo>
                <a:lnTo>
                  <a:pt x="243042" y="110236"/>
                </a:lnTo>
                <a:lnTo>
                  <a:pt x="153924" y="110236"/>
                </a:lnTo>
                <a:lnTo>
                  <a:pt x="155565" y="102332"/>
                </a:lnTo>
                <a:lnTo>
                  <a:pt x="183872" y="73667"/>
                </a:lnTo>
                <a:lnTo>
                  <a:pt x="190753" y="73025"/>
                </a:lnTo>
                <a:lnTo>
                  <a:pt x="230549" y="73025"/>
                </a:lnTo>
                <a:lnTo>
                  <a:pt x="229870" y="72009"/>
                </a:lnTo>
                <a:lnTo>
                  <a:pt x="222299" y="64934"/>
                </a:lnTo>
                <a:lnTo>
                  <a:pt x="213312" y="59896"/>
                </a:lnTo>
                <a:lnTo>
                  <a:pt x="202920" y="56882"/>
                </a:lnTo>
                <a:lnTo>
                  <a:pt x="191135" y="55880"/>
                </a:lnTo>
                <a:close/>
              </a:path>
              <a:path w="765175" h="189229">
                <a:moveTo>
                  <a:pt x="234696" y="157734"/>
                </a:moveTo>
                <a:lnTo>
                  <a:pt x="225452" y="163921"/>
                </a:lnTo>
                <a:lnTo>
                  <a:pt x="215804" y="168370"/>
                </a:lnTo>
                <a:lnTo>
                  <a:pt x="205728" y="171057"/>
                </a:lnTo>
                <a:lnTo>
                  <a:pt x="195199" y="171958"/>
                </a:lnTo>
                <a:lnTo>
                  <a:pt x="234696" y="171958"/>
                </a:lnTo>
                <a:lnTo>
                  <a:pt x="234696" y="157734"/>
                </a:lnTo>
                <a:close/>
              </a:path>
              <a:path w="765175" h="189229">
                <a:moveTo>
                  <a:pt x="230549" y="73025"/>
                </a:moveTo>
                <a:lnTo>
                  <a:pt x="200787" y="73025"/>
                </a:lnTo>
                <a:lnTo>
                  <a:pt x="208534" y="76200"/>
                </a:lnTo>
                <a:lnTo>
                  <a:pt x="214122" y="82804"/>
                </a:lnTo>
                <a:lnTo>
                  <a:pt x="217791" y="88179"/>
                </a:lnTo>
                <a:lnTo>
                  <a:pt x="220424" y="94567"/>
                </a:lnTo>
                <a:lnTo>
                  <a:pt x="222033" y="101931"/>
                </a:lnTo>
                <a:lnTo>
                  <a:pt x="222631" y="110236"/>
                </a:lnTo>
                <a:lnTo>
                  <a:pt x="243042" y="110236"/>
                </a:lnTo>
                <a:lnTo>
                  <a:pt x="242603" y="103262"/>
                </a:lnTo>
                <a:lnTo>
                  <a:pt x="240045" y="91281"/>
                </a:lnTo>
                <a:lnTo>
                  <a:pt x="235797" y="80871"/>
                </a:lnTo>
                <a:lnTo>
                  <a:pt x="230549" y="73025"/>
                </a:lnTo>
                <a:close/>
              </a:path>
              <a:path w="765175" h="189229">
                <a:moveTo>
                  <a:pt x="294132" y="58801"/>
                </a:moveTo>
                <a:lnTo>
                  <a:pt x="273812" y="58801"/>
                </a:lnTo>
                <a:lnTo>
                  <a:pt x="273812" y="186055"/>
                </a:lnTo>
                <a:lnTo>
                  <a:pt x="294132" y="186055"/>
                </a:lnTo>
                <a:lnTo>
                  <a:pt x="294132" y="121158"/>
                </a:lnTo>
                <a:lnTo>
                  <a:pt x="294679" y="111132"/>
                </a:lnTo>
                <a:lnTo>
                  <a:pt x="296322" y="102203"/>
                </a:lnTo>
                <a:lnTo>
                  <a:pt x="299061" y="94368"/>
                </a:lnTo>
                <a:lnTo>
                  <a:pt x="302895" y="87630"/>
                </a:lnTo>
                <a:lnTo>
                  <a:pt x="304720" y="85090"/>
                </a:lnTo>
                <a:lnTo>
                  <a:pt x="294132" y="85090"/>
                </a:lnTo>
                <a:lnTo>
                  <a:pt x="294132" y="58801"/>
                </a:lnTo>
                <a:close/>
              </a:path>
              <a:path w="765175" h="189229">
                <a:moveTo>
                  <a:pt x="333248" y="56515"/>
                </a:moveTo>
                <a:lnTo>
                  <a:pt x="320675" y="56515"/>
                </a:lnTo>
                <a:lnTo>
                  <a:pt x="313944" y="59055"/>
                </a:lnTo>
                <a:lnTo>
                  <a:pt x="307975" y="64135"/>
                </a:lnTo>
                <a:lnTo>
                  <a:pt x="302006" y="69088"/>
                </a:lnTo>
                <a:lnTo>
                  <a:pt x="297561" y="76073"/>
                </a:lnTo>
                <a:lnTo>
                  <a:pt x="294640" y="85090"/>
                </a:lnTo>
                <a:lnTo>
                  <a:pt x="304720" y="85090"/>
                </a:lnTo>
                <a:lnTo>
                  <a:pt x="308737" y="79502"/>
                </a:lnTo>
                <a:lnTo>
                  <a:pt x="316102" y="75311"/>
                </a:lnTo>
                <a:lnTo>
                  <a:pt x="340233" y="75311"/>
                </a:lnTo>
                <a:lnTo>
                  <a:pt x="340233" y="58293"/>
                </a:lnTo>
                <a:lnTo>
                  <a:pt x="337312" y="57150"/>
                </a:lnTo>
                <a:lnTo>
                  <a:pt x="333248" y="56515"/>
                </a:lnTo>
                <a:close/>
              </a:path>
              <a:path w="765175" h="189229">
                <a:moveTo>
                  <a:pt x="340233" y="75311"/>
                </a:moveTo>
                <a:lnTo>
                  <a:pt x="331470" y="75311"/>
                </a:lnTo>
                <a:lnTo>
                  <a:pt x="336550" y="76708"/>
                </a:lnTo>
                <a:lnTo>
                  <a:pt x="340233" y="79502"/>
                </a:lnTo>
                <a:lnTo>
                  <a:pt x="340233" y="75311"/>
                </a:lnTo>
                <a:close/>
              </a:path>
              <a:path w="765175" h="189229">
                <a:moveTo>
                  <a:pt x="365633" y="58801"/>
                </a:moveTo>
                <a:lnTo>
                  <a:pt x="343281" y="58801"/>
                </a:lnTo>
                <a:lnTo>
                  <a:pt x="391541" y="186055"/>
                </a:lnTo>
                <a:lnTo>
                  <a:pt x="411479" y="186055"/>
                </a:lnTo>
                <a:lnTo>
                  <a:pt x="418273" y="169037"/>
                </a:lnTo>
                <a:lnTo>
                  <a:pt x="402463" y="169037"/>
                </a:lnTo>
                <a:lnTo>
                  <a:pt x="401827" y="163957"/>
                </a:lnTo>
                <a:lnTo>
                  <a:pt x="400431" y="158115"/>
                </a:lnTo>
                <a:lnTo>
                  <a:pt x="365633" y="58801"/>
                </a:lnTo>
                <a:close/>
              </a:path>
              <a:path w="765175" h="189229">
                <a:moveTo>
                  <a:pt x="462279" y="58801"/>
                </a:moveTo>
                <a:lnTo>
                  <a:pt x="440690" y="58801"/>
                </a:lnTo>
                <a:lnTo>
                  <a:pt x="406908" y="151765"/>
                </a:lnTo>
                <a:lnTo>
                  <a:pt x="405129" y="156845"/>
                </a:lnTo>
                <a:lnTo>
                  <a:pt x="403733" y="162687"/>
                </a:lnTo>
                <a:lnTo>
                  <a:pt x="402971" y="169037"/>
                </a:lnTo>
                <a:lnTo>
                  <a:pt x="418273" y="169037"/>
                </a:lnTo>
                <a:lnTo>
                  <a:pt x="462279" y="58801"/>
                </a:lnTo>
                <a:close/>
              </a:path>
              <a:path w="765175" h="189229">
                <a:moveTo>
                  <a:pt x="498348" y="0"/>
                </a:moveTo>
                <a:lnTo>
                  <a:pt x="490982" y="0"/>
                </a:lnTo>
                <a:lnTo>
                  <a:pt x="487807" y="1270"/>
                </a:lnTo>
                <a:lnTo>
                  <a:pt x="482726" y="6350"/>
                </a:lnTo>
                <a:lnTo>
                  <a:pt x="481329" y="9525"/>
                </a:lnTo>
                <a:lnTo>
                  <a:pt x="481329" y="17145"/>
                </a:lnTo>
                <a:lnTo>
                  <a:pt x="482726" y="20320"/>
                </a:lnTo>
                <a:lnTo>
                  <a:pt x="485267" y="22733"/>
                </a:lnTo>
                <a:lnTo>
                  <a:pt x="487807" y="25273"/>
                </a:lnTo>
                <a:lnTo>
                  <a:pt x="490982" y="26543"/>
                </a:lnTo>
                <a:lnTo>
                  <a:pt x="498348" y="26543"/>
                </a:lnTo>
                <a:lnTo>
                  <a:pt x="501523" y="25273"/>
                </a:lnTo>
                <a:lnTo>
                  <a:pt x="504063" y="22606"/>
                </a:lnTo>
                <a:lnTo>
                  <a:pt x="506729" y="20066"/>
                </a:lnTo>
                <a:lnTo>
                  <a:pt x="507947" y="17145"/>
                </a:lnTo>
                <a:lnTo>
                  <a:pt x="508000" y="9525"/>
                </a:lnTo>
                <a:lnTo>
                  <a:pt x="506729" y="6350"/>
                </a:lnTo>
                <a:lnTo>
                  <a:pt x="504063" y="3810"/>
                </a:lnTo>
                <a:lnTo>
                  <a:pt x="501523" y="1270"/>
                </a:lnTo>
                <a:lnTo>
                  <a:pt x="498348" y="0"/>
                </a:lnTo>
                <a:close/>
              </a:path>
              <a:path w="765175" h="189229">
                <a:moveTo>
                  <a:pt x="504444" y="58801"/>
                </a:moveTo>
                <a:lnTo>
                  <a:pt x="484124" y="58801"/>
                </a:lnTo>
                <a:lnTo>
                  <a:pt x="484124" y="186055"/>
                </a:lnTo>
                <a:lnTo>
                  <a:pt x="504444" y="186055"/>
                </a:lnTo>
                <a:lnTo>
                  <a:pt x="504444" y="58801"/>
                </a:lnTo>
                <a:close/>
              </a:path>
              <a:path w="765175" h="189229">
                <a:moveTo>
                  <a:pt x="602488" y="55880"/>
                </a:moveTo>
                <a:lnTo>
                  <a:pt x="564143" y="66595"/>
                </a:lnTo>
                <a:lnTo>
                  <a:pt x="540924" y="97107"/>
                </a:lnTo>
                <a:lnTo>
                  <a:pt x="536448" y="125476"/>
                </a:lnTo>
                <a:lnTo>
                  <a:pt x="537475" y="138908"/>
                </a:lnTo>
                <a:lnTo>
                  <a:pt x="562111" y="179083"/>
                </a:lnTo>
                <a:lnTo>
                  <a:pt x="597026" y="189103"/>
                </a:lnTo>
                <a:lnTo>
                  <a:pt x="606768" y="188535"/>
                </a:lnTo>
                <a:lnTo>
                  <a:pt x="615807" y="186848"/>
                </a:lnTo>
                <a:lnTo>
                  <a:pt x="624155" y="184066"/>
                </a:lnTo>
                <a:lnTo>
                  <a:pt x="631825" y="180213"/>
                </a:lnTo>
                <a:lnTo>
                  <a:pt x="631825" y="171958"/>
                </a:lnTo>
                <a:lnTo>
                  <a:pt x="600456" y="171958"/>
                </a:lnTo>
                <a:lnTo>
                  <a:pt x="591123" y="171148"/>
                </a:lnTo>
                <a:lnTo>
                  <a:pt x="560212" y="143684"/>
                </a:lnTo>
                <a:lnTo>
                  <a:pt x="557276" y="123698"/>
                </a:lnTo>
                <a:lnTo>
                  <a:pt x="558059" y="112837"/>
                </a:lnTo>
                <a:lnTo>
                  <a:pt x="584009" y="76485"/>
                </a:lnTo>
                <a:lnTo>
                  <a:pt x="601726" y="73025"/>
                </a:lnTo>
                <a:lnTo>
                  <a:pt x="632078" y="73025"/>
                </a:lnTo>
                <a:lnTo>
                  <a:pt x="632078" y="62103"/>
                </a:lnTo>
                <a:lnTo>
                  <a:pt x="625437" y="59362"/>
                </a:lnTo>
                <a:lnTo>
                  <a:pt x="618283" y="57419"/>
                </a:lnTo>
                <a:lnTo>
                  <a:pt x="610629" y="56262"/>
                </a:lnTo>
                <a:lnTo>
                  <a:pt x="602488" y="55880"/>
                </a:lnTo>
                <a:close/>
              </a:path>
              <a:path w="765175" h="189229">
                <a:moveTo>
                  <a:pt x="631825" y="160782"/>
                </a:moveTo>
                <a:lnTo>
                  <a:pt x="624369" y="165689"/>
                </a:lnTo>
                <a:lnTo>
                  <a:pt x="616664" y="169179"/>
                </a:lnTo>
                <a:lnTo>
                  <a:pt x="608697" y="171265"/>
                </a:lnTo>
                <a:lnTo>
                  <a:pt x="600456" y="171958"/>
                </a:lnTo>
                <a:lnTo>
                  <a:pt x="631825" y="171958"/>
                </a:lnTo>
                <a:lnTo>
                  <a:pt x="631825" y="160782"/>
                </a:lnTo>
                <a:close/>
              </a:path>
              <a:path w="765175" h="189229">
                <a:moveTo>
                  <a:pt x="632078" y="73025"/>
                </a:moveTo>
                <a:lnTo>
                  <a:pt x="601726" y="73025"/>
                </a:lnTo>
                <a:lnTo>
                  <a:pt x="609701" y="73644"/>
                </a:lnTo>
                <a:lnTo>
                  <a:pt x="617426" y="75501"/>
                </a:lnTo>
                <a:lnTo>
                  <a:pt x="624889" y="78597"/>
                </a:lnTo>
                <a:lnTo>
                  <a:pt x="632078" y="82931"/>
                </a:lnTo>
                <a:lnTo>
                  <a:pt x="632078" y="73025"/>
                </a:lnTo>
                <a:close/>
              </a:path>
              <a:path w="765175" h="189229">
                <a:moveTo>
                  <a:pt x="712343" y="55880"/>
                </a:moveTo>
                <a:lnTo>
                  <a:pt x="670560" y="74549"/>
                </a:lnTo>
                <a:lnTo>
                  <a:pt x="653796" y="122936"/>
                </a:lnTo>
                <a:lnTo>
                  <a:pt x="654750" y="137771"/>
                </a:lnTo>
                <a:lnTo>
                  <a:pt x="677594" y="179298"/>
                </a:lnTo>
                <a:lnTo>
                  <a:pt x="711581" y="189103"/>
                </a:lnTo>
                <a:lnTo>
                  <a:pt x="724650" y="188341"/>
                </a:lnTo>
                <a:lnTo>
                  <a:pt x="736409" y="186055"/>
                </a:lnTo>
                <a:lnTo>
                  <a:pt x="746835" y="182245"/>
                </a:lnTo>
                <a:lnTo>
                  <a:pt x="755903" y="176911"/>
                </a:lnTo>
                <a:lnTo>
                  <a:pt x="755903" y="171958"/>
                </a:lnTo>
                <a:lnTo>
                  <a:pt x="716407" y="171958"/>
                </a:lnTo>
                <a:lnTo>
                  <a:pt x="707310" y="171223"/>
                </a:lnTo>
                <a:lnTo>
                  <a:pt x="677926" y="146383"/>
                </a:lnTo>
                <a:lnTo>
                  <a:pt x="674877" y="127508"/>
                </a:lnTo>
                <a:lnTo>
                  <a:pt x="764667" y="127508"/>
                </a:lnTo>
                <a:lnTo>
                  <a:pt x="764667" y="116840"/>
                </a:lnTo>
                <a:lnTo>
                  <a:pt x="764250" y="110236"/>
                </a:lnTo>
                <a:lnTo>
                  <a:pt x="675132" y="110236"/>
                </a:lnTo>
                <a:lnTo>
                  <a:pt x="676773" y="102332"/>
                </a:lnTo>
                <a:lnTo>
                  <a:pt x="705080" y="73667"/>
                </a:lnTo>
                <a:lnTo>
                  <a:pt x="711962" y="73025"/>
                </a:lnTo>
                <a:lnTo>
                  <a:pt x="751757" y="73025"/>
                </a:lnTo>
                <a:lnTo>
                  <a:pt x="751077" y="72009"/>
                </a:lnTo>
                <a:lnTo>
                  <a:pt x="743507" y="64934"/>
                </a:lnTo>
                <a:lnTo>
                  <a:pt x="734520" y="59896"/>
                </a:lnTo>
                <a:lnTo>
                  <a:pt x="724128" y="56882"/>
                </a:lnTo>
                <a:lnTo>
                  <a:pt x="712343" y="55880"/>
                </a:lnTo>
                <a:close/>
              </a:path>
              <a:path w="765175" h="189229">
                <a:moveTo>
                  <a:pt x="755903" y="157734"/>
                </a:moveTo>
                <a:lnTo>
                  <a:pt x="746660" y="163921"/>
                </a:lnTo>
                <a:lnTo>
                  <a:pt x="737012" y="168370"/>
                </a:lnTo>
                <a:lnTo>
                  <a:pt x="726936" y="171057"/>
                </a:lnTo>
                <a:lnTo>
                  <a:pt x="716407" y="171958"/>
                </a:lnTo>
                <a:lnTo>
                  <a:pt x="755903" y="171958"/>
                </a:lnTo>
                <a:lnTo>
                  <a:pt x="755903" y="157734"/>
                </a:lnTo>
                <a:close/>
              </a:path>
              <a:path w="765175" h="189229">
                <a:moveTo>
                  <a:pt x="751757" y="73025"/>
                </a:moveTo>
                <a:lnTo>
                  <a:pt x="721995" y="73025"/>
                </a:lnTo>
                <a:lnTo>
                  <a:pt x="729742" y="76200"/>
                </a:lnTo>
                <a:lnTo>
                  <a:pt x="735329" y="82804"/>
                </a:lnTo>
                <a:lnTo>
                  <a:pt x="738999" y="88179"/>
                </a:lnTo>
                <a:lnTo>
                  <a:pt x="741632" y="94567"/>
                </a:lnTo>
                <a:lnTo>
                  <a:pt x="743241" y="101931"/>
                </a:lnTo>
                <a:lnTo>
                  <a:pt x="743839" y="110236"/>
                </a:lnTo>
                <a:lnTo>
                  <a:pt x="764250" y="110236"/>
                </a:lnTo>
                <a:lnTo>
                  <a:pt x="763811" y="103262"/>
                </a:lnTo>
                <a:lnTo>
                  <a:pt x="761253" y="91281"/>
                </a:lnTo>
                <a:lnTo>
                  <a:pt x="757005" y="80871"/>
                </a:lnTo>
                <a:lnTo>
                  <a:pt x="751757" y="73025"/>
                </a:lnTo>
                <a:close/>
              </a:path>
            </a:pathLst>
          </a:custGeom>
          <a:solidFill>
            <a:srgbClr val="6E6E6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082674" y="6269345"/>
            <a:ext cx="2564803" cy="616039"/>
          </a:xfrm>
          <a:custGeom>
            <a:avLst/>
            <a:gdLst/>
            <a:ahLst/>
            <a:cxnLst/>
            <a:rect l="l" t="t" r="r" b="b"/>
            <a:pathLst>
              <a:path w="3487420" h="692150">
                <a:moveTo>
                  <a:pt x="0" y="691896"/>
                </a:moveTo>
                <a:lnTo>
                  <a:pt x="3486911" y="691896"/>
                </a:lnTo>
                <a:lnTo>
                  <a:pt x="3486911" y="0"/>
                </a:lnTo>
                <a:lnTo>
                  <a:pt x="0" y="0"/>
                </a:lnTo>
                <a:lnTo>
                  <a:pt x="0" y="69189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709865" y="6505531"/>
            <a:ext cx="1312290" cy="213071"/>
          </a:xfrm>
          <a:custGeom>
            <a:avLst/>
            <a:gdLst/>
            <a:ahLst/>
            <a:cxnLst/>
            <a:rect l="l" t="t" r="r" b="b"/>
            <a:pathLst>
              <a:path w="1784350" h="239395">
                <a:moveTo>
                  <a:pt x="118745" y="0"/>
                </a:moveTo>
                <a:lnTo>
                  <a:pt x="70135" y="8572"/>
                </a:lnTo>
                <a:lnTo>
                  <a:pt x="32385" y="34289"/>
                </a:lnTo>
                <a:lnTo>
                  <a:pt x="8096" y="74120"/>
                </a:lnTo>
                <a:lnTo>
                  <a:pt x="0" y="125094"/>
                </a:lnTo>
                <a:lnTo>
                  <a:pt x="1879" y="149242"/>
                </a:lnTo>
                <a:lnTo>
                  <a:pt x="16877" y="190442"/>
                </a:lnTo>
                <a:lnTo>
                  <a:pt x="46190" y="221446"/>
                </a:lnTo>
                <a:lnTo>
                  <a:pt x="85675" y="237396"/>
                </a:lnTo>
                <a:lnTo>
                  <a:pt x="108966" y="239394"/>
                </a:lnTo>
                <a:lnTo>
                  <a:pt x="126390" y="238396"/>
                </a:lnTo>
                <a:lnTo>
                  <a:pt x="142636" y="235410"/>
                </a:lnTo>
                <a:lnTo>
                  <a:pt x="157668" y="230447"/>
                </a:lnTo>
                <a:lnTo>
                  <a:pt x="171450" y="223519"/>
                </a:lnTo>
                <a:lnTo>
                  <a:pt x="171450" y="208534"/>
                </a:lnTo>
                <a:lnTo>
                  <a:pt x="115189" y="208534"/>
                </a:lnTo>
                <a:lnTo>
                  <a:pt x="98355" y="207081"/>
                </a:lnTo>
                <a:lnTo>
                  <a:pt x="58547" y="185293"/>
                </a:lnTo>
                <a:lnTo>
                  <a:pt x="38794" y="140966"/>
                </a:lnTo>
                <a:lnTo>
                  <a:pt x="37465" y="121919"/>
                </a:lnTo>
                <a:lnTo>
                  <a:pt x="38869" y="102512"/>
                </a:lnTo>
                <a:lnTo>
                  <a:pt x="59944" y="56006"/>
                </a:lnTo>
                <a:lnTo>
                  <a:pt x="100627" y="32432"/>
                </a:lnTo>
                <a:lnTo>
                  <a:pt x="117348" y="30861"/>
                </a:lnTo>
                <a:lnTo>
                  <a:pt x="171830" y="30861"/>
                </a:lnTo>
                <a:lnTo>
                  <a:pt x="171830" y="11175"/>
                </a:lnTo>
                <a:lnTo>
                  <a:pt x="159928" y="6322"/>
                </a:lnTo>
                <a:lnTo>
                  <a:pt x="147097" y="2825"/>
                </a:lnTo>
                <a:lnTo>
                  <a:pt x="133361" y="710"/>
                </a:lnTo>
                <a:lnTo>
                  <a:pt x="118745" y="0"/>
                </a:lnTo>
                <a:close/>
              </a:path>
              <a:path w="1784350" h="239395">
                <a:moveTo>
                  <a:pt x="171450" y="188722"/>
                </a:moveTo>
                <a:lnTo>
                  <a:pt x="158069" y="197389"/>
                </a:lnTo>
                <a:lnTo>
                  <a:pt x="144224" y="203581"/>
                </a:lnTo>
                <a:lnTo>
                  <a:pt x="129926" y="207295"/>
                </a:lnTo>
                <a:lnTo>
                  <a:pt x="115189" y="208534"/>
                </a:lnTo>
                <a:lnTo>
                  <a:pt x="171450" y="208534"/>
                </a:lnTo>
                <a:lnTo>
                  <a:pt x="171450" y="188722"/>
                </a:lnTo>
                <a:close/>
              </a:path>
              <a:path w="1784350" h="239395">
                <a:moveTo>
                  <a:pt x="171830" y="30861"/>
                </a:moveTo>
                <a:lnTo>
                  <a:pt x="117348" y="30861"/>
                </a:lnTo>
                <a:lnTo>
                  <a:pt x="131683" y="31980"/>
                </a:lnTo>
                <a:lnTo>
                  <a:pt x="145541" y="35337"/>
                </a:lnTo>
                <a:lnTo>
                  <a:pt x="158924" y="40933"/>
                </a:lnTo>
                <a:lnTo>
                  <a:pt x="171830" y="48768"/>
                </a:lnTo>
                <a:lnTo>
                  <a:pt x="171830" y="30861"/>
                </a:lnTo>
                <a:close/>
              </a:path>
              <a:path w="1784350" h="239395">
                <a:moveTo>
                  <a:pt x="328295" y="0"/>
                </a:moveTo>
                <a:lnTo>
                  <a:pt x="280289" y="8096"/>
                </a:lnTo>
                <a:lnTo>
                  <a:pt x="243331" y="32385"/>
                </a:lnTo>
                <a:lnTo>
                  <a:pt x="219678" y="71072"/>
                </a:lnTo>
                <a:lnTo>
                  <a:pt x="211836" y="122427"/>
                </a:lnTo>
                <a:lnTo>
                  <a:pt x="213719" y="147526"/>
                </a:lnTo>
                <a:lnTo>
                  <a:pt x="228820" y="190007"/>
                </a:lnTo>
                <a:lnTo>
                  <a:pt x="258470" y="221392"/>
                </a:lnTo>
                <a:lnTo>
                  <a:pt x="298908" y="237394"/>
                </a:lnTo>
                <a:lnTo>
                  <a:pt x="322961" y="239394"/>
                </a:lnTo>
                <a:lnTo>
                  <a:pt x="347652" y="237327"/>
                </a:lnTo>
                <a:lnTo>
                  <a:pt x="369712" y="231140"/>
                </a:lnTo>
                <a:lnTo>
                  <a:pt x="389129" y="220856"/>
                </a:lnTo>
                <a:lnTo>
                  <a:pt x="403519" y="208534"/>
                </a:lnTo>
                <a:lnTo>
                  <a:pt x="325627" y="208534"/>
                </a:lnTo>
                <a:lnTo>
                  <a:pt x="309098" y="207079"/>
                </a:lnTo>
                <a:lnTo>
                  <a:pt x="270128" y="185165"/>
                </a:lnTo>
                <a:lnTo>
                  <a:pt x="250608" y="140267"/>
                </a:lnTo>
                <a:lnTo>
                  <a:pt x="249395" y="122427"/>
                </a:lnTo>
                <a:lnTo>
                  <a:pt x="249440" y="118872"/>
                </a:lnTo>
                <a:lnTo>
                  <a:pt x="260873" y="68006"/>
                </a:lnTo>
                <a:lnTo>
                  <a:pt x="294084" y="36861"/>
                </a:lnTo>
                <a:lnTo>
                  <a:pt x="325627" y="30861"/>
                </a:lnTo>
                <a:lnTo>
                  <a:pt x="407450" y="30861"/>
                </a:lnTo>
                <a:lnTo>
                  <a:pt x="392410" y="17734"/>
                </a:lnTo>
                <a:lnTo>
                  <a:pt x="373856" y="7889"/>
                </a:lnTo>
                <a:lnTo>
                  <a:pt x="352492" y="1974"/>
                </a:lnTo>
                <a:lnTo>
                  <a:pt x="328295" y="0"/>
                </a:lnTo>
                <a:close/>
              </a:path>
              <a:path w="1784350" h="239395">
                <a:moveTo>
                  <a:pt x="407450" y="30861"/>
                </a:moveTo>
                <a:lnTo>
                  <a:pt x="325627" y="30861"/>
                </a:lnTo>
                <a:lnTo>
                  <a:pt x="342393" y="32313"/>
                </a:lnTo>
                <a:lnTo>
                  <a:pt x="357076" y="36671"/>
                </a:lnTo>
                <a:lnTo>
                  <a:pt x="388572" y="66938"/>
                </a:lnTo>
                <a:lnTo>
                  <a:pt x="399213" y="118872"/>
                </a:lnTo>
                <a:lnTo>
                  <a:pt x="399235" y="121031"/>
                </a:lnTo>
                <a:lnTo>
                  <a:pt x="398097" y="140166"/>
                </a:lnTo>
                <a:lnTo>
                  <a:pt x="380238" y="185547"/>
                </a:lnTo>
                <a:lnTo>
                  <a:pt x="342393" y="207103"/>
                </a:lnTo>
                <a:lnTo>
                  <a:pt x="325627" y="208534"/>
                </a:lnTo>
                <a:lnTo>
                  <a:pt x="403519" y="208534"/>
                </a:lnTo>
                <a:lnTo>
                  <a:pt x="429148" y="168116"/>
                </a:lnTo>
                <a:lnTo>
                  <a:pt x="436879" y="118872"/>
                </a:lnTo>
                <a:lnTo>
                  <a:pt x="435074" y="92485"/>
                </a:lnTo>
                <a:lnTo>
                  <a:pt x="429672" y="69135"/>
                </a:lnTo>
                <a:lnTo>
                  <a:pt x="420699" y="48809"/>
                </a:lnTo>
                <a:lnTo>
                  <a:pt x="408177" y="31495"/>
                </a:lnTo>
                <a:lnTo>
                  <a:pt x="407450" y="30861"/>
                </a:lnTo>
                <a:close/>
              </a:path>
              <a:path w="1784350" h="239395">
                <a:moveTo>
                  <a:pt x="532256" y="5461"/>
                </a:moveTo>
                <a:lnTo>
                  <a:pt x="495680" y="5461"/>
                </a:lnTo>
                <a:lnTo>
                  <a:pt x="495680" y="234061"/>
                </a:lnTo>
                <a:lnTo>
                  <a:pt x="532256" y="234061"/>
                </a:lnTo>
                <a:lnTo>
                  <a:pt x="532256" y="103631"/>
                </a:lnTo>
                <a:lnTo>
                  <a:pt x="533378" y="88584"/>
                </a:lnTo>
                <a:lnTo>
                  <a:pt x="536749" y="74882"/>
                </a:lnTo>
                <a:lnTo>
                  <a:pt x="542383" y="62537"/>
                </a:lnTo>
                <a:lnTo>
                  <a:pt x="550291" y="51562"/>
                </a:lnTo>
                <a:lnTo>
                  <a:pt x="558977" y="43306"/>
                </a:lnTo>
                <a:lnTo>
                  <a:pt x="532256" y="43306"/>
                </a:lnTo>
                <a:lnTo>
                  <a:pt x="532256" y="5461"/>
                </a:lnTo>
                <a:close/>
              </a:path>
              <a:path w="1784350" h="239395">
                <a:moveTo>
                  <a:pt x="669862" y="30861"/>
                </a:moveTo>
                <a:lnTo>
                  <a:pt x="595629" y="30861"/>
                </a:lnTo>
                <a:lnTo>
                  <a:pt x="618892" y="35409"/>
                </a:lnTo>
                <a:lnTo>
                  <a:pt x="635523" y="49053"/>
                </a:lnTo>
                <a:lnTo>
                  <a:pt x="645511" y="71794"/>
                </a:lnTo>
                <a:lnTo>
                  <a:pt x="648843" y="103631"/>
                </a:lnTo>
                <a:lnTo>
                  <a:pt x="648843" y="234061"/>
                </a:lnTo>
                <a:lnTo>
                  <a:pt x="685419" y="234061"/>
                </a:lnTo>
                <a:lnTo>
                  <a:pt x="685419" y="94233"/>
                </a:lnTo>
                <a:lnTo>
                  <a:pt x="684180" y="72709"/>
                </a:lnTo>
                <a:lnTo>
                  <a:pt x="680466" y="53863"/>
                </a:lnTo>
                <a:lnTo>
                  <a:pt x="674274" y="37709"/>
                </a:lnTo>
                <a:lnTo>
                  <a:pt x="669862" y="30861"/>
                </a:lnTo>
                <a:close/>
              </a:path>
              <a:path w="1784350" h="239395">
                <a:moveTo>
                  <a:pt x="608202" y="0"/>
                </a:moveTo>
                <a:lnTo>
                  <a:pt x="585081" y="2712"/>
                </a:lnTo>
                <a:lnTo>
                  <a:pt x="564864" y="10842"/>
                </a:lnTo>
                <a:lnTo>
                  <a:pt x="547552" y="24378"/>
                </a:lnTo>
                <a:lnTo>
                  <a:pt x="533146" y="43306"/>
                </a:lnTo>
                <a:lnTo>
                  <a:pt x="558977" y="43306"/>
                </a:lnTo>
                <a:lnTo>
                  <a:pt x="559839" y="42487"/>
                </a:lnTo>
                <a:lnTo>
                  <a:pt x="570579" y="36020"/>
                </a:lnTo>
                <a:lnTo>
                  <a:pt x="582509" y="32148"/>
                </a:lnTo>
                <a:lnTo>
                  <a:pt x="595629" y="30861"/>
                </a:lnTo>
                <a:lnTo>
                  <a:pt x="669862" y="30861"/>
                </a:lnTo>
                <a:lnTo>
                  <a:pt x="665606" y="24256"/>
                </a:lnTo>
                <a:lnTo>
                  <a:pt x="654530" y="13662"/>
                </a:lnTo>
                <a:lnTo>
                  <a:pt x="641286" y="6080"/>
                </a:lnTo>
                <a:lnTo>
                  <a:pt x="625852" y="1522"/>
                </a:lnTo>
                <a:lnTo>
                  <a:pt x="608202" y="0"/>
                </a:lnTo>
                <a:close/>
              </a:path>
              <a:path w="1784350" h="239395">
                <a:moveTo>
                  <a:pt x="740918" y="186436"/>
                </a:moveTo>
                <a:lnTo>
                  <a:pt x="740918" y="225806"/>
                </a:lnTo>
                <a:lnTo>
                  <a:pt x="754447" y="231733"/>
                </a:lnTo>
                <a:lnTo>
                  <a:pt x="769143" y="235981"/>
                </a:lnTo>
                <a:lnTo>
                  <a:pt x="785030" y="238539"/>
                </a:lnTo>
                <a:lnTo>
                  <a:pt x="802131" y="239394"/>
                </a:lnTo>
                <a:lnTo>
                  <a:pt x="810914" y="239135"/>
                </a:lnTo>
                <a:lnTo>
                  <a:pt x="851582" y="230282"/>
                </a:lnTo>
                <a:lnTo>
                  <a:pt x="880775" y="208534"/>
                </a:lnTo>
                <a:lnTo>
                  <a:pt x="806703" y="208534"/>
                </a:lnTo>
                <a:lnTo>
                  <a:pt x="789156" y="207152"/>
                </a:lnTo>
                <a:lnTo>
                  <a:pt x="772334" y="203009"/>
                </a:lnTo>
                <a:lnTo>
                  <a:pt x="756251" y="196103"/>
                </a:lnTo>
                <a:lnTo>
                  <a:pt x="740918" y="186436"/>
                </a:lnTo>
                <a:close/>
              </a:path>
              <a:path w="1784350" h="239395">
                <a:moveTo>
                  <a:pt x="828801" y="0"/>
                </a:moveTo>
                <a:lnTo>
                  <a:pt x="788745" y="6675"/>
                </a:lnTo>
                <a:lnTo>
                  <a:pt x="752687" y="31767"/>
                </a:lnTo>
                <a:lnTo>
                  <a:pt x="741299" y="66167"/>
                </a:lnTo>
                <a:lnTo>
                  <a:pt x="741299" y="74930"/>
                </a:lnTo>
                <a:lnTo>
                  <a:pt x="762000" y="111760"/>
                </a:lnTo>
                <a:lnTo>
                  <a:pt x="802767" y="132714"/>
                </a:lnTo>
                <a:lnTo>
                  <a:pt x="816864" y="138175"/>
                </a:lnTo>
                <a:lnTo>
                  <a:pt x="823214" y="140843"/>
                </a:lnTo>
                <a:lnTo>
                  <a:pt x="853567" y="165100"/>
                </a:lnTo>
                <a:lnTo>
                  <a:pt x="854964" y="170306"/>
                </a:lnTo>
                <a:lnTo>
                  <a:pt x="854964" y="176403"/>
                </a:lnTo>
                <a:lnTo>
                  <a:pt x="851959" y="190478"/>
                </a:lnTo>
                <a:lnTo>
                  <a:pt x="842930" y="200517"/>
                </a:lnTo>
                <a:lnTo>
                  <a:pt x="827853" y="206531"/>
                </a:lnTo>
                <a:lnTo>
                  <a:pt x="806703" y="208534"/>
                </a:lnTo>
                <a:lnTo>
                  <a:pt x="880775" y="208534"/>
                </a:lnTo>
                <a:lnTo>
                  <a:pt x="892428" y="172847"/>
                </a:lnTo>
                <a:lnTo>
                  <a:pt x="892428" y="163575"/>
                </a:lnTo>
                <a:lnTo>
                  <a:pt x="869188" y="126111"/>
                </a:lnTo>
                <a:lnTo>
                  <a:pt x="834451" y="108364"/>
                </a:lnTo>
                <a:lnTo>
                  <a:pt x="819530" y="102488"/>
                </a:lnTo>
                <a:lnTo>
                  <a:pt x="812673" y="99694"/>
                </a:lnTo>
                <a:lnTo>
                  <a:pt x="800862" y="94614"/>
                </a:lnTo>
                <a:lnTo>
                  <a:pt x="795781" y="91820"/>
                </a:lnTo>
                <a:lnTo>
                  <a:pt x="791591" y="88645"/>
                </a:lnTo>
                <a:lnTo>
                  <a:pt x="787400" y="85598"/>
                </a:lnTo>
                <a:lnTo>
                  <a:pt x="784225" y="82042"/>
                </a:lnTo>
                <a:lnTo>
                  <a:pt x="779906" y="73913"/>
                </a:lnTo>
                <a:lnTo>
                  <a:pt x="778891" y="68961"/>
                </a:lnTo>
                <a:lnTo>
                  <a:pt x="778891" y="58293"/>
                </a:lnTo>
                <a:lnTo>
                  <a:pt x="810895" y="31623"/>
                </a:lnTo>
                <a:lnTo>
                  <a:pt x="817118" y="30861"/>
                </a:lnTo>
                <a:lnTo>
                  <a:pt x="882015" y="30861"/>
                </a:lnTo>
                <a:lnTo>
                  <a:pt x="882015" y="10287"/>
                </a:lnTo>
                <a:lnTo>
                  <a:pt x="869896" y="5786"/>
                </a:lnTo>
                <a:lnTo>
                  <a:pt x="856980" y="2571"/>
                </a:lnTo>
                <a:lnTo>
                  <a:pt x="843278" y="642"/>
                </a:lnTo>
                <a:lnTo>
                  <a:pt x="828801" y="0"/>
                </a:lnTo>
                <a:close/>
              </a:path>
              <a:path w="1784350" h="239395">
                <a:moveTo>
                  <a:pt x="882015" y="30861"/>
                </a:moveTo>
                <a:lnTo>
                  <a:pt x="823976" y="30861"/>
                </a:lnTo>
                <a:lnTo>
                  <a:pt x="839884" y="31886"/>
                </a:lnTo>
                <a:lnTo>
                  <a:pt x="854852" y="34972"/>
                </a:lnTo>
                <a:lnTo>
                  <a:pt x="868892" y="40130"/>
                </a:lnTo>
                <a:lnTo>
                  <a:pt x="882015" y="47370"/>
                </a:lnTo>
                <a:lnTo>
                  <a:pt x="882015" y="30861"/>
                </a:lnTo>
                <a:close/>
              </a:path>
              <a:path w="1784350" h="239395">
                <a:moveTo>
                  <a:pt x="979804" y="5461"/>
                </a:moveTo>
                <a:lnTo>
                  <a:pt x="943355" y="5461"/>
                </a:lnTo>
                <a:lnTo>
                  <a:pt x="943355" y="141986"/>
                </a:lnTo>
                <a:lnTo>
                  <a:pt x="948473" y="184584"/>
                </a:lnTo>
                <a:lnTo>
                  <a:pt x="963818" y="215026"/>
                </a:lnTo>
                <a:lnTo>
                  <a:pt x="989379" y="233300"/>
                </a:lnTo>
                <a:lnTo>
                  <a:pt x="1025144" y="239394"/>
                </a:lnTo>
                <a:lnTo>
                  <a:pt x="1047408" y="236799"/>
                </a:lnTo>
                <a:lnTo>
                  <a:pt x="1066577" y="229012"/>
                </a:lnTo>
                <a:lnTo>
                  <a:pt x="1082651" y="216034"/>
                </a:lnTo>
                <a:lnTo>
                  <a:pt x="1088009" y="208534"/>
                </a:lnTo>
                <a:lnTo>
                  <a:pt x="1035176" y="208534"/>
                </a:lnTo>
                <a:lnTo>
                  <a:pt x="1010933" y="204011"/>
                </a:lnTo>
                <a:lnTo>
                  <a:pt x="993632" y="190452"/>
                </a:lnTo>
                <a:lnTo>
                  <a:pt x="983259" y="167868"/>
                </a:lnTo>
                <a:lnTo>
                  <a:pt x="979902" y="137160"/>
                </a:lnTo>
                <a:lnTo>
                  <a:pt x="979804" y="5461"/>
                </a:lnTo>
                <a:close/>
              </a:path>
              <a:path w="1784350" h="239395">
                <a:moveTo>
                  <a:pt x="1133094" y="197865"/>
                </a:moveTo>
                <a:lnTo>
                  <a:pt x="1096518" y="197865"/>
                </a:lnTo>
                <a:lnTo>
                  <a:pt x="1096518" y="234061"/>
                </a:lnTo>
                <a:lnTo>
                  <a:pt x="1133094" y="234061"/>
                </a:lnTo>
                <a:lnTo>
                  <a:pt x="1133094" y="197865"/>
                </a:lnTo>
                <a:close/>
              </a:path>
              <a:path w="1784350" h="239395">
                <a:moveTo>
                  <a:pt x="1133094" y="5461"/>
                </a:moveTo>
                <a:lnTo>
                  <a:pt x="1096518" y="5461"/>
                </a:lnTo>
                <a:lnTo>
                  <a:pt x="1096518" y="137160"/>
                </a:lnTo>
                <a:lnTo>
                  <a:pt x="1095444" y="152326"/>
                </a:lnTo>
                <a:lnTo>
                  <a:pt x="1079246" y="188849"/>
                </a:lnTo>
                <a:lnTo>
                  <a:pt x="1035176" y="208534"/>
                </a:lnTo>
                <a:lnTo>
                  <a:pt x="1088009" y="208534"/>
                </a:lnTo>
                <a:lnTo>
                  <a:pt x="1095628" y="197865"/>
                </a:lnTo>
                <a:lnTo>
                  <a:pt x="1133094" y="197865"/>
                </a:lnTo>
                <a:lnTo>
                  <a:pt x="1133094" y="5461"/>
                </a:lnTo>
                <a:close/>
              </a:path>
              <a:path w="1784350" h="239395">
                <a:moveTo>
                  <a:pt x="1243965" y="5461"/>
                </a:moveTo>
                <a:lnTo>
                  <a:pt x="1207389" y="5461"/>
                </a:lnTo>
                <a:lnTo>
                  <a:pt x="1207389" y="234061"/>
                </a:lnTo>
                <a:lnTo>
                  <a:pt x="1243965" y="234061"/>
                </a:lnTo>
                <a:lnTo>
                  <a:pt x="1244021" y="102743"/>
                </a:lnTo>
                <a:lnTo>
                  <a:pt x="1244941" y="88201"/>
                </a:lnTo>
                <a:lnTo>
                  <a:pt x="1259586" y="51054"/>
                </a:lnTo>
                <a:lnTo>
                  <a:pt x="1268971" y="41529"/>
                </a:lnTo>
                <a:lnTo>
                  <a:pt x="1243965" y="41529"/>
                </a:lnTo>
                <a:lnTo>
                  <a:pt x="1243965" y="5461"/>
                </a:lnTo>
                <a:close/>
              </a:path>
              <a:path w="1784350" h="239395">
                <a:moveTo>
                  <a:pt x="1372932" y="30861"/>
                </a:moveTo>
                <a:lnTo>
                  <a:pt x="1299337" y="30861"/>
                </a:lnTo>
                <a:lnTo>
                  <a:pt x="1322099" y="35075"/>
                </a:lnTo>
                <a:lnTo>
                  <a:pt x="1338373" y="47720"/>
                </a:lnTo>
                <a:lnTo>
                  <a:pt x="1348146" y="68794"/>
                </a:lnTo>
                <a:lnTo>
                  <a:pt x="1351406" y="98298"/>
                </a:lnTo>
                <a:lnTo>
                  <a:pt x="1351406" y="234061"/>
                </a:lnTo>
                <a:lnTo>
                  <a:pt x="1387982" y="234061"/>
                </a:lnTo>
                <a:lnTo>
                  <a:pt x="1388046" y="102743"/>
                </a:lnTo>
                <a:lnTo>
                  <a:pt x="1397198" y="63537"/>
                </a:lnTo>
                <a:lnTo>
                  <a:pt x="1408915" y="47370"/>
                </a:lnTo>
                <a:lnTo>
                  <a:pt x="1380617" y="47370"/>
                </a:lnTo>
                <a:lnTo>
                  <a:pt x="1376689" y="37298"/>
                </a:lnTo>
                <a:lnTo>
                  <a:pt x="1372932" y="30861"/>
                </a:lnTo>
                <a:close/>
              </a:path>
              <a:path w="1784350" h="239395">
                <a:moveTo>
                  <a:pt x="1516815" y="30861"/>
                </a:moveTo>
                <a:lnTo>
                  <a:pt x="1444244" y="30861"/>
                </a:lnTo>
                <a:lnTo>
                  <a:pt x="1457074" y="31930"/>
                </a:lnTo>
                <a:lnTo>
                  <a:pt x="1467929" y="35131"/>
                </a:lnTo>
                <a:lnTo>
                  <a:pt x="1492408" y="70072"/>
                </a:lnTo>
                <a:lnTo>
                  <a:pt x="1495298" y="102743"/>
                </a:lnTo>
                <a:lnTo>
                  <a:pt x="1495298" y="234061"/>
                </a:lnTo>
                <a:lnTo>
                  <a:pt x="1532001" y="234061"/>
                </a:lnTo>
                <a:lnTo>
                  <a:pt x="1532001" y="93091"/>
                </a:lnTo>
                <a:lnTo>
                  <a:pt x="1527286" y="52399"/>
                </a:lnTo>
                <a:lnTo>
                  <a:pt x="1516815" y="30861"/>
                </a:lnTo>
                <a:close/>
              </a:path>
              <a:path w="1784350" h="239395">
                <a:moveTo>
                  <a:pt x="1456563" y="0"/>
                </a:moveTo>
                <a:lnTo>
                  <a:pt x="1432891" y="2972"/>
                </a:lnTo>
                <a:lnTo>
                  <a:pt x="1412351" y="11874"/>
                </a:lnTo>
                <a:lnTo>
                  <a:pt x="1394930" y="26681"/>
                </a:lnTo>
                <a:lnTo>
                  <a:pt x="1380617" y="47370"/>
                </a:lnTo>
                <a:lnTo>
                  <a:pt x="1408915" y="47370"/>
                </a:lnTo>
                <a:lnTo>
                  <a:pt x="1413007" y="42916"/>
                </a:lnTo>
                <a:lnTo>
                  <a:pt x="1422542" y="36210"/>
                </a:lnTo>
                <a:lnTo>
                  <a:pt x="1432958" y="32196"/>
                </a:lnTo>
                <a:lnTo>
                  <a:pt x="1444244" y="30861"/>
                </a:lnTo>
                <a:lnTo>
                  <a:pt x="1516815" y="30861"/>
                </a:lnTo>
                <a:lnTo>
                  <a:pt x="1513141" y="23304"/>
                </a:lnTo>
                <a:lnTo>
                  <a:pt x="1489567" y="5830"/>
                </a:lnTo>
                <a:lnTo>
                  <a:pt x="1456563" y="0"/>
                </a:lnTo>
                <a:close/>
              </a:path>
              <a:path w="1784350" h="239395">
                <a:moveTo>
                  <a:pt x="1315847" y="0"/>
                </a:moveTo>
                <a:lnTo>
                  <a:pt x="1293913" y="2595"/>
                </a:lnTo>
                <a:lnTo>
                  <a:pt x="1274778" y="10382"/>
                </a:lnTo>
                <a:lnTo>
                  <a:pt x="1258429" y="23360"/>
                </a:lnTo>
                <a:lnTo>
                  <a:pt x="1244853" y="41529"/>
                </a:lnTo>
                <a:lnTo>
                  <a:pt x="1268971" y="41529"/>
                </a:lnTo>
                <a:lnTo>
                  <a:pt x="1277366" y="35909"/>
                </a:lnTo>
                <a:lnTo>
                  <a:pt x="1287839" y="32123"/>
                </a:lnTo>
                <a:lnTo>
                  <a:pt x="1299337" y="30861"/>
                </a:lnTo>
                <a:lnTo>
                  <a:pt x="1372932" y="30861"/>
                </a:lnTo>
                <a:lnTo>
                  <a:pt x="1371393" y="28225"/>
                </a:lnTo>
                <a:lnTo>
                  <a:pt x="1337770" y="3301"/>
                </a:lnTo>
                <a:lnTo>
                  <a:pt x="1327183" y="829"/>
                </a:lnTo>
                <a:lnTo>
                  <a:pt x="1315847" y="0"/>
                </a:lnTo>
                <a:close/>
              </a:path>
              <a:path w="1784350" h="239395">
                <a:moveTo>
                  <a:pt x="1690370" y="0"/>
                </a:moveTo>
                <a:lnTo>
                  <a:pt x="1649110" y="8445"/>
                </a:lnTo>
                <a:lnTo>
                  <a:pt x="1615186" y="33655"/>
                </a:lnTo>
                <a:lnTo>
                  <a:pt x="1592500" y="72199"/>
                </a:lnTo>
                <a:lnTo>
                  <a:pt x="1584960" y="120650"/>
                </a:lnTo>
                <a:lnTo>
                  <a:pt x="1586678" y="147272"/>
                </a:lnTo>
                <a:lnTo>
                  <a:pt x="1600497" y="191087"/>
                </a:lnTo>
                <a:lnTo>
                  <a:pt x="1627764" y="221874"/>
                </a:lnTo>
                <a:lnTo>
                  <a:pt x="1665813" y="237444"/>
                </a:lnTo>
                <a:lnTo>
                  <a:pt x="1688719" y="239394"/>
                </a:lnTo>
                <a:lnTo>
                  <a:pt x="1712289" y="238017"/>
                </a:lnTo>
                <a:lnTo>
                  <a:pt x="1733454" y="233902"/>
                </a:lnTo>
                <a:lnTo>
                  <a:pt x="1752191" y="227072"/>
                </a:lnTo>
                <a:lnTo>
                  <a:pt x="1768475" y="217550"/>
                </a:lnTo>
                <a:lnTo>
                  <a:pt x="1768475" y="208534"/>
                </a:lnTo>
                <a:lnTo>
                  <a:pt x="1697481" y="208534"/>
                </a:lnTo>
                <a:lnTo>
                  <a:pt x="1681170" y="207246"/>
                </a:lnTo>
                <a:lnTo>
                  <a:pt x="1643379" y="187833"/>
                </a:lnTo>
                <a:lnTo>
                  <a:pt x="1624502" y="146881"/>
                </a:lnTo>
                <a:lnTo>
                  <a:pt x="1622932" y="128905"/>
                </a:lnTo>
                <a:lnTo>
                  <a:pt x="1784350" y="128905"/>
                </a:lnTo>
                <a:lnTo>
                  <a:pt x="1784350" y="109727"/>
                </a:lnTo>
                <a:lnTo>
                  <a:pt x="1783593" y="97789"/>
                </a:lnTo>
                <a:lnTo>
                  <a:pt x="1623314" y="97789"/>
                </a:lnTo>
                <a:lnTo>
                  <a:pt x="1626288" y="83550"/>
                </a:lnTo>
                <a:lnTo>
                  <a:pt x="1645666" y="49402"/>
                </a:lnTo>
                <a:lnTo>
                  <a:pt x="1689607" y="30861"/>
                </a:lnTo>
                <a:lnTo>
                  <a:pt x="1760915" y="30861"/>
                </a:lnTo>
                <a:lnTo>
                  <a:pt x="1759712" y="29082"/>
                </a:lnTo>
                <a:lnTo>
                  <a:pt x="1746162" y="16394"/>
                </a:lnTo>
                <a:lnTo>
                  <a:pt x="1730089" y="7302"/>
                </a:lnTo>
                <a:lnTo>
                  <a:pt x="1711491" y="1829"/>
                </a:lnTo>
                <a:lnTo>
                  <a:pt x="1690370" y="0"/>
                </a:lnTo>
                <a:close/>
              </a:path>
              <a:path w="1784350" h="239395">
                <a:moveTo>
                  <a:pt x="1768475" y="183134"/>
                </a:moveTo>
                <a:lnTo>
                  <a:pt x="1751881" y="194228"/>
                </a:lnTo>
                <a:lnTo>
                  <a:pt x="1734502" y="202168"/>
                </a:lnTo>
                <a:lnTo>
                  <a:pt x="1716361" y="206940"/>
                </a:lnTo>
                <a:lnTo>
                  <a:pt x="1697481" y="208534"/>
                </a:lnTo>
                <a:lnTo>
                  <a:pt x="1768475" y="208534"/>
                </a:lnTo>
                <a:lnTo>
                  <a:pt x="1768475" y="183134"/>
                </a:lnTo>
                <a:close/>
              </a:path>
              <a:path w="1784350" h="239395">
                <a:moveTo>
                  <a:pt x="1760915" y="30861"/>
                </a:moveTo>
                <a:lnTo>
                  <a:pt x="1689607" y="30861"/>
                </a:lnTo>
                <a:lnTo>
                  <a:pt x="1702300" y="31958"/>
                </a:lnTo>
                <a:lnTo>
                  <a:pt x="1713515" y="35258"/>
                </a:lnTo>
                <a:lnTo>
                  <a:pt x="1742852" y="69627"/>
                </a:lnTo>
                <a:lnTo>
                  <a:pt x="1746757" y="97789"/>
                </a:lnTo>
                <a:lnTo>
                  <a:pt x="1783593" y="97789"/>
                </a:lnTo>
                <a:lnTo>
                  <a:pt x="1782804" y="85322"/>
                </a:lnTo>
                <a:lnTo>
                  <a:pt x="1778174" y="63738"/>
                </a:lnTo>
                <a:lnTo>
                  <a:pt x="1770473" y="44987"/>
                </a:lnTo>
                <a:lnTo>
                  <a:pt x="1760915" y="30861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720420" y="4902552"/>
            <a:ext cx="1221691" cy="835892"/>
          </a:xfrm>
          <a:custGeom>
            <a:avLst/>
            <a:gdLst/>
            <a:ahLst/>
            <a:cxnLst/>
            <a:rect l="l" t="t" r="r" b="b"/>
            <a:pathLst>
              <a:path w="1661159" h="939164">
                <a:moveTo>
                  <a:pt x="0" y="938784"/>
                </a:moveTo>
                <a:lnTo>
                  <a:pt x="1661159" y="938784"/>
                </a:lnTo>
                <a:lnTo>
                  <a:pt x="1661159" y="0"/>
                </a:lnTo>
                <a:lnTo>
                  <a:pt x="0" y="0"/>
                </a:lnTo>
                <a:lnTo>
                  <a:pt x="0" y="938784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839880" y="5093298"/>
            <a:ext cx="978380" cy="434053"/>
          </a:xfrm>
          <a:custGeom>
            <a:avLst/>
            <a:gdLst/>
            <a:ahLst/>
            <a:cxnLst/>
            <a:rect l="l" t="t" r="r" b="b"/>
            <a:pathLst>
              <a:path w="1330325" h="487679">
                <a:moveTo>
                  <a:pt x="0" y="395350"/>
                </a:moveTo>
                <a:lnTo>
                  <a:pt x="0" y="460501"/>
                </a:lnTo>
                <a:lnTo>
                  <a:pt x="4972" y="463571"/>
                </a:lnTo>
                <a:lnTo>
                  <a:pt x="48442" y="478555"/>
                </a:lnTo>
                <a:lnTo>
                  <a:pt x="90424" y="485647"/>
                </a:lnTo>
                <a:lnTo>
                  <a:pt x="118110" y="487425"/>
                </a:lnTo>
                <a:lnTo>
                  <a:pt x="134713" y="487013"/>
                </a:lnTo>
                <a:lnTo>
                  <a:pt x="181864" y="480694"/>
                </a:lnTo>
                <a:lnTo>
                  <a:pt x="223279" y="465871"/>
                </a:lnTo>
                <a:lnTo>
                  <a:pt x="256174" y="441452"/>
                </a:lnTo>
                <a:lnTo>
                  <a:pt x="259215" y="437769"/>
                </a:lnTo>
                <a:lnTo>
                  <a:pt x="126619" y="437769"/>
                </a:lnTo>
                <a:lnTo>
                  <a:pt x="119096" y="437580"/>
                </a:lnTo>
                <a:lnTo>
                  <a:pt x="77025" y="431228"/>
                </a:lnTo>
                <a:lnTo>
                  <a:pt x="34722" y="416893"/>
                </a:lnTo>
                <a:lnTo>
                  <a:pt x="5883" y="400182"/>
                </a:lnTo>
                <a:lnTo>
                  <a:pt x="0" y="395350"/>
                </a:lnTo>
                <a:close/>
              </a:path>
              <a:path w="1330325" h="487679">
                <a:moveTo>
                  <a:pt x="164465" y="0"/>
                </a:moveTo>
                <a:lnTo>
                  <a:pt x="119209" y="4286"/>
                </a:lnTo>
                <a:lnTo>
                  <a:pt x="76596" y="17113"/>
                </a:lnTo>
                <a:lnTo>
                  <a:pt x="40987" y="38846"/>
                </a:lnTo>
                <a:lnTo>
                  <a:pt x="14859" y="69850"/>
                </a:lnTo>
                <a:lnTo>
                  <a:pt x="1518" y="110408"/>
                </a:lnTo>
                <a:lnTo>
                  <a:pt x="635" y="125983"/>
                </a:lnTo>
                <a:lnTo>
                  <a:pt x="1206" y="138719"/>
                </a:lnTo>
                <a:lnTo>
                  <a:pt x="14684" y="181379"/>
                </a:lnTo>
                <a:lnTo>
                  <a:pt x="42787" y="214451"/>
                </a:lnTo>
                <a:lnTo>
                  <a:pt x="82635" y="241581"/>
                </a:lnTo>
                <a:lnTo>
                  <a:pt x="129232" y="266330"/>
                </a:lnTo>
                <a:lnTo>
                  <a:pt x="161290" y="283082"/>
                </a:lnTo>
                <a:lnTo>
                  <a:pt x="196342" y="305434"/>
                </a:lnTo>
                <a:lnTo>
                  <a:pt x="223250" y="338593"/>
                </a:lnTo>
                <a:lnTo>
                  <a:pt x="227965" y="364489"/>
                </a:lnTo>
                <a:lnTo>
                  <a:pt x="226393" y="381180"/>
                </a:lnTo>
                <a:lnTo>
                  <a:pt x="202819" y="418845"/>
                </a:lnTo>
                <a:lnTo>
                  <a:pt x="150526" y="436598"/>
                </a:lnTo>
                <a:lnTo>
                  <a:pt x="126619" y="437769"/>
                </a:lnTo>
                <a:lnTo>
                  <a:pt x="259215" y="437769"/>
                </a:lnTo>
                <a:lnTo>
                  <a:pt x="282448" y="392731"/>
                </a:lnTo>
                <a:lnTo>
                  <a:pt x="285877" y="360552"/>
                </a:lnTo>
                <a:lnTo>
                  <a:pt x="285238" y="347714"/>
                </a:lnTo>
                <a:lnTo>
                  <a:pt x="270365" y="303841"/>
                </a:lnTo>
                <a:lnTo>
                  <a:pt x="239758" y="268412"/>
                </a:lnTo>
                <a:lnTo>
                  <a:pt x="208915" y="245999"/>
                </a:lnTo>
                <a:lnTo>
                  <a:pt x="173356" y="226067"/>
                </a:lnTo>
                <a:lnTo>
                  <a:pt x="137636" y="208057"/>
                </a:lnTo>
                <a:lnTo>
                  <a:pt x="127083" y="202600"/>
                </a:lnTo>
                <a:lnTo>
                  <a:pt x="92146" y="181677"/>
                </a:lnTo>
                <a:lnTo>
                  <a:pt x="65278" y="152272"/>
                </a:lnTo>
                <a:lnTo>
                  <a:pt x="58547" y="121031"/>
                </a:lnTo>
                <a:lnTo>
                  <a:pt x="59096" y="111694"/>
                </a:lnTo>
                <a:lnTo>
                  <a:pt x="77644" y="75914"/>
                </a:lnTo>
                <a:lnTo>
                  <a:pt x="113891" y="55987"/>
                </a:lnTo>
                <a:lnTo>
                  <a:pt x="158877" y="50037"/>
                </a:lnTo>
                <a:lnTo>
                  <a:pt x="266065" y="50037"/>
                </a:lnTo>
                <a:lnTo>
                  <a:pt x="266065" y="16763"/>
                </a:lnTo>
                <a:lnTo>
                  <a:pt x="247778" y="9429"/>
                </a:lnTo>
                <a:lnTo>
                  <a:pt x="224742" y="4191"/>
                </a:lnTo>
                <a:lnTo>
                  <a:pt x="196967" y="1047"/>
                </a:lnTo>
                <a:lnTo>
                  <a:pt x="164465" y="0"/>
                </a:lnTo>
                <a:close/>
              </a:path>
              <a:path w="1330325" h="487679">
                <a:moveTo>
                  <a:pt x="266065" y="50037"/>
                </a:moveTo>
                <a:lnTo>
                  <a:pt x="158877" y="50037"/>
                </a:lnTo>
                <a:lnTo>
                  <a:pt x="190144" y="51847"/>
                </a:lnTo>
                <a:lnTo>
                  <a:pt x="218424" y="57276"/>
                </a:lnTo>
                <a:lnTo>
                  <a:pt x="243726" y="66325"/>
                </a:lnTo>
                <a:lnTo>
                  <a:pt x="266065" y="78993"/>
                </a:lnTo>
                <a:lnTo>
                  <a:pt x="266065" y="50037"/>
                </a:lnTo>
                <a:close/>
              </a:path>
              <a:path w="1330325" h="487679">
                <a:moveTo>
                  <a:pt x="592243" y="180212"/>
                </a:moveTo>
                <a:lnTo>
                  <a:pt x="490728" y="180212"/>
                </a:lnTo>
                <a:lnTo>
                  <a:pt x="521065" y="185590"/>
                </a:lnTo>
                <a:lnTo>
                  <a:pt x="542734" y="201707"/>
                </a:lnTo>
                <a:lnTo>
                  <a:pt x="555736" y="228540"/>
                </a:lnTo>
                <a:lnTo>
                  <a:pt x="560070" y="266064"/>
                </a:lnTo>
                <a:lnTo>
                  <a:pt x="459105" y="280288"/>
                </a:lnTo>
                <a:lnTo>
                  <a:pt x="410505" y="292935"/>
                </a:lnTo>
                <a:lnTo>
                  <a:pt x="375777" y="315452"/>
                </a:lnTo>
                <a:lnTo>
                  <a:pt x="354931" y="347851"/>
                </a:lnTo>
                <a:lnTo>
                  <a:pt x="347980" y="390144"/>
                </a:lnTo>
                <a:lnTo>
                  <a:pt x="349763" y="411073"/>
                </a:lnTo>
                <a:lnTo>
                  <a:pt x="363999" y="446454"/>
                </a:lnTo>
                <a:lnTo>
                  <a:pt x="391999" y="472477"/>
                </a:lnTo>
                <a:lnTo>
                  <a:pt x="431381" y="485761"/>
                </a:lnTo>
                <a:lnTo>
                  <a:pt x="455168" y="487425"/>
                </a:lnTo>
                <a:lnTo>
                  <a:pt x="487291" y="483641"/>
                </a:lnTo>
                <a:lnTo>
                  <a:pt x="515270" y="472297"/>
                </a:lnTo>
                <a:lnTo>
                  <a:pt x="539107" y="453403"/>
                </a:lnTo>
                <a:lnTo>
                  <a:pt x="547539" y="442087"/>
                </a:lnTo>
                <a:lnTo>
                  <a:pt x="467741" y="442087"/>
                </a:lnTo>
                <a:lnTo>
                  <a:pt x="453808" y="441110"/>
                </a:lnTo>
                <a:lnTo>
                  <a:pt x="413083" y="418085"/>
                </a:lnTo>
                <a:lnTo>
                  <a:pt x="403225" y="386206"/>
                </a:lnTo>
                <a:lnTo>
                  <a:pt x="404415" y="370538"/>
                </a:lnTo>
                <a:lnTo>
                  <a:pt x="432964" y="332797"/>
                </a:lnTo>
                <a:lnTo>
                  <a:pt x="478917" y="320420"/>
                </a:lnTo>
                <a:lnTo>
                  <a:pt x="560070" y="309244"/>
                </a:lnTo>
                <a:lnTo>
                  <a:pt x="614045" y="309244"/>
                </a:lnTo>
                <a:lnTo>
                  <a:pt x="614045" y="260476"/>
                </a:lnTo>
                <a:lnTo>
                  <a:pt x="606617" y="205543"/>
                </a:lnTo>
                <a:lnTo>
                  <a:pt x="592243" y="180212"/>
                </a:lnTo>
                <a:close/>
              </a:path>
              <a:path w="1330325" h="487679">
                <a:moveTo>
                  <a:pt x="614045" y="426974"/>
                </a:moveTo>
                <a:lnTo>
                  <a:pt x="560070" y="426974"/>
                </a:lnTo>
                <a:lnTo>
                  <a:pt x="560070" y="479551"/>
                </a:lnTo>
                <a:lnTo>
                  <a:pt x="614045" y="479551"/>
                </a:lnTo>
                <a:lnTo>
                  <a:pt x="614045" y="426974"/>
                </a:lnTo>
                <a:close/>
              </a:path>
              <a:path w="1330325" h="487679">
                <a:moveTo>
                  <a:pt x="614045" y="309244"/>
                </a:moveTo>
                <a:lnTo>
                  <a:pt x="560070" y="309244"/>
                </a:lnTo>
                <a:lnTo>
                  <a:pt x="560070" y="342772"/>
                </a:lnTo>
                <a:lnTo>
                  <a:pt x="558446" y="363368"/>
                </a:lnTo>
                <a:lnTo>
                  <a:pt x="533908" y="413893"/>
                </a:lnTo>
                <a:lnTo>
                  <a:pt x="486884" y="440324"/>
                </a:lnTo>
                <a:lnTo>
                  <a:pt x="467741" y="442087"/>
                </a:lnTo>
                <a:lnTo>
                  <a:pt x="547539" y="442087"/>
                </a:lnTo>
                <a:lnTo>
                  <a:pt x="558800" y="426974"/>
                </a:lnTo>
                <a:lnTo>
                  <a:pt x="614045" y="426974"/>
                </a:lnTo>
                <a:lnTo>
                  <a:pt x="614045" y="309244"/>
                </a:lnTo>
                <a:close/>
              </a:path>
              <a:path w="1330325" h="487679">
                <a:moveTo>
                  <a:pt x="495300" y="134874"/>
                </a:moveTo>
                <a:lnTo>
                  <a:pt x="463865" y="136850"/>
                </a:lnTo>
                <a:lnTo>
                  <a:pt x="434324" y="142779"/>
                </a:lnTo>
                <a:lnTo>
                  <a:pt x="406663" y="152661"/>
                </a:lnTo>
                <a:lnTo>
                  <a:pt x="380873" y="166496"/>
                </a:lnTo>
                <a:lnTo>
                  <a:pt x="380873" y="221741"/>
                </a:lnTo>
                <a:lnTo>
                  <a:pt x="406092" y="203573"/>
                </a:lnTo>
                <a:lnTo>
                  <a:pt x="432800" y="190595"/>
                </a:lnTo>
                <a:lnTo>
                  <a:pt x="461008" y="182808"/>
                </a:lnTo>
                <a:lnTo>
                  <a:pt x="490728" y="180212"/>
                </a:lnTo>
                <a:lnTo>
                  <a:pt x="592243" y="180212"/>
                </a:lnTo>
                <a:lnTo>
                  <a:pt x="584342" y="166290"/>
                </a:lnTo>
                <a:lnTo>
                  <a:pt x="547233" y="142730"/>
                </a:lnTo>
                <a:lnTo>
                  <a:pt x="495300" y="134874"/>
                </a:lnTo>
                <a:close/>
              </a:path>
              <a:path w="1330325" h="487679">
                <a:moveTo>
                  <a:pt x="935143" y="180212"/>
                </a:moveTo>
                <a:lnTo>
                  <a:pt x="833628" y="180212"/>
                </a:lnTo>
                <a:lnTo>
                  <a:pt x="863965" y="185590"/>
                </a:lnTo>
                <a:lnTo>
                  <a:pt x="885634" y="201707"/>
                </a:lnTo>
                <a:lnTo>
                  <a:pt x="898636" y="228540"/>
                </a:lnTo>
                <a:lnTo>
                  <a:pt x="902970" y="266064"/>
                </a:lnTo>
                <a:lnTo>
                  <a:pt x="802005" y="280288"/>
                </a:lnTo>
                <a:lnTo>
                  <a:pt x="753405" y="292935"/>
                </a:lnTo>
                <a:lnTo>
                  <a:pt x="718677" y="315452"/>
                </a:lnTo>
                <a:lnTo>
                  <a:pt x="697831" y="347851"/>
                </a:lnTo>
                <a:lnTo>
                  <a:pt x="690880" y="390144"/>
                </a:lnTo>
                <a:lnTo>
                  <a:pt x="692663" y="411073"/>
                </a:lnTo>
                <a:lnTo>
                  <a:pt x="706899" y="446454"/>
                </a:lnTo>
                <a:lnTo>
                  <a:pt x="734899" y="472477"/>
                </a:lnTo>
                <a:lnTo>
                  <a:pt x="774281" y="485761"/>
                </a:lnTo>
                <a:lnTo>
                  <a:pt x="798068" y="487425"/>
                </a:lnTo>
                <a:lnTo>
                  <a:pt x="830191" y="483641"/>
                </a:lnTo>
                <a:lnTo>
                  <a:pt x="858170" y="472297"/>
                </a:lnTo>
                <a:lnTo>
                  <a:pt x="882007" y="453403"/>
                </a:lnTo>
                <a:lnTo>
                  <a:pt x="890439" y="442087"/>
                </a:lnTo>
                <a:lnTo>
                  <a:pt x="810641" y="442087"/>
                </a:lnTo>
                <a:lnTo>
                  <a:pt x="796708" y="441110"/>
                </a:lnTo>
                <a:lnTo>
                  <a:pt x="755983" y="418085"/>
                </a:lnTo>
                <a:lnTo>
                  <a:pt x="746125" y="386206"/>
                </a:lnTo>
                <a:lnTo>
                  <a:pt x="747315" y="370538"/>
                </a:lnTo>
                <a:lnTo>
                  <a:pt x="775864" y="332797"/>
                </a:lnTo>
                <a:lnTo>
                  <a:pt x="821817" y="320420"/>
                </a:lnTo>
                <a:lnTo>
                  <a:pt x="902970" y="309244"/>
                </a:lnTo>
                <a:lnTo>
                  <a:pt x="956945" y="309244"/>
                </a:lnTo>
                <a:lnTo>
                  <a:pt x="956945" y="260476"/>
                </a:lnTo>
                <a:lnTo>
                  <a:pt x="949517" y="205543"/>
                </a:lnTo>
                <a:lnTo>
                  <a:pt x="935143" y="180212"/>
                </a:lnTo>
                <a:close/>
              </a:path>
              <a:path w="1330325" h="487679">
                <a:moveTo>
                  <a:pt x="956945" y="426974"/>
                </a:moveTo>
                <a:lnTo>
                  <a:pt x="902970" y="426974"/>
                </a:lnTo>
                <a:lnTo>
                  <a:pt x="902970" y="479551"/>
                </a:lnTo>
                <a:lnTo>
                  <a:pt x="956945" y="479551"/>
                </a:lnTo>
                <a:lnTo>
                  <a:pt x="956945" y="426974"/>
                </a:lnTo>
                <a:close/>
              </a:path>
              <a:path w="1330325" h="487679">
                <a:moveTo>
                  <a:pt x="956945" y="309244"/>
                </a:moveTo>
                <a:lnTo>
                  <a:pt x="902970" y="309244"/>
                </a:lnTo>
                <a:lnTo>
                  <a:pt x="902970" y="342772"/>
                </a:lnTo>
                <a:lnTo>
                  <a:pt x="901346" y="363368"/>
                </a:lnTo>
                <a:lnTo>
                  <a:pt x="876808" y="413893"/>
                </a:lnTo>
                <a:lnTo>
                  <a:pt x="829784" y="440324"/>
                </a:lnTo>
                <a:lnTo>
                  <a:pt x="810641" y="442087"/>
                </a:lnTo>
                <a:lnTo>
                  <a:pt x="890439" y="442087"/>
                </a:lnTo>
                <a:lnTo>
                  <a:pt x="901700" y="426974"/>
                </a:lnTo>
                <a:lnTo>
                  <a:pt x="956945" y="426974"/>
                </a:lnTo>
                <a:lnTo>
                  <a:pt x="956945" y="309244"/>
                </a:lnTo>
                <a:close/>
              </a:path>
              <a:path w="1330325" h="487679">
                <a:moveTo>
                  <a:pt x="838200" y="134874"/>
                </a:moveTo>
                <a:lnTo>
                  <a:pt x="806765" y="136850"/>
                </a:lnTo>
                <a:lnTo>
                  <a:pt x="777224" y="142779"/>
                </a:lnTo>
                <a:lnTo>
                  <a:pt x="749563" y="152661"/>
                </a:lnTo>
                <a:lnTo>
                  <a:pt x="723773" y="166496"/>
                </a:lnTo>
                <a:lnTo>
                  <a:pt x="723773" y="221741"/>
                </a:lnTo>
                <a:lnTo>
                  <a:pt x="748992" y="203573"/>
                </a:lnTo>
                <a:lnTo>
                  <a:pt x="775700" y="190595"/>
                </a:lnTo>
                <a:lnTo>
                  <a:pt x="803908" y="182808"/>
                </a:lnTo>
                <a:lnTo>
                  <a:pt x="833628" y="180212"/>
                </a:lnTo>
                <a:lnTo>
                  <a:pt x="935143" y="180212"/>
                </a:lnTo>
                <a:lnTo>
                  <a:pt x="927242" y="166290"/>
                </a:lnTo>
                <a:lnTo>
                  <a:pt x="890133" y="142730"/>
                </a:lnTo>
                <a:lnTo>
                  <a:pt x="838200" y="134874"/>
                </a:lnTo>
                <a:close/>
              </a:path>
              <a:path w="1330325" h="487679">
                <a:moveTo>
                  <a:pt x="1043940" y="395350"/>
                </a:moveTo>
                <a:lnTo>
                  <a:pt x="1043940" y="460501"/>
                </a:lnTo>
                <a:lnTo>
                  <a:pt x="1048912" y="463571"/>
                </a:lnTo>
                <a:lnTo>
                  <a:pt x="1092382" y="478555"/>
                </a:lnTo>
                <a:lnTo>
                  <a:pt x="1134364" y="485647"/>
                </a:lnTo>
                <a:lnTo>
                  <a:pt x="1162050" y="487425"/>
                </a:lnTo>
                <a:lnTo>
                  <a:pt x="1178653" y="487013"/>
                </a:lnTo>
                <a:lnTo>
                  <a:pt x="1225804" y="480694"/>
                </a:lnTo>
                <a:lnTo>
                  <a:pt x="1267219" y="465871"/>
                </a:lnTo>
                <a:lnTo>
                  <a:pt x="1300114" y="441452"/>
                </a:lnTo>
                <a:lnTo>
                  <a:pt x="1303155" y="437769"/>
                </a:lnTo>
                <a:lnTo>
                  <a:pt x="1170559" y="437769"/>
                </a:lnTo>
                <a:lnTo>
                  <a:pt x="1163036" y="437580"/>
                </a:lnTo>
                <a:lnTo>
                  <a:pt x="1120965" y="431228"/>
                </a:lnTo>
                <a:lnTo>
                  <a:pt x="1078662" y="416893"/>
                </a:lnTo>
                <a:lnTo>
                  <a:pt x="1049823" y="400182"/>
                </a:lnTo>
                <a:lnTo>
                  <a:pt x="1043940" y="395350"/>
                </a:lnTo>
                <a:close/>
              </a:path>
              <a:path w="1330325" h="487679">
                <a:moveTo>
                  <a:pt x="1208405" y="0"/>
                </a:moveTo>
                <a:lnTo>
                  <a:pt x="1163149" y="4286"/>
                </a:lnTo>
                <a:lnTo>
                  <a:pt x="1120536" y="17113"/>
                </a:lnTo>
                <a:lnTo>
                  <a:pt x="1084927" y="38846"/>
                </a:lnTo>
                <a:lnTo>
                  <a:pt x="1058799" y="69850"/>
                </a:lnTo>
                <a:lnTo>
                  <a:pt x="1045458" y="110408"/>
                </a:lnTo>
                <a:lnTo>
                  <a:pt x="1044575" y="125983"/>
                </a:lnTo>
                <a:lnTo>
                  <a:pt x="1045146" y="138719"/>
                </a:lnTo>
                <a:lnTo>
                  <a:pt x="1058624" y="181379"/>
                </a:lnTo>
                <a:lnTo>
                  <a:pt x="1086727" y="214451"/>
                </a:lnTo>
                <a:lnTo>
                  <a:pt x="1126575" y="241581"/>
                </a:lnTo>
                <a:lnTo>
                  <a:pt x="1173172" y="266330"/>
                </a:lnTo>
                <a:lnTo>
                  <a:pt x="1205230" y="283082"/>
                </a:lnTo>
                <a:lnTo>
                  <a:pt x="1240282" y="305434"/>
                </a:lnTo>
                <a:lnTo>
                  <a:pt x="1267190" y="338593"/>
                </a:lnTo>
                <a:lnTo>
                  <a:pt x="1271905" y="364489"/>
                </a:lnTo>
                <a:lnTo>
                  <a:pt x="1270333" y="381180"/>
                </a:lnTo>
                <a:lnTo>
                  <a:pt x="1246759" y="418845"/>
                </a:lnTo>
                <a:lnTo>
                  <a:pt x="1194466" y="436598"/>
                </a:lnTo>
                <a:lnTo>
                  <a:pt x="1170559" y="437769"/>
                </a:lnTo>
                <a:lnTo>
                  <a:pt x="1303155" y="437769"/>
                </a:lnTo>
                <a:lnTo>
                  <a:pt x="1326388" y="392731"/>
                </a:lnTo>
                <a:lnTo>
                  <a:pt x="1329817" y="360552"/>
                </a:lnTo>
                <a:lnTo>
                  <a:pt x="1329178" y="347714"/>
                </a:lnTo>
                <a:lnTo>
                  <a:pt x="1314305" y="303841"/>
                </a:lnTo>
                <a:lnTo>
                  <a:pt x="1283698" y="268412"/>
                </a:lnTo>
                <a:lnTo>
                  <a:pt x="1252855" y="245999"/>
                </a:lnTo>
                <a:lnTo>
                  <a:pt x="1217350" y="226067"/>
                </a:lnTo>
                <a:lnTo>
                  <a:pt x="1181576" y="208057"/>
                </a:lnTo>
                <a:lnTo>
                  <a:pt x="1171023" y="202600"/>
                </a:lnTo>
                <a:lnTo>
                  <a:pt x="1136086" y="181677"/>
                </a:lnTo>
                <a:lnTo>
                  <a:pt x="1109218" y="152272"/>
                </a:lnTo>
                <a:lnTo>
                  <a:pt x="1102487" y="121031"/>
                </a:lnTo>
                <a:lnTo>
                  <a:pt x="1103036" y="111694"/>
                </a:lnTo>
                <a:lnTo>
                  <a:pt x="1121584" y="75914"/>
                </a:lnTo>
                <a:lnTo>
                  <a:pt x="1157831" y="55987"/>
                </a:lnTo>
                <a:lnTo>
                  <a:pt x="1202817" y="50037"/>
                </a:lnTo>
                <a:lnTo>
                  <a:pt x="1310005" y="50037"/>
                </a:lnTo>
                <a:lnTo>
                  <a:pt x="1310005" y="16763"/>
                </a:lnTo>
                <a:lnTo>
                  <a:pt x="1291718" y="9429"/>
                </a:lnTo>
                <a:lnTo>
                  <a:pt x="1268682" y="4191"/>
                </a:lnTo>
                <a:lnTo>
                  <a:pt x="1240907" y="1047"/>
                </a:lnTo>
                <a:lnTo>
                  <a:pt x="1208405" y="0"/>
                </a:lnTo>
                <a:close/>
              </a:path>
              <a:path w="1330325" h="487679">
                <a:moveTo>
                  <a:pt x="1310005" y="50037"/>
                </a:moveTo>
                <a:lnTo>
                  <a:pt x="1202817" y="50037"/>
                </a:lnTo>
                <a:lnTo>
                  <a:pt x="1234084" y="51847"/>
                </a:lnTo>
                <a:lnTo>
                  <a:pt x="1262364" y="57276"/>
                </a:lnTo>
                <a:lnTo>
                  <a:pt x="1287666" y="66325"/>
                </a:lnTo>
                <a:lnTo>
                  <a:pt x="1310005" y="78993"/>
                </a:lnTo>
                <a:lnTo>
                  <a:pt x="1310005" y="50037"/>
                </a:lnTo>
                <a:close/>
              </a:path>
            </a:pathLst>
          </a:custGeom>
          <a:solidFill>
            <a:srgbClr val="00ADE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261578" y="6208309"/>
            <a:ext cx="2619443" cy="605301"/>
          </a:xfrm>
          <a:custGeom>
            <a:avLst/>
            <a:gdLst/>
            <a:ahLst/>
            <a:cxnLst/>
            <a:rect l="l" t="t" r="r" b="b"/>
            <a:pathLst>
              <a:path w="3561715" h="680085">
                <a:moveTo>
                  <a:pt x="0" y="679704"/>
                </a:moveTo>
                <a:lnTo>
                  <a:pt x="3561588" y="679704"/>
                </a:lnTo>
                <a:lnTo>
                  <a:pt x="3561588" y="0"/>
                </a:lnTo>
                <a:lnTo>
                  <a:pt x="0" y="0"/>
                </a:lnTo>
                <a:lnTo>
                  <a:pt x="0" y="679704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261578" y="3645024"/>
            <a:ext cx="2619443" cy="2494818"/>
          </a:xfrm>
          <a:custGeom>
            <a:avLst/>
            <a:gdLst/>
            <a:ahLst/>
            <a:cxnLst/>
            <a:rect l="l" t="t" r="r" b="b"/>
            <a:pathLst>
              <a:path w="3561715" h="3200400">
                <a:moveTo>
                  <a:pt x="0" y="3200399"/>
                </a:moveTo>
                <a:lnTo>
                  <a:pt x="3561588" y="3200399"/>
                </a:lnTo>
                <a:lnTo>
                  <a:pt x="3561588" y="0"/>
                </a:lnTo>
                <a:lnTo>
                  <a:pt x="0" y="0"/>
                </a:lnTo>
                <a:lnTo>
                  <a:pt x="0" y="3200399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4071928" y="3861048"/>
            <a:ext cx="944849" cy="85691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345639" y="5695103"/>
            <a:ext cx="2451321" cy="328366"/>
          </a:xfrm>
          <a:custGeom>
            <a:avLst/>
            <a:gdLst/>
            <a:ahLst/>
            <a:cxnLst/>
            <a:rect l="l" t="t" r="r" b="b"/>
            <a:pathLst>
              <a:path w="3333115" h="368935">
                <a:moveTo>
                  <a:pt x="0" y="368807"/>
                </a:moveTo>
                <a:lnTo>
                  <a:pt x="3332988" y="368807"/>
                </a:lnTo>
                <a:lnTo>
                  <a:pt x="3332988" y="0"/>
                </a:lnTo>
                <a:lnTo>
                  <a:pt x="0" y="0"/>
                </a:lnTo>
                <a:lnTo>
                  <a:pt x="0" y="368807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699351" y="5748464"/>
            <a:ext cx="673424" cy="172943"/>
          </a:xfrm>
          <a:custGeom>
            <a:avLst/>
            <a:gdLst/>
            <a:ahLst/>
            <a:cxnLst/>
            <a:rect l="l" t="t" r="r" b="b"/>
            <a:pathLst>
              <a:path w="915670" h="194310">
                <a:moveTo>
                  <a:pt x="48895" y="12954"/>
                </a:moveTo>
                <a:lnTo>
                  <a:pt x="0" y="12954"/>
                </a:lnTo>
                <a:lnTo>
                  <a:pt x="0" y="191135"/>
                </a:lnTo>
                <a:lnTo>
                  <a:pt x="20827" y="191135"/>
                </a:lnTo>
                <a:lnTo>
                  <a:pt x="20827" y="123825"/>
                </a:lnTo>
                <a:lnTo>
                  <a:pt x="44323" y="123825"/>
                </a:lnTo>
                <a:lnTo>
                  <a:pt x="81988" y="114716"/>
                </a:lnTo>
                <a:lnTo>
                  <a:pt x="93911" y="104901"/>
                </a:lnTo>
                <a:lnTo>
                  <a:pt x="20827" y="104901"/>
                </a:lnTo>
                <a:lnTo>
                  <a:pt x="20827" y="31876"/>
                </a:lnTo>
                <a:lnTo>
                  <a:pt x="97715" y="31876"/>
                </a:lnTo>
                <a:lnTo>
                  <a:pt x="93218" y="26797"/>
                </a:lnTo>
                <a:lnTo>
                  <a:pt x="84524" y="20722"/>
                </a:lnTo>
                <a:lnTo>
                  <a:pt x="74247" y="16398"/>
                </a:lnTo>
                <a:lnTo>
                  <a:pt x="62374" y="13813"/>
                </a:lnTo>
                <a:lnTo>
                  <a:pt x="48895" y="12954"/>
                </a:lnTo>
                <a:close/>
              </a:path>
              <a:path w="915670" h="194310">
                <a:moveTo>
                  <a:pt x="97715" y="31876"/>
                </a:moveTo>
                <a:lnTo>
                  <a:pt x="45338" y="31876"/>
                </a:lnTo>
                <a:lnTo>
                  <a:pt x="63581" y="34071"/>
                </a:lnTo>
                <a:lnTo>
                  <a:pt x="76596" y="40671"/>
                </a:lnTo>
                <a:lnTo>
                  <a:pt x="84397" y="51700"/>
                </a:lnTo>
                <a:lnTo>
                  <a:pt x="86995" y="67182"/>
                </a:lnTo>
                <a:lnTo>
                  <a:pt x="86300" y="75636"/>
                </a:lnTo>
                <a:lnTo>
                  <a:pt x="52867" y="104282"/>
                </a:lnTo>
                <a:lnTo>
                  <a:pt x="42672" y="104901"/>
                </a:lnTo>
                <a:lnTo>
                  <a:pt x="93911" y="104901"/>
                </a:lnTo>
                <a:lnTo>
                  <a:pt x="99107" y="99028"/>
                </a:lnTo>
                <a:lnTo>
                  <a:pt x="104584" y="89217"/>
                </a:lnTo>
                <a:lnTo>
                  <a:pt x="107870" y="78263"/>
                </a:lnTo>
                <a:lnTo>
                  <a:pt x="108965" y="66167"/>
                </a:lnTo>
                <a:lnTo>
                  <a:pt x="107969" y="54211"/>
                </a:lnTo>
                <a:lnTo>
                  <a:pt x="104997" y="43672"/>
                </a:lnTo>
                <a:lnTo>
                  <a:pt x="100072" y="34538"/>
                </a:lnTo>
                <a:lnTo>
                  <a:pt x="97715" y="31876"/>
                </a:lnTo>
                <a:close/>
              </a:path>
              <a:path w="915670" h="194310">
                <a:moveTo>
                  <a:pt x="160782" y="2793"/>
                </a:moveTo>
                <a:lnTo>
                  <a:pt x="140462" y="2793"/>
                </a:lnTo>
                <a:lnTo>
                  <a:pt x="140462" y="191135"/>
                </a:lnTo>
                <a:lnTo>
                  <a:pt x="160782" y="191135"/>
                </a:lnTo>
                <a:lnTo>
                  <a:pt x="160782" y="2793"/>
                </a:lnTo>
                <a:close/>
              </a:path>
              <a:path w="915670" h="194310">
                <a:moveTo>
                  <a:pt x="284318" y="78105"/>
                </a:moveTo>
                <a:lnTo>
                  <a:pt x="245872" y="78105"/>
                </a:lnTo>
                <a:lnTo>
                  <a:pt x="257373" y="80129"/>
                </a:lnTo>
                <a:lnTo>
                  <a:pt x="265588" y="86201"/>
                </a:lnTo>
                <a:lnTo>
                  <a:pt x="270517" y="96321"/>
                </a:lnTo>
                <a:lnTo>
                  <a:pt x="272161" y="110489"/>
                </a:lnTo>
                <a:lnTo>
                  <a:pt x="233934" y="115824"/>
                </a:lnTo>
                <a:lnTo>
                  <a:pt x="215598" y="120634"/>
                </a:lnTo>
                <a:lnTo>
                  <a:pt x="202501" y="129158"/>
                </a:lnTo>
                <a:lnTo>
                  <a:pt x="194643" y="141398"/>
                </a:lnTo>
                <a:lnTo>
                  <a:pt x="192024" y="157352"/>
                </a:lnTo>
                <a:lnTo>
                  <a:pt x="192690" y="165234"/>
                </a:lnTo>
                <a:lnTo>
                  <a:pt x="223533" y="193542"/>
                </a:lnTo>
                <a:lnTo>
                  <a:pt x="232537" y="194182"/>
                </a:lnTo>
                <a:lnTo>
                  <a:pt x="244631" y="192754"/>
                </a:lnTo>
                <a:lnTo>
                  <a:pt x="255213" y="188450"/>
                </a:lnTo>
                <a:lnTo>
                  <a:pt x="264201" y="181324"/>
                </a:lnTo>
                <a:lnTo>
                  <a:pt x="267395" y="177037"/>
                </a:lnTo>
                <a:lnTo>
                  <a:pt x="229870" y="177037"/>
                </a:lnTo>
                <a:lnTo>
                  <a:pt x="223900" y="175006"/>
                </a:lnTo>
                <a:lnTo>
                  <a:pt x="215011" y="167131"/>
                </a:lnTo>
                <a:lnTo>
                  <a:pt x="212851" y="162051"/>
                </a:lnTo>
                <a:lnTo>
                  <a:pt x="212897" y="147206"/>
                </a:lnTo>
                <a:lnTo>
                  <a:pt x="215264" y="141350"/>
                </a:lnTo>
                <a:lnTo>
                  <a:pt x="220090" y="138049"/>
                </a:lnTo>
                <a:lnTo>
                  <a:pt x="224916" y="134619"/>
                </a:lnTo>
                <a:lnTo>
                  <a:pt x="232028" y="132333"/>
                </a:lnTo>
                <a:lnTo>
                  <a:pt x="241426" y="130937"/>
                </a:lnTo>
                <a:lnTo>
                  <a:pt x="272161" y="126745"/>
                </a:lnTo>
                <a:lnTo>
                  <a:pt x="292481" y="126745"/>
                </a:lnTo>
                <a:lnTo>
                  <a:pt x="292481" y="108331"/>
                </a:lnTo>
                <a:lnTo>
                  <a:pt x="289690" y="87588"/>
                </a:lnTo>
                <a:lnTo>
                  <a:pt x="284318" y="78105"/>
                </a:lnTo>
                <a:close/>
              </a:path>
              <a:path w="915670" h="194310">
                <a:moveTo>
                  <a:pt x="292481" y="171323"/>
                </a:moveTo>
                <a:lnTo>
                  <a:pt x="272161" y="171323"/>
                </a:lnTo>
                <a:lnTo>
                  <a:pt x="272161" y="191135"/>
                </a:lnTo>
                <a:lnTo>
                  <a:pt x="292481" y="191135"/>
                </a:lnTo>
                <a:lnTo>
                  <a:pt x="292481" y="171323"/>
                </a:lnTo>
                <a:close/>
              </a:path>
              <a:path w="915670" h="194310">
                <a:moveTo>
                  <a:pt x="292481" y="126745"/>
                </a:moveTo>
                <a:lnTo>
                  <a:pt x="272161" y="126745"/>
                </a:lnTo>
                <a:lnTo>
                  <a:pt x="272161" y="139445"/>
                </a:lnTo>
                <a:lnTo>
                  <a:pt x="271541" y="147206"/>
                </a:lnTo>
                <a:lnTo>
                  <a:pt x="244449" y="176371"/>
                </a:lnTo>
                <a:lnTo>
                  <a:pt x="237236" y="177037"/>
                </a:lnTo>
                <a:lnTo>
                  <a:pt x="267395" y="177037"/>
                </a:lnTo>
                <a:lnTo>
                  <a:pt x="271652" y="171323"/>
                </a:lnTo>
                <a:lnTo>
                  <a:pt x="292481" y="171323"/>
                </a:lnTo>
                <a:lnTo>
                  <a:pt x="292481" y="126745"/>
                </a:lnTo>
                <a:close/>
              </a:path>
              <a:path w="915670" h="194310">
                <a:moveTo>
                  <a:pt x="247650" y="60960"/>
                </a:moveTo>
                <a:lnTo>
                  <a:pt x="235793" y="61700"/>
                </a:lnTo>
                <a:lnTo>
                  <a:pt x="224615" y="63928"/>
                </a:lnTo>
                <a:lnTo>
                  <a:pt x="214127" y="67657"/>
                </a:lnTo>
                <a:lnTo>
                  <a:pt x="204343" y="72898"/>
                </a:lnTo>
                <a:lnTo>
                  <a:pt x="204343" y="93725"/>
                </a:lnTo>
                <a:lnTo>
                  <a:pt x="213939" y="86891"/>
                </a:lnTo>
                <a:lnTo>
                  <a:pt x="224059" y="82010"/>
                </a:lnTo>
                <a:lnTo>
                  <a:pt x="234703" y="79081"/>
                </a:lnTo>
                <a:lnTo>
                  <a:pt x="245872" y="78105"/>
                </a:lnTo>
                <a:lnTo>
                  <a:pt x="284318" y="78105"/>
                </a:lnTo>
                <a:lnTo>
                  <a:pt x="281305" y="72786"/>
                </a:lnTo>
                <a:lnTo>
                  <a:pt x="267299" y="63914"/>
                </a:lnTo>
                <a:lnTo>
                  <a:pt x="247650" y="60960"/>
                </a:lnTo>
                <a:close/>
              </a:path>
              <a:path w="915670" h="194310">
                <a:moveTo>
                  <a:pt x="357886" y="81280"/>
                </a:moveTo>
                <a:lnTo>
                  <a:pt x="337565" y="81280"/>
                </a:lnTo>
                <a:lnTo>
                  <a:pt x="337565" y="156591"/>
                </a:lnTo>
                <a:lnTo>
                  <a:pt x="339659" y="172926"/>
                </a:lnTo>
                <a:lnTo>
                  <a:pt x="345932" y="184594"/>
                </a:lnTo>
                <a:lnTo>
                  <a:pt x="356371" y="191595"/>
                </a:lnTo>
                <a:lnTo>
                  <a:pt x="370966" y="193929"/>
                </a:lnTo>
                <a:lnTo>
                  <a:pt x="378840" y="193929"/>
                </a:lnTo>
                <a:lnTo>
                  <a:pt x="385190" y="192531"/>
                </a:lnTo>
                <a:lnTo>
                  <a:pt x="390016" y="189864"/>
                </a:lnTo>
                <a:lnTo>
                  <a:pt x="390016" y="176783"/>
                </a:lnTo>
                <a:lnTo>
                  <a:pt x="369950" y="176783"/>
                </a:lnTo>
                <a:lnTo>
                  <a:pt x="365125" y="174879"/>
                </a:lnTo>
                <a:lnTo>
                  <a:pt x="359410" y="167639"/>
                </a:lnTo>
                <a:lnTo>
                  <a:pt x="357886" y="161544"/>
                </a:lnTo>
                <a:lnTo>
                  <a:pt x="357886" y="81280"/>
                </a:lnTo>
                <a:close/>
              </a:path>
              <a:path w="915670" h="194310">
                <a:moveTo>
                  <a:pt x="390016" y="172466"/>
                </a:moveTo>
                <a:lnTo>
                  <a:pt x="386207" y="175260"/>
                </a:lnTo>
                <a:lnTo>
                  <a:pt x="381888" y="176783"/>
                </a:lnTo>
                <a:lnTo>
                  <a:pt x="390016" y="176783"/>
                </a:lnTo>
                <a:lnTo>
                  <a:pt x="390016" y="172466"/>
                </a:lnTo>
                <a:close/>
              </a:path>
              <a:path w="915670" h="194310">
                <a:moveTo>
                  <a:pt x="390016" y="63881"/>
                </a:moveTo>
                <a:lnTo>
                  <a:pt x="315722" y="63881"/>
                </a:lnTo>
                <a:lnTo>
                  <a:pt x="315722" y="81280"/>
                </a:lnTo>
                <a:lnTo>
                  <a:pt x="390016" y="81280"/>
                </a:lnTo>
                <a:lnTo>
                  <a:pt x="390016" y="63881"/>
                </a:lnTo>
                <a:close/>
              </a:path>
              <a:path w="915670" h="194310">
                <a:moveTo>
                  <a:pt x="357886" y="26288"/>
                </a:moveTo>
                <a:lnTo>
                  <a:pt x="337565" y="32766"/>
                </a:lnTo>
                <a:lnTo>
                  <a:pt x="337565" y="63881"/>
                </a:lnTo>
                <a:lnTo>
                  <a:pt x="357886" y="63881"/>
                </a:lnTo>
                <a:lnTo>
                  <a:pt x="357886" y="26288"/>
                </a:lnTo>
                <a:close/>
              </a:path>
              <a:path w="915670" h="194310">
                <a:moveTo>
                  <a:pt x="445770" y="81280"/>
                </a:moveTo>
                <a:lnTo>
                  <a:pt x="425576" y="81280"/>
                </a:lnTo>
                <a:lnTo>
                  <a:pt x="425576" y="191135"/>
                </a:lnTo>
                <a:lnTo>
                  <a:pt x="445770" y="191135"/>
                </a:lnTo>
                <a:lnTo>
                  <a:pt x="445770" y="81280"/>
                </a:lnTo>
                <a:close/>
              </a:path>
              <a:path w="915670" h="194310">
                <a:moveTo>
                  <a:pt x="475614" y="63881"/>
                </a:moveTo>
                <a:lnTo>
                  <a:pt x="403733" y="63881"/>
                </a:lnTo>
                <a:lnTo>
                  <a:pt x="403733" y="81280"/>
                </a:lnTo>
                <a:lnTo>
                  <a:pt x="475614" y="81280"/>
                </a:lnTo>
                <a:lnTo>
                  <a:pt x="475614" y="63881"/>
                </a:lnTo>
                <a:close/>
              </a:path>
              <a:path w="915670" h="194310">
                <a:moveTo>
                  <a:pt x="472186" y="0"/>
                </a:moveTo>
                <a:lnTo>
                  <a:pt x="465963" y="0"/>
                </a:lnTo>
                <a:lnTo>
                  <a:pt x="457654" y="736"/>
                </a:lnTo>
                <a:lnTo>
                  <a:pt x="428450" y="25400"/>
                </a:lnTo>
                <a:lnTo>
                  <a:pt x="425576" y="43306"/>
                </a:lnTo>
                <a:lnTo>
                  <a:pt x="425576" y="63881"/>
                </a:lnTo>
                <a:lnTo>
                  <a:pt x="445770" y="63881"/>
                </a:lnTo>
                <a:lnTo>
                  <a:pt x="445870" y="43306"/>
                </a:lnTo>
                <a:lnTo>
                  <a:pt x="447103" y="32434"/>
                </a:lnTo>
                <a:lnTo>
                  <a:pt x="451104" y="24018"/>
                </a:lnTo>
                <a:lnTo>
                  <a:pt x="457771" y="18960"/>
                </a:lnTo>
                <a:lnTo>
                  <a:pt x="467106" y="17272"/>
                </a:lnTo>
                <a:lnTo>
                  <a:pt x="480695" y="17272"/>
                </a:lnTo>
                <a:lnTo>
                  <a:pt x="480695" y="2286"/>
                </a:lnTo>
                <a:lnTo>
                  <a:pt x="477012" y="762"/>
                </a:lnTo>
                <a:lnTo>
                  <a:pt x="472186" y="0"/>
                </a:lnTo>
                <a:close/>
              </a:path>
              <a:path w="915670" h="194310">
                <a:moveTo>
                  <a:pt x="480695" y="17272"/>
                </a:moveTo>
                <a:lnTo>
                  <a:pt x="472186" y="17272"/>
                </a:lnTo>
                <a:lnTo>
                  <a:pt x="476758" y="18414"/>
                </a:lnTo>
                <a:lnTo>
                  <a:pt x="480695" y="20700"/>
                </a:lnTo>
                <a:lnTo>
                  <a:pt x="480695" y="17272"/>
                </a:lnTo>
                <a:close/>
              </a:path>
              <a:path w="915670" h="194310">
                <a:moveTo>
                  <a:pt x="553212" y="60960"/>
                </a:moveTo>
                <a:lnTo>
                  <a:pt x="515385" y="71032"/>
                </a:lnTo>
                <a:lnTo>
                  <a:pt x="489535" y="113889"/>
                </a:lnTo>
                <a:lnTo>
                  <a:pt x="488441" y="129031"/>
                </a:lnTo>
                <a:lnTo>
                  <a:pt x="489489" y="143003"/>
                </a:lnTo>
                <a:lnTo>
                  <a:pt x="514322" y="184110"/>
                </a:lnTo>
                <a:lnTo>
                  <a:pt x="550290" y="194182"/>
                </a:lnTo>
                <a:lnTo>
                  <a:pt x="564030" y="193020"/>
                </a:lnTo>
                <a:lnTo>
                  <a:pt x="576294" y="189547"/>
                </a:lnTo>
                <a:lnTo>
                  <a:pt x="587081" y="183788"/>
                </a:lnTo>
                <a:lnTo>
                  <a:pt x="594917" y="177037"/>
                </a:lnTo>
                <a:lnTo>
                  <a:pt x="551814" y="177037"/>
                </a:lnTo>
                <a:lnTo>
                  <a:pt x="542597" y="176208"/>
                </a:lnTo>
                <a:lnTo>
                  <a:pt x="512143" y="148494"/>
                </a:lnTo>
                <a:lnTo>
                  <a:pt x="509320" y="129031"/>
                </a:lnTo>
                <a:lnTo>
                  <a:pt x="509351" y="127000"/>
                </a:lnTo>
                <a:lnTo>
                  <a:pt x="526919" y="85605"/>
                </a:lnTo>
                <a:lnTo>
                  <a:pt x="551814" y="78105"/>
                </a:lnTo>
                <a:lnTo>
                  <a:pt x="597226" y="78105"/>
                </a:lnTo>
                <a:lnTo>
                  <a:pt x="588895" y="70818"/>
                </a:lnTo>
                <a:lnTo>
                  <a:pt x="578580" y="65341"/>
                </a:lnTo>
                <a:lnTo>
                  <a:pt x="566693" y="62055"/>
                </a:lnTo>
                <a:lnTo>
                  <a:pt x="553212" y="60960"/>
                </a:lnTo>
                <a:close/>
              </a:path>
              <a:path w="915670" h="194310">
                <a:moveTo>
                  <a:pt x="597226" y="78105"/>
                </a:moveTo>
                <a:lnTo>
                  <a:pt x="551814" y="78105"/>
                </a:lnTo>
                <a:lnTo>
                  <a:pt x="561076" y="78912"/>
                </a:lnTo>
                <a:lnTo>
                  <a:pt x="569229" y="81327"/>
                </a:lnTo>
                <a:lnTo>
                  <a:pt x="592062" y="116524"/>
                </a:lnTo>
                <a:lnTo>
                  <a:pt x="592665" y="127000"/>
                </a:lnTo>
                <a:lnTo>
                  <a:pt x="592635" y="129031"/>
                </a:lnTo>
                <a:lnTo>
                  <a:pt x="576264" y="169804"/>
                </a:lnTo>
                <a:lnTo>
                  <a:pt x="551814" y="177037"/>
                </a:lnTo>
                <a:lnTo>
                  <a:pt x="594917" y="177037"/>
                </a:lnTo>
                <a:lnTo>
                  <a:pt x="612590" y="141477"/>
                </a:lnTo>
                <a:lnTo>
                  <a:pt x="613663" y="127000"/>
                </a:lnTo>
                <a:lnTo>
                  <a:pt x="612663" y="112329"/>
                </a:lnTo>
                <a:lnTo>
                  <a:pt x="609663" y="99361"/>
                </a:lnTo>
                <a:lnTo>
                  <a:pt x="604662" y="88084"/>
                </a:lnTo>
                <a:lnTo>
                  <a:pt x="597662" y="78486"/>
                </a:lnTo>
                <a:lnTo>
                  <a:pt x="597226" y="78105"/>
                </a:lnTo>
                <a:close/>
              </a:path>
              <a:path w="915670" h="194310">
                <a:moveTo>
                  <a:pt x="666750" y="63881"/>
                </a:moveTo>
                <a:lnTo>
                  <a:pt x="646430" y="63881"/>
                </a:lnTo>
                <a:lnTo>
                  <a:pt x="646430" y="191135"/>
                </a:lnTo>
                <a:lnTo>
                  <a:pt x="666750" y="191135"/>
                </a:lnTo>
                <a:lnTo>
                  <a:pt x="666750" y="126237"/>
                </a:lnTo>
                <a:lnTo>
                  <a:pt x="667297" y="116212"/>
                </a:lnTo>
                <a:lnTo>
                  <a:pt x="668940" y="107283"/>
                </a:lnTo>
                <a:lnTo>
                  <a:pt x="671679" y="99448"/>
                </a:lnTo>
                <a:lnTo>
                  <a:pt x="675513" y="92710"/>
                </a:lnTo>
                <a:lnTo>
                  <a:pt x="677338" y="90169"/>
                </a:lnTo>
                <a:lnTo>
                  <a:pt x="666750" y="90169"/>
                </a:lnTo>
                <a:lnTo>
                  <a:pt x="666750" y="63881"/>
                </a:lnTo>
                <a:close/>
              </a:path>
              <a:path w="915670" h="194310">
                <a:moveTo>
                  <a:pt x="705865" y="61594"/>
                </a:moveTo>
                <a:lnTo>
                  <a:pt x="693293" y="61594"/>
                </a:lnTo>
                <a:lnTo>
                  <a:pt x="686562" y="64135"/>
                </a:lnTo>
                <a:lnTo>
                  <a:pt x="680593" y="69214"/>
                </a:lnTo>
                <a:lnTo>
                  <a:pt x="674624" y="74168"/>
                </a:lnTo>
                <a:lnTo>
                  <a:pt x="670178" y="81152"/>
                </a:lnTo>
                <a:lnTo>
                  <a:pt x="667258" y="90169"/>
                </a:lnTo>
                <a:lnTo>
                  <a:pt x="677338" y="90169"/>
                </a:lnTo>
                <a:lnTo>
                  <a:pt x="681355" y="84581"/>
                </a:lnTo>
                <a:lnTo>
                  <a:pt x="688721" y="80391"/>
                </a:lnTo>
                <a:lnTo>
                  <a:pt x="712851" y="80391"/>
                </a:lnTo>
                <a:lnTo>
                  <a:pt x="712851" y="63373"/>
                </a:lnTo>
                <a:lnTo>
                  <a:pt x="709930" y="62230"/>
                </a:lnTo>
                <a:lnTo>
                  <a:pt x="705865" y="61594"/>
                </a:lnTo>
                <a:close/>
              </a:path>
              <a:path w="915670" h="194310">
                <a:moveTo>
                  <a:pt x="712851" y="80391"/>
                </a:moveTo>
                <a:lnTo>
                  <a:pt x="704088" y="80391"/>
                </a:lnTo>
                <a:lnTo>
                  <a:pt x="709168" y="81787"/>
                </a:lnTo>
                <a:lnTo>
                  <a:pt x="712851" y="84581"/>
                </a:lnTo>
                <a:lnTo>
                  <a:pt x="712851" y="80391"/>
                </a:lnTo>
                <a:close/>
              </a:path>
              <a:path w="915670" h="194310">
                <a:moveTo>
                  <a:pt x="755141" y="63881"/>
                </a:moveTo>
                <a:lnTo>
                  <a:pt x="734822" y="63881"/>
                </a:lnTo>
                <a:lnTo>
                  <a:pt x="734822" y="191135"/>
                </a:lnTo>
                <a:lnTo>
                  <a:pt x="755141" y="191135"/>
                </a:lnTo>
                <a:lnTo>
                  <a:pt x="755174" y="118110"/>
                </a:lnTo>
                <a:lnTo>
                  <a:pt x="755689" y="109997"/>
                </a:lnTo>
                <a:lnTo>
                  <a:pt x="757332" y="102234"/>
                </a:lnTo>
                <a:lnTo>
                  <a:pt x="760071" y="95329"/>
                </a:lnTo>
                <a:lnTo>
                  <a:pt x="763905" y="89281"/>
                </a:lnTo>
                <a:lnTo>
                  <a:pt x="767964" y="84074"/>
                </a:lnTo>
                <a:lnTo>
                  <a:pt x="755141" y="84074"/>
                </a:lnTo>
                <a:lnTo>
                  <a:pt x="755141" y="63881"/>
                </a:lnTo>
                <a:close/>
              </a:path>
              <a:path w="915670" h="194310">
                <a:moveTo>
                  <a:pt x="827938" y="78105"/>
                </a:moveTo>
                <a:lnTo>
                  <a:pt x="786002" y="78105"/>
                </a:lnTo>
                <a:lnTo>
                  <a:pt x="798671" y="80440"/>
                </a:lnTo>
                <a:lnTo>
                  <a:pt x="807720" y="87455"/>
                </a:lnTo>
                <a:lnTo>
                  <a:pt x="813149" y="99161"/>
                </a:lnTo>
                <a:lnTo>
                  <a:pt x="814959" y="115569"/>
                </a:lnTo>
                <a:lnTo>
                  <a:pt x="814959" y="191135"/>
                </a:lnTo>
                <a:lnTo>
                  <a:pt x="835406" y="191135"/>
                </a:lnTo>
                <a:lnTo>
                  <a:pt x="835441" y="118110"/>
                </a:lnTo>
                <a:lnTo>
                  <a:pt x="846634" y="87249"/>
                </a:lnTo>
                <a:lnTo>
                  <a:pt x="831214" y="87249"/>
                </a:lnTo>
                <a:lnTo>
                  <a:pt x="828801" y="79375"/>
                </a:lnTo>
                <a:lnTo>
                  <a:pt x="827938" y="78105"/>
                </a:lnTo>
                <a:close/>
              </a:path>
              <a:path w="915670" h="194310">
                <a:moveTo>
                  <a:pt x="907087" y="78105"/>
                </a:moveTo>
                <a:lnTo>
                  <a:pt x="876935" y="78105"/>
                </a:lnTo>
                <a:lnTo>
                  <a:pt x="884301" y="81152"/>
                </a:lnTo>
                <a:lnTo>
                  <a:pt x="888619" y="87502"/>
                </a:lnTo>
                <a:lnTo>
                  <a:pt x="895096" y="191135"/>
                </a:lnTo>
                <a:lnTo>
                  <a:pt x="915543" y="191135"/>
                </a:lnTo>
                <a:lnTo>
                  <a:pt x="915543" y="112775"/>
                </a:lnTo>
                <a:lnTo>
                  <a:pt x="912921" y="90106"/>
                </a:lnTo>
                <a:lnTo>
                  <a:pt x="907087" y="78105"/>
                </a:lnTo>
                <a:close/>
              </a:path>
              <a:path w="915670" h="194310">
                <a:moveTo>
                  <a:pt x="873506" y="60960"/>
                </a:moveTo>
                <a:lnTo>
                  <a:pt x="860361" y="62603"/>
                </a:lnTo>
                <a:lnTo>
                  <a:pt x="848931" y="67532"/>
                </a:lnTo>
                <a:lnTo>
                  <a:pt x="839215" y="75747"/>
                </a:lnTo>
                <a:lnTo>
                  <a:pt x="831214" y="87249"/>
                </a:lnTo>
                <a:lnTo>
                  <a:pt x="846634" y="87249"/>
                </a:lnTo>
                <a:lnTo>
                  <a:pt x="850519" y="82042"/>
                </a:lnTo>
                <a:lnTo>
                  <a:pt x="858012" y="78105"/>
                </a:lnTo>
                <a:lnTo>
                  <a:pt x="907087" y="78105"/>
                </a:lnTo>
                <a:lnTo>
                  <a:pt x="905049" y="73913"/>
                </a:lnTo>
                <a:lnTo>
                  <a:pt x="891915" y="64198"/>
                </a:lnTo>
                <a:lnTo>
                  <a:pt x="873506" y="60960"/>
                </a:lnTo>
                <a:close/>
              </a:path>
              <a:path w="915670" h="194310">
                <a:moveTo>
                  <a:pt x="803910" y="60960"/>
                </a:moveTo>
                <a:lnTo>
                  <a:pt x="795274" y="60960"/>
                </a:lnTo>
                <a:lnTo>
                  <a:pt x="783028" y="62392"/>
                </a:lnTo>
                <a:lnTo>
                  <a:pt x="772366" y="66706"/>
                </a:lnTo>
                <a:lnTo>
                  <a:pt x="763252" y="73925"/>
                </a:lnTo>
                <a:lnTo>
                  <a:pt x="755650" y="84074"/>
                </a:lnTo>
                <a:lnTo>
                  <a:pt x="767964" y="84074"/>
                </a:lnTo>
                <a:lnTo>
                  <a:pt x="769747" y="81787"/>
                </a:lnTo>
                <a:lnTo>
                  <a:pt x="777113" y="78105"/>
                </a:lnTo>
                <a:lnTo>
                  <a:pt x="827938" y="78105"/>
                </a:lnTo>
                <a:lnTo>
                  <a:pt x="824484" y="73025"/>
                </a:lnTo>
                <a:lnTo>
                  <a:pt x="811530" y="63373"/>
                </a:lnTo>
                <a:lnTo>
                  <a:pt x="803910" y="60960"/>
                </a:lnTo>
                <a:close/>
              </a:path>
            </a:pathLst>
          </a:custGeom>
          <a:solidFill>
            <a:srgbClr val="6E6E6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4399113" y="5811435"/>
            <a:ext cx="49970" cy="45719"/>
          </a:xfrm>
          <a:custGeom>
            <a:avLst/>
            <a:gdLst/>
            <a:ahLst/>
            <a:cxnLst/>
            <a:rect l="l" t="t" r="r" b="b"/>
            <a:pathLst>
              <a:path w="67945" h="16510">
                <a:moveTo>
                  <a:pt x="0" y="16031"/>
                </a:moveTo>
                <a:lnTo>
                  <a:pt x="67852" y="16031"/>
                </a:lnTo>
                <a:lnTo>
                  <a:pt x="67852" y="0"/>
                </a:lnTo>
                <a:lnTo>
                  <a:pt x="0" y="0"/>
                </a:lnTo>
                <a:lnTo>
                  <a:pt x="0" y="16031"/>
                </a:lnTo>
                <a:close/>
              </a:path>
            </a:pathLst>
          </a:custGeom>
          <a:solidFill>
            <a:srgbClr val="6E6E6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469352" y="5802709"/>
            <a:ext cx="158596" cy="11857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649056" y="5811435"/>
            <a:ext cx="49970" cy="45719"/>
          </a:xfrm>
          <a:custGeom>
            <a:avLst/>
            <a:gdLst/>
            <a:ahLst/>
            <a:cxnLst/>
            <a:rect l="l" t="t" r="r" b="b"/>
            <a:pathLst>
              <a:path w="67945" h="16510">
                <a:moveTo>
                  <a:pt x="0" y="16031"/>
                </a:moveTo>
                <a:lnTo>
                  <a:pt x="67852" y="16031"/>
                </a:lnTo>
                <a:lnTo>
                  <a:pt x="67852" y="0"/>
                </a:lnTo>
                <a:lnTo>
                  <a:pt x="0" y="0"/>
                </a:lnTo>
                <a:lnTo>
                  <a:pt x="0" y="16031"/>
                </a:lnTo>
                <a:close/>
              </a:path>
            </a:pathLst>
          </a:custGeom>
          <a:solidFill>
            <a:srgbClr val="6E6E6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4719293" y="5802709"/>
            <a:ext cx="73880" cy="11857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819420" y="5811435"/>
            <a:ext cx="49970" cy="45719"/>
          </a:xfrm>
          <a:custGeom>
            <a:avLst/>
            <a:gdLst/>
            <a:ahLst/>
            <a:cxnLst/>
            <a:rect l="l" t="t" r="r" b="b"/>
            <a:pathLst>
              <a:path w="67945" h="16510">
                <a:moveTo>
                  <a:pt x="0" y="16031"/>
                </a:moveTo>
                <a:lnTo>
                  <a:pt x="67852" y="16031"/>
                </a:lnTo>
                <a:lnTo>
                  <a:pt x="67852" y="0"/>
                </a:lnTo>
                <a:lnTo>
                  <a:pt x="0" y="0"/>
                </a:lnTo>
                <a:lnTo>
                  <a:pt x="0" y="16031"/>
                </a:lnTo>
                <a:close/>
              </a:path>
            </a:pathLst>
          </a:custGeom>
          <a:solidFill>
            <a:srgbClr val="6E6E6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4892459" y="5752985"/>
            <a:ext cx="561343" cy="168422"/>
          </a:xfrm>
          <a:custGeom>
            <a:avLst/>
            <a:gdLst/>
            <a:ahLst/>
            <a:cxnLst/>
            <a:rect l="l" t="t" r="r" b="b"/>
            <a:pathLst>
              <a:path w="763270" h="189229">
                <a:moveTo>
                  <a:pt x="0" y="154305"/>
                </a:moveTo>
                <a:lnTo>
                  <a:pt x="0" y="178816"/>
                </a:lnTo>
                <a:lnTo>
                  <a:pt x="2286" y="180467"/>
                </a:lnTo>
                <a:lnTo>
                  <a:pt x="34163" y="188341"/>
                </a:lnTo>
                <a:lnTo>
                  <a:pt x="38354" y="188849"/>
                </a:lnTo>
                <a:lnTo>
                  <a:pt x="41783" y="189103"/>
                </a:lnTo>
                <a:lnTo>
                  <a:pt x="53086" y="189103"/>
                </a:lnTo>
                <a:lnTo>
                  <a:pt x="94742" y="174371"/>
                </a:lnTo>
                <a:lnTo>
                  <a:pt x="98597" y="170307"/>
                </a:lnTo>
                <a:lnTo>
                  <a:pt x="44069" y="170307"/>
                </a:lnTo>
                <a:lnTo>
                  <a:pt x="40005" y="169926"/>
                </a:lnTo>
                <a:lnTo>
                  <a:pt x="10160" y="160909"/>
                </a:lnTo>
                <a:lnTo>
                  <a:pt x="6223" y="159004"/>
                </a:lnTo>
                <a:lnTo>
                  <a:pt x="2794" y="156718"/>
                </a:lnTo>
                <a:lnTo>
                  <a:pt x="0" y="154305"/>
                </a:lnTo>
                <a:close/>
              </a:path>
              <a:path w="763270" h="189229">
                <a:moveTo>
                  <a:pt x="62103" y="4826"/>
                </a:moveTo>
                <a:lnTo>
                  <a:pt x="54483" y="4826"/>
                </a:lnTo>
                <a:lnTo>
                  <a:pt x="46863" y="5842"/>
                </a:lnTo>
                <a:lnTo>
                  <a:pt x="9144" y="25273"/>
                </a:lnTo>
                <a:lnTo>
                  <a:pt x="254" y="44323"/>
                </a:lnTo>
                <a:lnTo>
                  <a:pt x="254" y="59055"/>
                </a:lnTo>
                <a:lnTo>
                  <a:pt x="13081" y="83058"/>
                </a:lnTo>
                <a:lnTo>
                  <a:pt x="17018" y="86995"/>
                </a:lnTo>
                <a:lnTo>
                  <a:pt x="21717" y="90551"/>
                </a:lnTo>
                <a:lnTo>
                  <a:pt x="27051" y="93726"/>
                </a:lnTo>
                <a:lnTo>
                  <a:pt x="38227" y="100203"/>
                </a:lnTo>
                <a:lnTo>
                  <a:pt x="44450" y="103251"/>
                </a:lnTo>
                <a:lnTo>
                  <a:pt x="55880" y="109093"/>
                </a:lnTo>
                <a:lnTo>
                  <a:pt x="60960" y="111760"/>
                </a:lnTo>
                <a:lnTo>
                  <a:pt x="66040" y="114554"/>
                </a:lnTo>
                <a:lnTo>
                  <a:pt x="70485" y="117348"/>
                </a:lnTo>
                <a:lnTo>
                  <a:pt x="74168" y="120269"/>
                </a:lnTo>
                <a:lnTo>
                  <a:pt x="77978" y="123190"/>
                </a:lnTo>
                <a:lnTo>
                  <a:pt x="80772" y="126492"/>
                </a:lnTo>
                <a:lnTo>
                  <a:pt x="85090" y="133604"/>
                </a:lnTo>
                <a:lnTo>
                  <a:pt x="86106" y="137795"/>
                </a:lnTo>
                <a:lnTo>
                  <a:pt x="86106" y="151511"/>
                </a:lnTo>
                <a:lnTo>
                  <a:pt x="47879" y="170307"/>
                </a:lnTo>
                <a:lnTo>
                  <a:pt x="98597" y="170307"/>
                </a:lnTo>
                <a:lnTo>
                  <a:pt x="99441" y="169418"/>
                </a:lnTo>
                <a:lnTo>
                  <a:pt x="102870" y="163449"/>
                </a:lnTo>
                <a:lnTo>
                  <a:pt x="106299" y="157353"/>
                </a:lnTo>
                <a:lnTo>
                  <a:pt x="107950" y="149860"/>
                </a:lnTo>
                <a:lnTo>
                  <a:pt x="107950" y="134493"/>
                </a:lnTo>
                <a:lnTo>
                  <a:pt x="106680" y="128524"/>
                </a:lnTo>
                <a:lnTo>
                  <a:pt x="104022" y="123190"/>
                </a:lnTo>
                <a:lnTo>
                  <a:pt x="101727" y="118237"/>
                </a:lnTo>
                <a:lnTo>
                  <a:pt x="67183" y="91059"/>
                </a:lnTo>
                <a:lnTo>
                  <a:pt x="49022" y="82042"/>
                </a:lnTo>
                <a:lnTo>
                  <a:pt x="44323" y="79502"/>
                </a:lnTo>
                <a:lnTo>
                  <a:pt x="22098" y="55118"/>
                </a:lnTo>
                <a:lnTo>
                  <a:pt x="22098" y="45720"/>
                </a:lnTo>
                <a:lnTo>
                  <a:pt x="23241" y="41529"/>
                </a:lnTo>
                <a:lnTo>
                  <a:pt x="25527" y="38227"/>
                </a:lnTo>
                <a:lnTo>
                  <a:pt x="27686" y="34798"/>
                </a:lnTo>
                <a:lnTo>
                  <a:pt x="55499" y="23749"/>
                </a:lnTo>
                <a:lnTo>
                  <a:pt x="100584" y="23749"/>
                </a:lnTo>
                <a:lnTo>
                  <a:pt x="100584" y="11176"/>
                </a:lnTo>
                <a:lnTo>
                  <a:pt x="93624" y="8415"/>
                </a:lnTo>
                <a:lnTo>
                  <a:pt x="84915" y="6429"/>
                </a:lnTo>
                <a:lnTo>
                  <a:pt x="74420" y="5228"/>
                </a:lnTo>
                <a:lnTo>
                  <a:pt x="62103" y="4826"/>
                </a:lnTo>
                <a:close/>
              </a:path>
              <a:path w="763270" h="189229">
                <a:moveTo>
                  <a:pt x="100584" y="23749"/>
                </a:moveTo>
                <a:lnTo>
                  <a:pt x="60071" y="23749"/>
                </a:lnTo>
                <a:lnTo>
                  <a:pt x="71830" y="24437"/>
                </a:lnTo>
                <a:lnTo>
                  <a:pt x="82518" y="26495"/>
                </a:lnTo>
                <a:lnTo>
                  <a:pt x="92110" y="29910"/>
                </a:lnTo>
                <a:lnTo>
                  <a:pt x="100584" y="34671"/>
                </a:lnTo>
                <a:lnTo>
                  <a:pt x="100584" y="23749"/>
                </a:lnTo>
                <a:close/>
              </a:path>
              <a:path w="763270" h="189229">
                <a:moveTo>
                  <a:pt x="189611" y="55880"/>
                </a:moveTo>
                <a:lnTo>
                  <a:pt x="147828" y="74549"/>
                </a:lnTo>
                <a:lnTo>
                  <a:pt x="131064" y="122936"/>
                </a:lnTo>
                <a:lnTo>
                  <a:pt x="132018" y="137771"/>
                </a:lnTo>
                <a:lnTo>
                  <a:pt x="154862" y="179298"/>
                </a:lnTo>
                <a:lnTo>
                  <a:pt x="188849" y="189103"/>
                </a:lnTo>
                <a:lnTo>
                  <a:pt x="201918" y="188341"/>
                </a:lnTo>
                <a:lnTo>
                  <a:pt x="213677" y="186055"/>
                </a:lnTo>
                <a:lnTo>
                  <a:pt x="224103" y="182245"/>
                </a:lnTo>
                <a:lnTo>
                  <a:pt x="233172" y="176911"/>
                </a:lnTo>
                <a:lnTo>
                  <a:pt x="233172" y="171958"/>
                </a:lnTo>
                <a:lnTo>
                  <a:pt x="193675" y="171958"/>
                </a:lnTo>
                <a:lnTo>
                  <a:pt x="184578" y="171223"/>
                </a:lnTo>
                <a:lnTo>
                  <a:pt x="155194" y="146383"/>
                </a:lnTo>
                <a:lnTo>
                  <a:pt x="152146" y="127508"/>
                </a:lnTo>
                <a:lnTo>
                  <a:pt x="241935" y="127508"/>
                </a:lnTo>
                <a:lnTo>
                  <a:pt x="241935" y="116840"/>
                </a:lnTo>
                <a:lnTo>
                  <a:pt x="241518" y="110236"/>
                </a:lnTo>
                <a:lnTo>
                  <a:pt x="152400" y="110236"/>
                </a:lnTo>
                <a:lnTo>
                  <a:pt x="154041" y="102332"/>
                </a:lnTo>
                <a:lnTo>
                  <a:pt x="182348" y="73667"/>
                </a:lnTo>
                <a:lnTo>
                  <a:pt x="189230" y="73025"/>
                </a:lnTo>
                <a:lnTo>
                  <a:pt x="229025" y="73025"/>
                </a:lnTo>
                <a:lnTo>
                  <a:pt x="228346" y="72009"/>
                </a:lnTo>
                <a:lnTo>
                  <a:pt x="220775" y="64934"/>
                </a:lnTo>
                <a:lnTo>
                  <a:pt x="211788" y="59896"/>
                </a:lnTo>
                <a:lnTo>
                  <a:pt x="201396" y="56882"/>
                </a:lnTo>
                <a:lnTo>
                  <a:pt x="189611" y="55880"/>
                </a:lnTo>
                <a:close/>
              </a:path>
              <a:path w="763270" h="189229">
                <a:moveTo>
                  <a:pt x="233172" y="157734"/>
                </a:moveTo>
                <a:lnTo>
                  <a:pt x="223928" y="163921"/>
                </a:lnTo>
                <a:lnTo>
                  <a:pt x="214280" y="168370"/>
                </a:lnTo>
                <a:lnTo>
                  <a:pt x="204204" y="171057"/>
                </a:lnTo>
                <a:lnTo>
                  <a:pt x="193675" y="171958"/>
                </a:lnTo>
                <a:lnTo>
                  <a:pt x="233172" y="171958"/>
                </a:lnTo>
                <a:lnTo>
                  <a:pt x="233172" y="157734"/>
                </a:lnTo>
                <a:close/>
              </a:path>
              <a:path w="763270" h="189229">
                <a:moveTo>
                  <a:pt x="229025" y="73025"/>
                </a:moveTo>
                <a:lnTo>
                  <a:pt x="199263" y="73025"/>
                </a:lnTo>
                <a:lnTo>
                  <a:pt x="207010" y="76200"/>
                </a:lnTo>
                <a:lnTo>
                  <a:pt x="212598" y="82804"/>
                </a:lnTo>
                <a:lnTo>
                  <a:pt x="216267" y="88179"/>
                </a:lnTo>
                <a:lnTo>
                  <a:pt x="218900" y="94567"/>
                </a:lnTo>
                <a:lnTo>
                  <a:pt x="220509" y="101931"/>
                </a:lnTo>
                <a:lnTo>
                  <a:pt x="221107" y="110236"/>
                </a:lnTo>
                <a:lnTo>
                  <a:pt x="241518" y="110236"/>
                </a:lnTo>
                <a:lnTo>
                  <a:pt x="241079" y="103262"/>
                </a:lnTo>
                <a:lnTo>
                  <a:pt x="238521" y="91281"/>
                </a:lnTo>
                <a:lnTo>
                  <a:pt x="234273" y="80871"/>
                </a:lnTo>
                <a:lnTo>
                  <a:pt x="229025" y="73025"/>
                </a:lnTo>
                <a:close/>
              </a:path>
              <a:path w="763270" h="189229">
                <a:moveTo>
                  <a:pt x="292608" y="58801"/>
                </a:moveTo>
                <a:lnTo>
                  <a:pt x="272288" y="58801"/>
                </a:lnTo>
                <a:lnTo>
                  <a:pt x="272288" y="186055"/>
                </a:lnTo>
                <a:lnTo>
                  <a:pt x="292608" y="186055"/>
                </a:lnTo>
                <a:lnTo>
                  <a:pt x="292608" y="121158"/>
                </a:lnTo>
                <a:lnTo>
                  <a:pt x="293155" y="111132"/>
                </a:lnTo>
                <a:lnTo>
                  <a:pt x="294798" y="102203"/>
                </a:lnTo>
                <a:lnTo>
                  <a:pt x="297537" y="94368"/>
                </a:lnTo>
                <a:lnTo>
                  <a:pt x="301371" y="87630"/>
                </a:lnTo>
                <a:lnTo>
                  <a:pt x="303196" y="85090"/>
                </a:lnTo>
                <a:lnTo>
                  <a:pt x="292608" y="85090"/>
                </a:lnTo>
                <a:lnTo>
                  <a:pt x="292608" y="58801"/>
                </a:lnTo>
                <a:close/>
              </a:path>
              <a:path w="763270" h="189229">
                <a:moveTo>
                  <a:pt x="331724" y="56515"/>
                </a:moveTo>
                <a:lnTo>
                  <a:pt x="319151" y="56515"/>
                </a:lnTo>
                <a:lnTo>
                  <a:pt x="312420" y="59055"/>
                </a:lnTo>
                <a:lnTo>
                  <a:pt x="306451" y="64135"/>
                </a:lnTo>
                <a:lnTo>
                  <a:pt x="300482" y="69088"/>
                </a:lnTo>
                <a:lnTo>
                  <a:pt x="296037" y="76073"/>
                </a:lnTo>
                <a:lnTo>
                  <a:pt x="293116" y="85090"/>
                </a:lnTo>
                <a:lnTo>
                  <a:pt x="303196" y="85090"/>
                </a:lnTo>
                <a:lnTo>
                  <a:pt x="307213" y="79502"/>
                </a:lnTo>
                <a:lnTo>
                  <a:pt x="314579" y="75311"/>
                </a:lnTo>
                <a:lnTo>
                  <a:pt x="338709" y="75311"/>
                </a:lnTo>
                <a:lnTo>
                  <a:pt x="338709" y="58293"/>
                </a:lnTo>
                <a:lnTo>
                  <a:pt x="335788" y="57150"/>
                </a:lnTo>
                <a:lnTo>
                  <a:pt x="331724" y="56515"/>
                </a:lnTo>
                <a:close/>
              </a:path>
              <a:path w="763270" h="189229">
                <a:moveTo>
                  <a:pt x="338709" y="75311"/>
                </a:moveTo>
                <a:lnTo>
                  <a:pt x="329946" y="75311"/>
                </a:lnTo>
                <a:lnTo>
                  <a:pt x="335026" y="76708"/>
                </a:lnTo>
                <a:lnTo>
                  <a:pt x="338709" y="79502"/>
                </a:lnTo>
                <a:lnTo>
                  <a:pt x="338709" y="75311"/>
                </a:lnTo>
                <a:close/>
              </a:path>
              <a:path w="763270" h="189229">
                <a:moveTo>
                  <a:pt x="364109" y="58801"/>
                </a:moveTo>
                <a:lnTo>
                  <a:pt x="341757" y="58801"/>
                </a:lnTo>
                <a:lnTo>
                  <a:pt x="390017" y="186055"/>
                </a:lnTo>
                <a:lnTo>
                  <a:pt x="409956" y="186055"/>
                </a:lnTo>
                <a:lnTo>
                  <a:pt x="416749" y="169037"/>
                </a:lnTo>
                <a:lnTo>
                  <a:pt x="400939" y="169037"/>
                </a:lnTo>
                <a:lnTo>
                  <a:pt x="400304" y="163957"/>
                </a:lnTo>
                <a:lnTo>
                  <a:pt x="398907" y="158115"/>
                </a:lnTo>
                <a:lnTo>
                  <a:pt x="364109" y="58801"/>
                </a:lnTo>
                <a:close/>
              </a:path>
              <a:path w="763270" h="189229">
                <a:moveTo>
                  <a:pt x="460756" y="58801"/>
                </a:moveTo>
                <a:lnTo>
                  <a:pt x="439166" y="58801"/>
                </a:lnTo>
                <a:lnTo>
                  <a:pt x="405384" y="151765"/>
                </a:lnTo>
                <a:lnTo>
                  <a:pt x="403606" y="156845"/>
                </a:lnTo>
                <a:lnTo>
                  <a:pt x="402209" y="162687"/>
                </a:lnTo>
                <a:lnTo>
                  <a:pt x="401447" y="169037"/>
                </a:lnTo>
                <a:lnTo>
                  <a:pt x="416749" y="169037"/>
                </a:lnTo>
                <a:lnTo>
                  <a:pt x="460756" y="58801"/>
                </a:lnTo>
                <a:close/>
              </a:path>
              <a:path w="763270" h="189229">
                <a:moveTo>
                  <a:pt x="496824" y="0"/>
                </a:moveTo>
                <a:lnTo>
                  <a:pt x="489331" y="0"/>
                </a:lnTo>
                <a:lnTo>
                  <a:pt x="486283" y="1270"/>
                </a:lnTo>
                <a:lnTo>
                  <a:pt x="481203" y="6350"/>
                </a:lnTo>
                <a:lnTo>
                  <a:pt x="479806" y="9525"/>
                </a:lnTo>
                <a:lnTo>
                  <a:pt x="479806" y="17145"/>
                </a:lnTo>
                <a:lnTo>
                  <a:pt x="481203" y="20320"/>
                </a:lnTo>
                <a:lnTo>
                  <a:pt x="483743" y="22733"/>
                </a:lnTo>
                <a:lnTo>
                  <a:pt x="486283" y="25273"/>
                </a:lnTo>
                <a:lnTo>
                  <a:pt x="489331" y="26543"/>
                </a:lnTo>
                <a:lnTo>
                  <a:pt x="496824" y="26543"/>
                </a:lnTo>
                <a:lnTo>
                  <a:pt x="499999" y="25273"/>
                </a:lnTo>
                <a:lnTo>
                  <a:pt x="502539" y="22606"/>
                </a:lnTo>
                <a:lnTo>
                  <a:pt x="505206" y="20066"/>
                </a:lnTo>
                <a:lnTo>
                  <a:pt x="506423" y="17145"/>
                </a:lnTo>
                <a:lnTo>
                  <a:pt x="506476" y="9525"/>
                </a:lnTo>
                <a:lnTo>
                  <a:pt x="505206" y="6350"/>
                </a:lnTo>
                <a:lnTo>
                  <a:pt x="502539" y="3810"/>
                </a:lnTo>
                <a:lnTo>
                  <a:pt x="499999" y="1270"/>
                </a:lnTo>
                <a:lnTo>
                  <a:pt x="496824" y="0"/>
                </a:lnTo>
                <a:close/>
              </a:path>
              <a:path w="763270" h="189229">
                <a:moveTo>
                  <a:pt x="502920" y="58801"/>
                </a:moveTo>
                <a:lnTo>
                  <a:pt x="482600" y="58801"/>
                </a:lnTo>
                <a:lnTo>
                  <a:pt x="482600" y="186055"/>
                </a:lnTo>
                <a:lnTo>
                  <a:pt x="502920" y="186055"/>
                </a:lnTo>
                <a:lnTo>
                  <a:pt x="502920" y="58801"/>
                </a:lnTo>
                <a:close/>
              </a:path>
              <a:path w="763270" h="189229">
                <a:moveTo>
                  <a:pt x="600964" y="55880"/>
                </a:moveTo>
                <a:lnTo>
                  <a:pt x="562619" y="66595"/>
                </a:lnTo>
                <a:lnTo>
                  <a:pt x="539400" y="97107"/>
                </a:lnTo>
                <a:lnTo>
                  <a:pt x="534924" y="125476"/>
                </a:lnTo>
                <a:lnTo>
                  <a:pt x="535951" y="138908"/>
                </a:lnTo>
                <a:lnTo>
                  <a:pt x="560587" y="179083"/>
                </a:lnTo>
                <a:lnTo>
                  <a:pt x="595503" y="189103"/>
                </a:lnTo>
                <a:lnTo>
                  <a:pt x="605244" y="188535"/>
                </a:lnTo>
                <a:lnTo>
                  <a:pt x="614283" y="186848"/>
                </a:lnTo>
                <a:lnTo>
                  <a:pt x="622631" y="184066"/>
                </a:lnTo>
                <a:lnTo>
                  <a:pt x="630301" y="180213"/>
                </a:lnTo>
                <a:lnTo>
                  <a:pt x="630301" y="171958"/>
                </a:lnTo>
                <a:lnTo>
                  <a:pt x="598932" y="171958"/>
                </a:lnTo>
                <a:lnTo>
                  <a:pt x="589599" y="171148"/>
                </a:lnTo>
                <a:lnTo>
                  <a:pt x="558688" y="143684"/>
                </a:lnTo>
                <a:lnTo>
                  <a:pt x="555752" y="123698"/>
                </a:lnTo>
                <a:lnTo>
                  <a:pt x="556535" y="112837"/>
                </a:lnTo>
                <a:lnTo>
                  <a:pt x="582485" y="76485"/>
                </a:lnTo>
                <a:lnTo>
                  <a:pt x="600202" y="73025"/>
                </a:lnTo>
                <a:lnTo>
                  <a:pt x="630555" y="73025"/>
                </a:lnTo>
                <a:lnTo>
                  <a:pt x="630555" y="62103"/>
                </a:lnTo>
                <a:lnTo>
                  <a:pt x="623913" y="59362"/>
                </a:lnTo>
                <a:lnTo>
                  <a:pt x="616759" y="57419"/>
                </a:lnTo>
                <a:lnTo>
                  <a:pt x="609105" y="56262"/>
                </a:lnTo>
                <a:lnTo>
                  <a:pt x="600964" y="55880"/>
                </a:lnTo>
                <a:close/>
              </a:path>
              <a:path w="763270" h="189229">
                <a:moveTo>
                  <a:pt x="630301" y="160782"/>
                </a:moveTo>
                <a:lnTo>
                  <a:pt x="622845" y="165689"/>
                </a:lnTo>
                <a:lnTo>
                  <a:pt x="615140" y="169179"/>
                </a:lnTo>
                <a:lnTo>
                  <a:pt x="607173" y="171265"/>
                </a:lnTo>
                <a:lnTo>
                  <a:pt x="598932" y="171958"/>
                </a:lnTo>
                <a:lnTo>
                  <a:pt x="630301" y="171958"/>
                </a:lnTo>
                <a:lnTo>
                  <a:pt x="630301" y="160782"/>
                </a:lnTo>
                <a:close/>
              </a:path>
              <a:path w="763270" h="189229">
                <a:moveTo>
                  <a:pt x="630555" y="73025"/>
                </a:moveTo>
                <a:lnTo>
                  <a:pt x="600202" y="73025"/>
                </a:lnTo>
                <a:lnTo>
                  <a:pt x="608177" y="73644"/>
                </a:lnTo>
                <a:lnTo>
                  <a:pt x="615902" y="75501"/>
                </a:lnTo>
                <a:lnTo>
                  <a:pt x="623365" y="78597"/>
                </a:lnTo>
                <a:lnTo>
                  <a:pt x="630555" y="82931"/>
                </a:lnTo>
                <a:lnTo>
                  <a:pt x="630555" y="73025"/>
                </a:lnTo>
                <a:close/>
              </a:path>
              <a:path w="763270" h="189229">
                <a:moveTo>
                  <a:pt x="710819" y="55880"/>
                </a:moveTo>
                <a:lnTo>
                  <a:pt x="669036" y="74549"/>
                </a:lnTo>
                <a:lnTo>
                  <a:pt x="652272" y="122936"/>
                </a:lnTo>
                <a:lnTo>
                  <a:pt x="653226" y="137771"/>
                </a:lnTo>
                <a:lnTo>
                  <a:pt x="676070" y="179298"/>
                </a:lnTo>
                <a:lnTo>
                  <a:pt x="710057" y="189103"/>
                </a:lnTo>
                <a:lnTo>
                  <a:pt x="723126" y="188341"/>
                </a:lnTo>
                <a:lnTo>
                  <a:pt x="734885" y="186055"/>
                </a:lnTo>
                <a:lnTo>
                  <a:pt x="745311" y="182245"/>
                </a:lnTo>
                <a:lnTo>
                  <a:pt x="754380" y="176911"/>
                </a:lnTo>
                <a:lnTo>
                  <a:pt x="754380" y="171958"/>
                </a:lnTo>
                <a:lnTo>
                  <a:pt x="714883" y="171958"/>
                </a:lnTo>
                <a:lnTo>
                  <a:pt x="705786" y="171223"/>
                </a:lnTo>
                <a:lnTo>
                  <a:pt x="676402" y="146383"/>
                </a:lnTo>
                <a:lnTo>
                  <a:pt x="673354" y="127508"/>
                </a:lnTo>
                <a:lnTo>
                  <a:pt x="763143" y="127508"/>
                </a:lnTo>
                <a:lnTo>
                  <a:pt x="763143" y="116840"/>
                </a:lnTo>
                <a:lnTo>
                  <a:pt x="762726" y="110236"/>
                </a:lnTo>
                <a:lnTo>
                  <a:pt x="673608" y="110236"/>
                </a:lnTo>
                <a:lnTo>
                  <a:pt x="675249" y="102332"/>
                </a:lnTo>
                <a:lnTo>
                  <a:pt x="703556" y="73667"/>
                </a:lnTo>
                <a:lnTo>
                  <a:pt x="710438" y="73025"/>
                </a:lnTo>
                <a:lnTo>
                  <a:pt x="750233" y="73025"/>
                </a:lnTo>
                <a:lnTo>
                  <a:pt x="749554" y="72009"/>
                </a:lnTo>
                <a:lnTo>
                  <a:pt x="741983" y="64934"/>
                </a:lnTo>
                <a:lnTo>
                  <a:pt x="732996" y="59896"/>
                </a:lnTo>
                <a:lnTo>
                  <a:pt x="722604" y="56882"/>
                </a:lnTo>
                <a:lnTo>
                  <a:pt x="710819" y="55880"/>
                </a:lnTo>
                <a:close/>
              </a:path>
              <a:path w="763270" h="189229">
                <a:moveTo>
                  <a:pt x="754380" y="157734"/>
                </a:moveTo>
                <a:lnTo>
                  <a:pt x="745136" y="163921"/>
                </a:lnTo>
                <a:lnTo>
                  <a:pt x="735488" y="168370"/>
                </a:lnTo>
                <a:lnTo>
                  <a:pt x="725412" y="171057"/>
                </a:lnTo>
                <a:lnTo>
                  <a:pt x="714883" y="171958"/>
                </a:lnTo>
                <a:lnTo>
                  <a:pt x="754380" y="171958"/>
                </a:lnTo>
                <a:lnTo>
                  <a:pt x="754380" y="157734"/>
                </a:lnTo>
                <a:close/>
              </a:path>
              <a:path w="763270" h="189229">
                <a:moveTo>
                  <a:pt x="750233" y="73025"/>
                </a:moveTo>
                <a:lnTo>
                  <a:pt x="720471" y="73025"/>
                </a:lnTo>
                <a:lnTo>
                  <a:pt x="728218" y="76200"/>
                </a:lnTo>
                <a:lnTo>
                  <a:pt x="733806" y="82804"/>
                </a:lnTo>
                <a:lnTo>
                  <a:pt x="737475" y="88179"/>
                </a:lnTo>
                <a:lnTo>
                  <a:pt x="740108" y="94567"/>
                </a:lnTo>
                <a:lnTo>
                  <a:pt x="741717" y="101931"/>
                </a:lnTo>
                <a:lnTo>
                  <a:pt x="742315" y="110236"/>
                </a:lnTo>
                <a:lnTo>
                  <a:pt x="762726" y="110236"/>
                </a:lnTo>
                <a:lnTo>
                  <a:pt x="762287" y="103262"/>
                </a:lnTo>
                <a:lnTo>
                  <a:pt x="759729" y="91281"/>
                </a:lnTo>
                <a:lnTo>
                  <a:pt x="755481" y="80871"/>
                </a:lnTo>
                <a:lnTo>
                  <a:pt x="750233" y="73025"/>
                </a:lnTo>
                <a:close/>
              </a:path>
            </a:pathLst>
          </a:custGeom>
          <a:solidFill>
            <a:srgbClr val="6E6E6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3288477" y="6269345"/>
            <a:ext cx="2565737" cy="616039"/>
          </a:xfrm>
          <a:custGeom>
            <a:avLst/>
            <a:gdLst/>
            <a:ahLst/>
            <a:cxnLst/>
            <a:rect l="l" t="t" r="r" b="b"/>
            <a:pathLst>
              <a:path w="3488690" h="692150">
                <a:moveTo>
                  <a:pt x="0" y="691896"/>
                </a:moveTo>
                <a:lnTo>
                  <a:pt x="3488436" y="691896"/>
                </a:lnTo>
                <a:lnTo>
                  <a:pt x="3488436" y="0"/>
                </a:lnTo>
                <a:lnTo>
                  <a:pt x="0" y="0"/>
                </a:lnTo>
                <a:lnTo>
                  <a:pt x="0" y="69189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223332" y="6412652"/>
            <a:ext cx="694907" cy="306324"/>
          </a:xfrm>
          <a:custGeom>
            <a:avLst/>
            <a:gdLst/>
            <a:ahLst/>
            <a:cxnLst/>
            <a:rect l="l" t="t" r="r" b="b"/>
            <a:pathLst>
              <a:path w="944879" h="344170">
                <a:moveTo>
                  <a:pt x="71108" y="305308"/>
                </a:moveTo>
                <a:lnTo>
                  <a:pt x="37464" y="305308"/>
                </a:lnTo>
                <a:lnTo>
                  <a:pt x="50466" y="322143"/>
                </a:lnTo>
                <a:lnTo>
                  <a:pt x="66230" y="334168"/>
                </a:lnTo>
                <a:lnTo>
                  <a:pt x="84756" y="341383"/>
                </a:lnTo>
                <a:lnTo>
                  <a:pt x="106044" y="343789"/>
                </a:lnTo>
                <a:lnTo>
                  <a:pt x="128972" y="341624"/>
                </a:lnTo>
                <a:lnTo>
                  <a:pt x="149351" y="335137"/>
                </a:lnTo>
                <a:lnTo>
                  <a:pt x="167159" y="324340"/>
                </a:lnTo>
                <a:lnTo>
                  <a:pt x="178660" y="312928"/>
                </a:lnTo>
                <a:lnTo>
                  <a:pt x="101853" y="312928"/>
                </a:lnTo>
                <a:lnTo>
                  <a:pt x="88280" y="311691"/>
                </a:lnTo>
                <a:lnTo>
                  <a:pt x="75945" y="307990"/>
                </a:lnTo>
                <a:lnTo>
                  <a:pt x="71108" y="305308"/>
                </a:lnTo>
                <a:close/>
              </a:path>
              <a:path w="944879" h="344170">
                <a:moveTo>
                  <a:pt x="36575" y="0"/>
                </a:moveTo>
                <a:lnTo>
                  <a:pt x="0" y="0"/>
                </a:lnTo>
                <a:lnTo>
                  <a:pt x="0" y="338455"/>
                </a:lnTo>
                <a:lnTo>
                  <a:pt x="36575" y="338455"/>
                </a:lnTo>
                <a:lnTo>
                  <a:pt x="36575" y="305308"/>
                </a:lnTo>
                <a:lnTo>
                  <a:pt x="71108" y="305308"/>
                </a:lnTo>
                <a:lnTo>
                  <a:pt x="41211" y="271319"/>
                </a:lnTo>
                <a:lnTo>
                  <a:pt x="36575" y="245110"/>
                </a:lnTo>
                <a:lnTo>
                  <a:pt x="36575" y="213233"/>
                </a:lnTo>
                <a:lnTo>
                  <a:pt x="47505" y="169316"/>
                </a:lnTo>
                <a:lnTo>
                  <a:pt x="64084" y="149987"/>
                </a:lnTo>
                <a:lnTo>
                  <a:pt x="36575" y="149987"/>
                </a:lnTo>
                <a:lnTo>
                  <a:pt x="36575" y="0"/>
                </a:lnTo>
                <a:close/>
              </a:path>
              <a:path w="944879" h="344170">
                <a:moveTo>
                  <a:pt x="185503" y="135255"/>
                </a:moveTo>
                <a:lnTo>
                  <a:pt x="107441" y="135255"/>
                </a:lnTo>
                <a:lnTo>
                  <a:pt x="121707" y="136612"/>
                </a:lnTo>
                <a:lnTo>
                  <a:pt x="134413" y="140684"/>
                </a:lnTo>
                <a:lnTo>
                  <a:pt x="162881" y="168783"/>
                </a:lnTo>
                <a:lnTo>
                  <a:pt x="172846" y="216789"/>
                </a:lnTo>
                <a:lnTo>
                  <a:pt x="171658" y="238200"/>
                </a:lnTo>
                <a:lnTo>
                  <a:pt x="153924" y="287528"/>
                </a:lnTo>
                <a:lnTo>
                  <a:pt x="117544" y="311334"/>
                </a:lnTo>
                <a:lnTo>
                  <a:pt x="101853" y="312928"/>
                </a:lnTo>
                <a:lnTo>
                  <a:pt x="178660" y="312928"/>
                </a:lnTo>
                <a:lnTo>
                  <a:pt x="203342" y="269049"/>
                </a:lnTo>
                <a:lnTo>
                  <a:pt x="210312" y="217424"/>
                </a:lnTo>
                <a:lnTo>
                  <a:pt x="208762" y="192920"/>
                </a:lnTo>
                <a:lnTo>
                  <a:pt x="204104" y="171037"/>
                </a:lnTo>
                <a:lnTo>
                  <a:pt x="196328" y="151772"/>
                </a:lnTo>
                <a:lnTo>
                  <a:pt x="185503" y="135255"/>
                </a:lnTo>
                <a:close/>
              </a:path>
              <a:path w="944879" h="344170">
                <a:moveTo>
                  <a:pt x="116586" y="104394"/>
                </a:moveTo>
                <a:lnTo>
                  <a:pt x="92132" y="107249"/>
                </a:lnTo>
                <a:lnTo>
                  <a:pt x="70786" y="115808"/>
                </a:lnTo>
                <a:lnTo>
                  <a:pt x="52560" y="130057"/>
                </a:lnTo>
                <a:lnTo>
                  <a:pt x="37464" y="149987"/>
                </a:lnTo>
                <a:lnTo>
                  <a:pt x="64084" y="149987"/>
                </a:lnTo>
                <a:lnTo>
                  <a:pt x="66508" y="147738"/>
                </a:lnTo>
                <a:lnTo>
                  <a:pt x="78581" y="140795"/>
                </a:lnTo>
                <a:lnTo>
                  <a:pt x="92225" y="136638"/>
                </a:lnTo>
                <a:lnTo>
                  <a:pt x="107441" y="135255"/>
                </a:lnTo>
                <a:lnTo>
                  <a:pt x="185503" y="135255"/>
                </a:lnTo>
                <a:lnTo>
                  <a:pt x="185419" y="135128"/>
                </a:lnTo>
                <a:lnTo>
                  <a:pt x="171771" y="121699"/>
                </a:lnTo>
                <a:lnTo>
                  <a:pt x="155765" y="112093"/>
                </a:lnTo>
                <a:lnTo>
                  <a:pt x="137378" y="106320"/>
                </a:lnTo>
                <a:lnTo>
                  <a:pt x="116586" y="104394"/>
                </a:lnTo>
                <a:close/>
              </a:path>
              <a:path w="944879" h="344170">
                <a:moveTo>
                  <a:pt x="299719" y="109855"/>
                </a:moveTo>
                <a:lnTo>
                  <a:pt x="263270" y="109855"/>
                </a:lnTo>
                <a:lnTo>
                  <a:pt x="263270" y="246380"/>
                </a:lnTo>
                <a:lnTo>
                  <a:pt x="268388" y="288978"/>
                </a:lnTo>
                <a:lnTo>
                  <a:pt x="283733" y="319420"/>
                </a:lnTo>
                <a:lnTo>
                  <a:pt x="309294" y="337694"/>
                </a:lnTo>
                <a:lnTo>
                  <a:pt x="345058" y="343789"/>
                </a:lnTo>
                <a:lnTo>
                  <a:pt x="367395" y="341193"/>
                </a:lnTo>
                <a:lnTo>
                  <a:pt x="386587" y="333406"/>
                </a:lnTo>
                <a:lnTo>
                  <a:pt x="402637" y="320428"/>
                </a:lnTo>
                <a:lnTo>
                  <a:pt x="407965" y="312928"/>
                </a:lnTo>
                <a:lnTo>
                  <a:pt x="355091" y="312928"/>
                </a:lnTo>
                <a:lnTo>
                  <a:pt x="330848" y="308405"/>
                </a:lnTo>
                <a:lnTo>
                  <a:pt x="313547" y="294846"/>
                </a:lnTo>
                <a:lnTo>
                  <a:pt x="303174" y="272262"/>
                </a:lnTo>
                <a:lnTo>
                  <a:pt x="299817" y="241554"/>
                </a:lnTo>
                <a:lnTo>
                  <a:pt x="299719" y="109855"/>
                </a:lnTo>
                <a:close/>
              </a:path>
              <a:path w="944879" h="344170">
                <a:moveTo>
                  <a:pt x="453136" y="302260"/>
                </a:moveTo>
                <a:lnTo>
                  <a:pt x="416432" y="302260"/>
                </a:lnTo>
                <a:lnTo>
                  <a:pt x="416432" y="338455"/>
                </a:lnTo>
                <a:lnTo>
                  <a:pt x="453136" y="338455"/>
                </a:lnTo>
                <a:lnTo>
                  <a:pt x="453136" y="302260"/>
                </a:lnTo>
                <a:close/>
              </a:path>
              <a:path w="944879" h="344170">
                <a:moveTo>
                  <a:pt x="453136" y="109855"/>
                </a:moveTo>
                <a:lnTo>
                  <a:pt x="416432" y="109855"/>
                </a:lnTo>
                <a:lnTo>
                  <a:pt x="416432" y="241554"/>
                </a:lnTo>
                <a:lnTo>
                  <a:pt x="415359" y="256720"/>
                </a:lnTo>
                <a:lnTo>
                  <a:pt x="399161" y="293243"/>
                </a:lnTo>
                <a:lnTo>
                  <a:pt x="355091" y="312928"/>
                </a:lnTo>
                <a:lnTo>
                  <a:pt x="407965" y="312928"/>
                </a:lnTo>
                <a:lnTo>
                  <a:pt x="415543" y="302260"/>
                </a:lnTo>
                <a:lnTo>
                  <a:pt x="453136" y="302260"/>
                </a:lnTo>
                <a:lnTo>
                  <a:pt x="453136" y="109855"/>
                </a:lnTo>
                <a:close/>
              </a:path>
              <a:path w="944879" h="344170">
                <a:moveTo>
                  <a:pt x="552830" y="4191"/>
                </a:moveTo>
                <a:lnTo>
                  <a:pt x="539495" y="4191"/>
                </a:lnTo>
                <a:lnTo>
                  <a:pt x="533907" y="6477"/>
                </a:lnTo>
                <a:lnTo>
                  <a:pt x="524763" y="15621"/>
                </a:lnTo>
                <a:lnTo>
                  <a:pt x="522350" y="21209"/>
                </a:lnTo>
                <a:lnTo>
                  <a:pt x="522350" y="34925"/>
                </a:lnTo>
                <a:lnTo>
                  <a:pt x="524763" y="40640"/>
                </a:lnTo>
                <a:lnTo>
                  <a:pt x="533907" y="49530"/>
                </a:lnTo>
                <a:lnTo>
                  <a:pt x="539495" y="51816"/>
                </a:lnTo>
                <a:lnTo>
                  <a:pt x="552830" y="51816"/>
                </a:lnTo>
                <a:lnTo>
                  <a:pt x="558418" y="49403"/>
                </a:lnTo>
                <a:lnTo>
                  <a:pt x="567816" y="40259"/>
                </a:lnTo>
                <a:lnTo>
                  <a:pt x="570120" y="34925"/>
                </a:lnTo>
                <a:lnTo>
                  <a:pt x="570229" y="21209"/>
                </a:lnTo>
                <a:lnTo>
                  <a:pt x="567816" y="15621"/>
                </a:lnTo>
                <a:lnTo>
                  <a:pt x="558418" y="6477"/>
                </a:lnTo>
                <a:lnTo>
                  <a:pt x="552830" y="4191"/>
                </a:lnTo>
                <a:close/>
              </a:path>
              <a:path w="944879" h="344170">
                <a:moveTo>
                  <a:pt x="563879" y="109855"/>
                </a:moveTo>
                <a:lnTo>
                  <a:pt x="527303" y="109855"/>
                </a:lnTo>
                <a:lnTo>
                  <a:pt x="527303" y="338455"/>
                </a:lnTo>
                <a:lnTo>
                  <a:pt x="563879" y="338455"/>
                </a:lnTo>
                <a:lnTo>
                  <a:pt x="563879" y="109855"/>
                </a:lnTo>
                <a:close/>
              </a:path>
              <a:path w="944879" h="344170">
                <a:moveTo>
                  <a:pt x="675131" y="0"/>
                </a:moveTo>
                <a:lnTo>
                  <a:pt x="638555" y="0"/>
                </a:lnTo>
                <a:lnTo>
                  <a:pt x="638555" y="338455"/>
                </a:lnTo>
                <a:lnTo>
                  <a:pt x="675131" y="338455"/>
                </a:lnTo>
                <a:lnTo>
                  <a:pt x="675131" y="0"/>
                </a:lnTo>
                <a:close/>
              </a:path>
              <a:path w="944879" h="344170">
                <a:moveTo>
                  <a:pt x="838835" y="104394"/>
                </a:moveTo>
                <a:lnTo>
                  <a:pt x="796083" y="112950"/>
                </a:lnTo>
                <a:lnTo>
                  <a:pt x="762762" y="138557"/>
                </a:lnTo>
                <a:lnTo>
                  <a:pt x="741330" y="178403"/>
                </a:lnTo>
                <a:lnTo>
                  <a:pt x="734187" y="229489"/>
                </a:lnTo>
                <a:lnTo>
                  <a:pt x="735804" y="254565"/>
                </a:lnTo>
                <a:lnTo>
                  <a:pt x="748706" y="296336"/>
                </a:lnTo>
                <a:lnTo>
                  <a:pt x="773920" y="326483"/>
                </a:lnTo>
                <a:lnTo>
                  <a:pt x="828801" y="343789"/>
                </a:lnTo>
                <a:lnTo>
                  <a:pt x="853658" y="341026"/>
                </a:lnTo>
                <a:lnTo>
                  <a:pt x="875061" y="332740"/>
                </a:lnTo>
                <a:lnTo>
                  <a:pt x="892988" y="318928"/>
                </a:lnTo>
                <a:lnTo>
                  <a:pt x="897465" y="312928"/>
                </a:lnTo>
                <a:lnTo>
                  <a:pt x="839596" y="312928"/>
                </a:lnTo>
                <a:lnTo>
                  <a:pt x="824857" y="311499"/>
                </a:lnTo>
                <a:lnTo>
                  <a:pt x="790066" y="290068"/>
                </a:lnTo>
                <a:lnTo>
                  <a:pt x="772814" y="246401"/>
                </a:lnTo>
                <a:lnTo>
                  <a:pt x="771651" y="227711"/>
                </a:lnTo>
                <a:lnTo>
                  <a:pt x="772864" y="207182"/>
                </a:lnTo>
                <a:lnTo>
                  <a:pt x="790956" y="159766"/>
                </a:lnTo>
                <a:lnTo>
                  <a:pt x="827728" y="136780"/>
                </a:lnTo>
                <a:lnTo>
                  <a:pt x="843534" y="135255"/>
                </a:lnTo>
                <a:lnTo>
                  <a:pt x="902691" y="135255"/>
                </a:lnTo>
                <a:lnTo>
                  <a:pt x="895127" y="125289"/>
                </a:lnTo>
                <a:lnTo>
                  <a:pt x="879601" y="113696"/>
                </a:lnTo>
                <a:lnTo>
                  <a:pt x="860837" y="106723"/>
                </a:lnTo>
                <a:lnTo>
                  <a:pt x="838835" y="104394"/>
                </a:lnTo>
                <a:close/>
              </a:path>
              <a:path w="944879" h="344170">
                <a:moveTo>
                  <a:pt x="944880" y="299593"/>
                </a:moveTo>
                <a:lnTo>
                  <a:pt x="908304" y="299593"/>
                </a:lnTo>
                <a:lnTo>
                  <a:pt x="908304" y="338455"/>
                </a:lnTo>
                <a:lnTo>
                  <a:pt x="944880" y="338455"/>
                </a:lnTo>
                <a:lnTo>
                  <a:pt x="944880" y="299593"/>
                </a:lnTo>
                <a:close/>
              </a:path>
              <a:path w="944879" h="344170">
                <a:moveTo>
                  <a:pt x="902691" y="135255"/>
                </a:moveTo>
                <a:lnTo>
                  <a:pt x="843534" y="135255"/>
                </a:lnTo>
                <a:lnTo>
                  <a:pt x="857011" y="136447"/>
                </a:lnTo>
                <a:lnTo>
                  <a:pt x="869251" y="140033"/>
                </a:lnTo>
                <a:lnTo>
                  <a:pt x="903732" y="175768"/>
                </a:lnTo>
                <a:lnTo>
                  <a:pt x="908304" y="201295"/>
                </a:lnTo>
                <a:lnTo>
                  <a:pt x="908304" y="235077"/>
                </a:lnTo>
                <a:lnTo>
                  <a:pt x="897588" y="279064"/>
                </a:lnTo>
                <a:lnTo>
                  <a:pt x="867283" y="307403"/>
                </a:lnTo>
                <a:lnTo>
                  <a:pt x="839596" y="312928"/>
                </a:lnTo>
                <a:lnTo>
                  <a:pt x="897465" y="312928"/>
                </a:lnTo>
                <a:lnTo>
                  <a:pt x="907414" y="299593"/>
                </a:lnTo>
                <a:lnTo>
                  <a:pt x="944880" y="299593"/>
                </a:lnTo>
                <a:lnTo>
                  <a:pt x="944880" y="141478"/>
                </a:lnTo>
                <a:lnTo>
                  <a:pt x="907414" y="141478"/>
                </a:lnTo>
                <a:lnTo>
                  <a:pt x="902691" y="135255"/>
                </a:lnTo>
                <a:close/>
              </a:path>
              <a:path w="944879" h="344170">
                <a:moveTo>
                  <a:pt x="944880" y="0"/>
                </a:moveTo>
                <a:lnTo>
                  <a:pt x="908304" y="0"/>
                </a:lnTo>
                <a:lnTo>
                  <a:pt x="908304" y="141478"/>
                </a:lnTo>
                <a:lnTo>
                  <a:pt x="944880" y="141478"/>
                </a:lnTo>
                <a:lnTo>
                  <a:pt x="944880" y="0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3954243" y="4902552"/>
            <a:ext cx="1234300" cy="835892"/>
          </a:xfrm>
          <a:custGeom>
            <a:avLst/>
            <a:gdLst/>
            <a:ahLst/>
            <a:cxnLst/>
            <a:rect l="l" t="t" r="r" b="b"/>
            <a:pathLst>
              <a:path w="1678304" h="939164">
                <a:moveTo>
                  <a:pt x="0" y="938784"/>
                </a:moveTo>
                <a:lnTo>
                  <a:pt x="1677924" y="938784"/>
                </a:lnTo>
                <a:lnTo>
                  <a:pt x="1677924" y="0"/>
                </a:lnTo>
                <a:lnTo>
                  <a:pt x="0" y="0"/>
                </a:lnTo>
                <a:lnTo>
                  <a:pt x="0" y="938784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4088927" y="5093298"/>
            <a:ext cx="976512" cy="434053"/>
          </a:xfrm>
          <a:custGeom>
            <a:avLst/>
            <a:gdLst/>
            <a:ahLst/>
            <a:cxnLst/>
            <a:rect l="l" t="t" r="r" b="b"/>
            <a:pathLst>
              <a:path w="1327784" h="487679">
                <a:moveTo>
                  <a:pt x="129540" y="7874"/>
                </a:moveTo>
                <a:lnTo>
                  <a:pt x="0" y="7874"/>
                </a:lnTo>
                <a:lnTo>
                  <a:pt x="0" y="479551"/>
                </a:lnTo>
                <a:lnTo>
                  <a:pt x="55245" y="479551"/>
                </a:lnTo>
                <a:lnTo>
                  <a:pt x="55245" y="301244"/>
                </a:lnTo>
                <a:lnTo>
                  <a:pt x="117348" y="301244"/>
                </a:lnTo>
                <a:lnTo>
                  <a:pt x="187912" y="290575"/>
                </a:lnTo>
                <a:lnTo>
                  <a:pt x="242189" y="258571"/>
                </a:lnTo>
                <a:lnTo>
                  <a:pt x="248578" y="251332"/>
                </a:lnTo>
                <a:lnTo>
                  <a:pt x="55245" y="251332"/>
                </a:lnTo>
                <a:lnTo>
                  <a:pt x="55245" y="57912"/>
                </a:lnTo>
                <a:lnTo>
                  <a:pt x="258595" y="57912"/>
                </a:lnTo>
                <a:lnTo>
                  <a:pt x="246761" y="44703"/>
                </a:lnTo>
                <a:lnTo>
                  <a:pt x="223855" y="28608"/>
                </a:lnTo>
                <a:lnTo>
                  <a:pt x="196675" y="17097"/>
                </a:lnTo>
                <a:lnTo>
                  <a:pt x="165232" y="10181"/>
                </a:lnTo>
                <a:lnTo>
                  <a:pt x="129540" y="7874"/>
                </a:lnTo>
                <a:close/>
              </a:path>
              <a:path w="1327784" h="487679">
                <a:moveTo>
                  <a:pt x="258595" y="57912"/>
                </a:moveTo>
                <a:lnTo>
                  <a:pt x="120015" y="57912"/>
                </a:lnTo>
                <a:lnTo>
                  <a:pt x="168354" y="63746"/>
                </a:lnTo>
                <a:lnTo>
                  <a:pt x="202882" y="81248"/>
                </a:lnTo>
                <a:lnTo>
                  <a:pt x="223599" y="110418"/>
                </a:lnTo>
                <a:lnTo>
                  <a:pt x="230505" y="151256"/>
                </a:lnTo>
                <a:lnTo>
                  <a:pt x="228623" y="173807"/>
                </a:lnTo>
                <a:lnTo>
                  <a:pt x="213574" y="210764"/>
                </a:lnTo>
                <a:lnTo>
                  <a:pt x="183665" y="236599"/>
                </a:lnTo>
                <a:lnTo>
                  <a:pt x="140041" y="249691"/>
                </a:lnTo>
                <a:lnTo>
                  <a:pt x="113157" y="251332"/>
                </a:lnTo>
                <a:lnTo>
                  <a:pt x="248578" y="251332"/>
                </a:lnTo>
                <a:lnTo>
                  <a:pt x="262431" y="235638"/>
                </a:lnTo>
                <a:lnTo>
                  <a:pt x="276875" y="209692"/>
                </a:lnTo>
                <a:lnTo>
                  <a:pt x="285533" y="180722"/>
                </a:lnTo>
                <a:lnTo>
                  <a:pt x="288417" y="148716"/>
                </a:lnTo>
                <a:lnTo>
                  <a:pt x="285819" y="117070"/>
                </a:lnTo>
                <a:lnTo>
                  <a:pt x="278018" y="89185"/>
                </a:lnTo>
                <a:lnTo>
                  <a:pt x="265003" y="65063"/>
                </a:lnTo>
                <a:lnTo>
                  <a:pt x="258595" y="57912"/>
                </a:lnTo>
                <a:close/>
              </a:path>
              <a:path w="1327784" h="487679">
                <a:moveTo>
                  <a:pt x="589994" y="180212"/>
                </a:moveTo>
                <a:lnTo>
                  <a:pt x="488442" y="180212"/>
                </a:lnTo>
                <a:lnTo>
                  <a:pt x="518779" y="185590"/>
                </a:lnTo>
                <a:lnTo>
                  <a:pt x="540448" y="201707"/>
                </a:lnTo>
                <a:lnTo>
                  <a:pt x="553450" y="228540"/>
                </a:lnTo>
                <a:lnTo>
                  <a:pt x="557784" y="266064"/>
                </a:lnTo>
                <a:lnTo>
                  <a:pt x="456819" y="280288"/>
                </a:lnTo>
                <a:lnTo>
                  <a:pt x="408219" y="292935"/>
                </a:lnTo>
                <a:lnTo>
                  <a:pt x="373491" y="315452"/>
                </a:lnTo>
                <a:lnTo>
                  <a:pt x="352645" y="347851"/>
                </a:lnTo>
                <a:lnTo>
                  <a:pt x="345694" y="390144"/>
                </a:lnTo>
                <a:lnTo>
                  <a:pt x="347477" y="411073"/>
                </a:lnTo>
                <a:lnTo>
                  <a:pt x="361713" y="446454"/>
                </a:lnTo>
                <a:lnTo>
                  <a:pt x="389713" y="472477"/>
                </a:lnTo>
                <a:lnTo>
                  <a:pt x="429095" y="485761"/>
                </a:lnTo>
                <a:lnTo>
                  <a:pt x="452882" y="487425"/>
                </a:lnTo>
                <a:lnTo>
                  <a:pt x="485005" y="483641"/>
                </a:lnTo>
                <a:lnTo>
                  <a:pt x="512984" y="472297"/>
                </a:lnTo>
                <a:lnTo>
                  <a:pt x="536821" y="453403"/>
                </a:lnTo>
                <a:lnTo>
                  <a:pt x="545253" y="442087"/>
                </a:lnTo>
                <a:lnTo>
                  <a:pt x="465455" y="442087"/>
                </a:lnTo>
                <a:lnTo>
                  <a:pt x="451524" y="441110"/>
                </a:lnTo>
                <a:lnTo>
                  <a:pt x="410850" y="418085"/>
                </a:lnTo>
                <a:lnTo>
                  <a:pt x="400939" y="386206"/>
                </a:lnTo>
                <a:lnTo>
                  <a:pt x="402129" y="370538"/>
                </a:lnTo>
                <a:lnTo>
                  <a:pt x="430678" y="332797"/>
                </a:lnTo>
                <a:lnTo>
                  <a:pt x="476631" y="320420"/>
                </a:lnTo>
                <a:lnTo>
                  <a:pt x="557784" y="309244"/>
                </a:lnTo>
                <a:lnTo>
                  <a:pt x="611759" y="309244"/>
                </a:lnTo>
                <a:lnTo>
                  <a:pt x="611759" y="260476"/>
                </a:lnTo>
                <a:lnTo>
                  <a:pt x="604349" y="205543"/>
                </a:lnTo>
                <a:lnTo>
                  <a:pt x="589994" y="180212"/>
                </a:lnTo>
                <a:close/>
              </a:path>
              <a:path w="1327784" h="487679">
                <a:moveTo>
                  <a:pt x="611759" y="426974"/>
                </a:moveTo>
                <a:lnTo>
                  <a:pt x="557784" y="426974"/>
                </a:lnTo>
                <a:lnTo>
                  <a:pt x="557784" y="479551"/>
                </a:lnTo>
                <a:lnTo>
                  <a:pt x="611759" y="479551"/>
                </a:lnTo>
                <a:lnTo>
                  <a:pt x="611759" y="426974"/>
                </a:lnTo>
                <a:close/>
              </a:path>
              <a:path w="1327784" h="487679">
                <a:moveTo>
                  <a:pt x="611759" y="309244"/>
                </a:moveTo>
                <a:lnTo>
                  <a:pt x="557784" y="309244"/>
                </a:lnTo>
                <a:lnTo>
                  <a:pt x="557784" y="342772"/>
                </a:lnTo>
                <a:lnTo>
                  <a:pt x="556162" y="363368"/>
                </a:lnTo>
                <a:lnTo>
                  <a:pt x="531749" y="413893"/>
                </a:lnTo>
                <a:lnTo>
                  <a:pt x="484600" y="440324"/>
                </a:lnTo>
                <a:lnTo>
                  <a:pt x="465455" y="442087"/>
                </a:lnTo>
                <a:lnTo>
                  <a:pt x="545253" y="442087"/>
                </a:lnTo>
                <a:lnTo>
                  <a:pt x="556514" y="426974"/>
                </a:lnTo>
                <a:lnTo>
                  <a:pt x="611759" y="426974"/>
                </a:lnTo>
                <a:lnTo>
                  <a:pt x="611759" y="309244"/>
                </a:lnTo>
                <a:close/>
              </a:path>
              <a:path w="1327784" h="487679">
                <a:moveTo>
                  <a:pt x="493014" y="134874"/>
                </a:moveTo>
                <a:lnTo>
                  <a:pt x="461579" y="136850"/>
                </a:lnTo>
                <a:lnTo>
                  <a:pt x="432038" y="142779"/>
                </a:lnTo>
                <a:lnTo>
                  <a:pt x="404377" y="152661"/>
                </a:lnTo>
                <a:lnTo>
                  <a:pt x="378587" y="166496"/>
                </a:lnTo>
                <a:lnTo>
                  <a:pt x="378587" y="221741"/>
                </a:lnTo>
                <a:lnTo>
                  <a:pt x="403824" y="203573"/>
                </a:lnTo>
                <a:lnTo>
                  <a:pt x="430561" y="190595"/>
                </a:lnTo>
                <a:lnTo>
                  <a:pt x="458775" y="182808"/>
                </a:lnTo>
                <a:lnTo>
                  <a:pt x="488442" y="180212"/>
                </a:lnTo>
                <a:lnTo>
                  <a:pt x="589994" y="180212"/>
                </a:lnTo>
                <a:lnTo>
                  <a:pt x="582104" y="166290"/>
                </a:lnTo>
                <a:lnTo>
                  <a:pt x="545000" y="142730"/>
                </a:lnTo>
                <a:lnTo>
                  <a:pt x="493014" y="134874"/>
                </a:lnTo>
                <a:close/>
              </a:path>
              <a:path w="1327784" h="487679">
                <a:moveTo>
                  <a:pt x="932894" y="180212"/>
                </a:moveTo>
                <a:lnTo>
                  <a:pt x="831342" y="180212"/>
                </a:lnTo>
                <a:lnTo>
                  <a:pt x="861679" y="185590"/>
                </a:lnTo>
                <a:lnTo>
                  <a:pt x="883348" y="201707"/>
                </a:lnTo>
                <a:lnTo>
                  <a:pt x="896350" y="228540"/>
                </a:lnTo>
                <a:lnTo>
                  <a:pt x="900684" y="266064"/>
                </a:lnTo>
                <a:lnTo>
                  <a:pt x="799719" y="280288"/>
                </a:lnTo>
                <a:lnTo>
                  <a:pt x="751119" y="292935"/>
                </a:lnTo>
                <a:lnTo>
                  <a:pt x="716391" y="315452"/>
                </a:lnTo>
                <a:lnTo>
                  <a:pt x="695545" y="347851"/>
                </a:lnTo>
                <a:lnTo>
                  <a:pt x="688594" y="390144"/>
                </a:lnTo>
                <a:lnTo>
                  <a:pt x="690377" y="411073"/>
                </a:lnTo>
                <a:lnTo>
                  <a:pt x="704613" y="446454"/>
                </a:lnTo>
                <a:lnTo>
                  <a:pt x="732613" y="472477"/>
                </a:lnTo>
                <a:lnTo>
                  <a:pt x="771995" y="485761"/>
                </a:lnTo>
                <a:lnTo>
                  <a:pt x="795782" y="487425"/>
                </a:lnTo>
                <a:lnTo>
                  <a:pt x="827905" y="483641"/>
                </a:lnTo>
                <a:lnTo>
                  <a:pt x="855884" y="472297"/>
                </a:lnTo>
                <a:lnTo>
                  <a:pt x="879721" y="453403"/>
                </a:lnTo>
                <a:lnTo>
                  <a:pt x="888153" y="442087"/>
                </a:lnTo>
                <a:lnTo>
                  <a:pt x="808355" y="442087"/>
                </a:lnTo>
                <a:lnTo>
                  <a:pt x="794424" y="441110"/>
                </a:lnTo>
                <a:lnTo>
                  <a:pt x="753750" y="418085"/>
                </a:lnTo>
                <a:lnTo>
                  <a:pt x="743839" y="386206"/>
                </a:lnTo>
                <a:lnTo>
                  <a:pt x="745029" y="370538"/>
                </a:lnTo>
                <a:lnTo>
                  <a:pt x="773578" y="332797"/>
                </a:lnTo>
                <a:lnTo>
                  <a:pt x="819531" y="320420"/>
                </a:lnTo>
                <a:lnTo>
                  <a:pt x="900684" y="309244"/>
                </a:lnTo>
                <a:lnTo>
                  <a:pt x="954659" y="309244"/>
                </a:lnTo>
                <a:lnTo>
                  <a:pt x="954659" y="260476"/>
                </a:lnTo>
                <a:lnTo>
                  <a:pt x="947249" y="205543"/>
                </a:lnTo>
                <a:lnTo>
                  <a:pt x="932894" y="180212"/>
                </a:lnTo>
                <a:close/>
              </a:path>
              <a:path w="1327784" h="487679">
                <a:moveTo>
                  <a:pt x="954659" y="426974"/>
                </a:moveTo>
                <a:lnTo>
                  <a:pt x="900684" y="426974"/>
                </a:lnTo>
                <a:lnTo>
                  <a:pt x="900684" y="479551"/>
                </a:lnTo>
                <a:lnTo>
                  <a:pt x="954659" y="479551"/>
                </a:lnTo>
                <a:lnTo>
                  <a:pt x="954659" y="426974"/>
                </a:lnTo>
                <a:close/>
              </a:path>
              <a:path w="1327784" h="487679">
                <a:moveTo>
                  <a:pt x="954659" y="309244"/>
                </a:moveTo>
                <a:lnTo>
                  <a:pt x="900684" y="309244"/>
                </a:lnTo>
                <a:lnTo>
                  <a:pt x="900684" y="342772"/>
                </a:lnTo>
                <a:lnTo>
                  <a:pt x="899062" y="363368"/>
                </a:lnTo>
                <a:lnTo>
                  <a:pt x="874649" y="413893"/>
                </a:lnTo>
                <a:lnTo>
                  <a:pt x="827500" y="440324"/>
                </a:lnTo>
                <a:lnTo>
                  <a:pt x="808355" y="442087"/>
                </a:lnTo>
                <a:lnTo>
                  <a:pt x="888153" y="442087"/>
                </a:lnTo>
                <a:lnTo>
                  <a:pt x="899414" y="426974"/>
                </a:lnTo>
                <a:lnTo>
                  <a:pt x="954659" y="426974"/>
                </a:lnTo>
                <a:lnTo>
                  <a:pt x="954659" y="309244"/>
                </a:lnTo>
                <a:close/>
              </a:path>
              <a:path w="1327784" h="487679">
                <a:moveTo>
                  <a:pt x="835914" y="134874"/>
                </a:moveTo>
                <a:lnTo>
                  <a:pt x="804479" y="136850"/>
                </a:lnTo>
                <a:lnTo>
                  <a:pt x="774938" y="142779"/>
                </a:lnTo>
                <a:lnTo>
                  <a:pt x="747277" y="152661"/>
                </a:lnTo>
                <a:lnTo>
                  <a:pt x="721487" y="166496"/>
                </a:lnTo>
                <a:lnTo>
                  <a:pt x="721487" y="221741"/>
                </a:lnTo>
                <a:lnTo>
                  <a:pt x="746724" y="203573"/>
                </a:lnTo>
                <a:lnTo>
                  <a:pt x="773461" y="190595"/>
                </a:lnTo>
                <a:lnTo>
                  <a:pt x="801675" y="182808"/>
                </a:lnTo>
                <a:lnTo>
                  <a:pt x="831342" y="180212"/>
                </a:lnTo>
                <a:lnTo>
                  <a:pt x="932894" y="180212"/>
                </a:lnTo>
                <a:lnTo>
                  <a:pt x="925004" y="166290"/>
                </a:lnTo>
                <a:lnTo>
                  <a:pt x="887900" y="142730"/>
                </a:lnTo>
                <a:lnTo>
                  <a:pt x="835914" y="134874"/>
                </a:lnTo>
                <a:close/>
              </a:path>
              <a:path w="1327784" h="487679">
                <a:moveTo>
                  <a:pt x="1041653" y="395350"/>
                </a:moveTo>
                <a:lnTo>
                  <a:pt x="1041653" y="460501"/>
                </a:lnTo>
                <a:lnTo>
                  <a:pt x="1046680" y="463571"/>
                </a:lnTo>
                <a:lnTo>
                  <a:pt x="1090150" y="478555"/>
                </a:lnTo>
                <a:lnTo>
                  <a:pt x="1132077" y="485647"/>
                </a:lnTo>
                <a:lnTo>
                  <a:pt x="1159764" y="487425"/>
                </a:lnTo>
                <a:lnTo>
                  <a:pt x="1176385" y="487013"/>
                </a:lnTo>
                <a:lnTo>
                  <a:pt x="1223518" y="480694"/>
                </a:lnTo>
                <a:lnTo>
                  <a:pt x="1264987" y="465871"/>
                </a:lnTo>
                <a:lnTo>
                  <a:pt x="1297828" y="441452"/>
                </a:lnTo>
                <a:lnTo>
                  <a:pt x="1300869" y="437769"/>
                </a:lnTo>
                <a:lnTo>
                  <a:pt x="1168273" y="437769"/>
                </a:lnTo>
                <a:lnTo>
                  <a:pt x="1160752" y="437580"/>
                </a:lnTo>
                <a:lnTo>
                  <a:pt x="1118695" y="431228"/>
                </a:lnTo>
                <a:lnTo>
                  <a:pt x="1076376" y="416893"/>
                </a:lnTo>
                <a:lnTo>
                  <a:pt x="1047537" y="400182"/>
                </a:lnTo>
                <a:lnTo>
                  <a:pt x="1041653" y="395350"/>
                </a:lnTo>
                <a:close/>
              </a:path>
              <a:path w="1327784" h="487679">
                <a:moveTo>
                  <a:pt x="1206119" y="0"/>
                </a:moveTo>
                <a:lnTo>
                  <a:pt x="1160934" y="4286"/>
                </a:lnTo>
                <a:lnTo>
                  <a:pt x="1118266" y="17113"/>
                </a:lnTo>
                <a:lnTo>
                  <a:pt x="1082694" y="38846"/>
                </a:lnTo>
                <a:lnTo>
                  <a:pt x="1056513" y="69850"/>
                </a:lnTo>
                <a:lnTo>
                  <a:pt x="1043189" y="110408"/>
                </a:lnTo>
                <a:lnTo>
                  <a:pt x="1042289" y="125983"/>
                </a:lnTo>
                <a:lnTo>
                  <a:pt x="1042860" y="138719"/>
                </a:lnTo>
                <a:lnTo>
                  <a:pt x="1056338" y="181379"/>
                </a:lnTo>
                <a:lnTo>
                  <a:pt x="1084458" y="214451"/>
                </a:lnTo>
                <a:lnTo>
                  <a:pt x="1124289" y="241581"/>
                </a:lnTo>
                <a:lnTo>
                  <a:pt x="1170888" y="266330"/>
                </a:lnTo>
                <a:lnTo>
                  <a:pt x="1203071" y="283082"/>
                </a:lnTo>
                <a:lnTo>
                  <a:pt x="1237996" y="305434"/>
                </a:lnTo>
                <a:lnTo>
                  <a:pt x="1264904" y="338593"/>
                </a:lnTo>
                <a:lnTo>
                  <a:pt x="1269619" y="364489"/>
                </a:lnTo>
                <a:lnTo>
                  <a:pt x="1268047" y="381180"/>
                </a:lnTo>
                <a:lnTo>
                  <a:pt x="1244473" y="418845"/>
                </a:lnTo>
                <a:lnTo>
                  <a:pt x="1192180" y="436598"/>
                </a:lnTo>
                <a:lnTo>
                  <a:pt x="1168273" y="437769"/>
                </a:lnTo>
                <a:lnTo>
                  <a:pt x="1300869" y="437769"/>
                </a:lnTo>
                <a:lnTo>
                  <a:pt x="1324102" y="392731"/>
                </a:lnTo>
                <a:lnTo>
                  <a:pt x="1327530" y="360552"/>
                </a:lnTo>
                <a:lnTo>
                  <a:pt x="1326892" y="347714"/>
                </a:lnTo>
                <a:lnTo>
                  <a:pt x="1312019" y="303841"/>
                </a:lnTo>
                <a:lnTo>
                  <a:pt x="1281412" y="268412"/>
                </a:lnTo>
                <a:lnTo>
                  <a:pt x="1250569" y="245999"/>
                </a:lnTo>
                <a:lnTo>
                  <a:pt x="1215064" y="226067"/>
                </a:lnTo>
                <a:lnTo>
                  <a:pt x="1179306" y="208057"/>
                </a:lnTo>
                <a:lnTo>
                  <a:pt x="1168790" y="202600"/>
                </a:lnTo>
                <a:lnTo>
                  <a:pt x="1133802" y="181677"/>
                </a:lnTo>
                <a:lnTo>
                  <a:pt x="1106932" y="152272"/>
                </a:lnTo>
                <a:lnTo>
                  <a:pt x="1100201" y="121031"/>
                </a:lnTo>
                <a:lnTo>
                  <a:pt x="1100768" y="111694"/>
                </a:lnTo>
                <a:lnTo>
                  <a:pt x="1119298" y="75914"/>
                </a:lnTo>
                <a:lnTo>
                  <a:pt x="1155545" y="55987"/>
                </a:lnTo>
                <a:lnTo>
                  <a:pt x="1200530" y="50037"/>
                </a:lnTo>
                <a:lnTo>
                  <a:pt x="1307719" y="50037"/>
                </a:lnTo>
                <a:lnTo>
                  <a:pt x="1307719" y="16763"/>
                </a:lnTo>
                <a:lnTo>
                  <a:pt x="1289432" y="9429"/>
                </a:lnTo>
                <a:lnTo>
                  <a:pt x="1266396" y="4191"/>
                </a:lnTo>
                <a:lnTo>
                  <a:pt x="1238621" y="1047"/>
                </a:lnTo>
                <a:lnTo>
                  <a:pt x="1206119" y="0"/>
                </a:lnTo>
                <a:close/>
              </a:path>
              <a:path w="1327784" h="487679">
                <a:moveTo>
                  <a:pt x="1307719" y="50037"/>
                </a:moveTo>
                <a:lnTo>
                  <a:pt x="1200530" y="50037"/>
                </a:lnTo>
                <a:lnTo>
                  <a:pt x="1231798" y="51847"/>
                </a:lnTo>
                <a:lnTo>
                  <a:pt x="1260078" y="57276"/>
                </a:lnTo>
                <a:lnTo>
                  <a:pt x="1285380" y="66325"/>
                </a:lnTo>
                <a:lnTo>
                  <a:pt x="1307719" y="78993"/>
                </a:lnTo>
                <a:lnTo>
                  <a:pt x="1307719" y="50037"/>
                </a:lnTo>
                <a:close/>
              </a:path>
            </a:pathLst>
          </a:custGeom>
          <a:solidFill>
            <a:srgbClr val="00ADE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468501" y="6240255"/>
            <a:ext cx="2618509" cy="605301"/>
          </a:xfrm>
          <a:custGeom>
            <a:avLst/>
            <a:gdLst/>
            <a:ahLst/>
            <a:cxnLst/>
            <a:rect l="l" t="t" r="r" b="b"/>
            <a:pathLst>
              <a:path w="3560445" h="680085">
                <a:moveTo>
                  <a:pt x="0" y="679704"/>
                </a:moveTo>
                <a:lnTo>
                  <a:pt x="3560064" y="679704"/>
                </a:lnTo>
                <a:lnTo>
                  <a:pt x="3560064" y="0"/>
                </a:lnTo>
                <a:lnTo>
                  <a:pt x="0" y="0"/>
                </a:lnTo>
                <a:lnTo>
                  <a:pt x="0" y="679704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68501" y="3645024"/>
            <a:ext cx="2618509" cy="2533326"/>
          </a:xfrm>
          <a:custGeom>
            <a:avLst/>
            <a:gdLst/>
            <a:ahLst/>
            <a:cxnLst/>
            <a:rect l="l" t="t" r="r" b="b"/>
            <a:pathLst>
              <a:path w="3560445" h="3200400">
                <a:moveTo>
                  <a:pt x="0" y="3200399"/>
                </a:moveTo>
                <a:lnTo>
                  <a:pt x="3560064" y="3200399"/>
                </a:lnTo>
                <a:lnTo>
                  <a:pt x="3560064" y="0"/>
                </a:lnTo>
                <a:lnTo>
                  <a:pt x="0" y="0"/>
                </a:lnTo>
                <a:lnTo>
                  <a:pt x="0" y="3200399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093918" y="3997315"/>
            <a:ext cx="1367396" cy="79983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83946" y="5629759"/>
            <a:ext cx="2386407" cy="328366"/>
          </a:xfrm>
          <a:custGeom>
            <a:avLst/>
            <a:gdLst/>
            <a:ahLst/>
            <a:cxnLst/>
            <a:rect l="l" t="t" r="r" b="b"/>
            <a:pathLst>
              <a:path w="3244850" h="368935">
                <a:moveTo>
                  <a:pt x="0" y="368807"/>
                </a:moveTo>
                <a:lnTo>
                  <a:pt x="3244596" y="368807"/>
                </a:lnTo>
                <a:lnTo>
                  <a:pt x="3244596" y="0"/>
                </a:lnTo>
                <a:lnTo>
                  <a:pt x="0" y="0"/>
                </a:lnTo>
                <a:lnTo>
                  <a:pt x="0" y="368807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701613" y="5748452"/>
            <a:ext cx="1084222" cy="17282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1806103" y="5811435"/>
            <a:ext cx="49970" cy="45719"/>
          </a:xfrm>
          <a:custGeom>
            <a:avLst/>
            <a:gdLst/>
            <a:ahLst/>
            <a:cxnLst/>
            <a:rect l="l" t="t" r="r" b="b"/>
            <a:pathLst>
              <a:path w="67944" h="16510">
                <a:moveTo>
                  <a:pt x="0" y="16031"/>
                </a:moveTo>
                <a:lnTo>
                  <a:pt x="67852" y="16031"/>
                </a:lnTo>
                <a:lnTo>
                  <a:pt x="67852" y="0"/>
                </a:lnTo>
                <a:lnTo>
                  <a:pt x="0" y="0"/>
                </a:lnTo>
                <a:lnTo>
                  <a:pt x="0" y="16031"/>
                </a:lnTo>
                <a:close/>
              </a:path>
            </a:pathLst>
          </a:custGeom>
          <a:solidFill>
            <a:srgbClr val="6E6E6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1876248" y="5802709"/>
            <a:ext cx="158596" cy="11857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2056046" y="5811435"/>
            <a:ext cx="49970" cy="45719"/>
          </a:xfrm>
          <a:custGeom>
            <a:avLst/>
            <a:gdLst/>
            <a:ahLst/>
            <a:cxnLst/>
            <a:rect l="l" t="t" r="r" b="b"/>
            <a:pathLst>
              <a:path w="67944" h="16510">
                <a:moveTo>
                  <a:pt x="0" y="16031"/>
                </a:moveTo>
                <a:lnTo>
                  <a:pt x="67852" y="16031"/>
                </a:lnTo>
                <a:lnTo>
                  <a:pt x="67852" y="0"/>
                </a:lnTo>
                <a:lnTo>
                  <a:pt x="0" y="0"/>
                </a:lnTo>
                <a:lnTo>
                  <a:pt x="0" y="16031"/>
                </a:lnTo>
                <a:close/>
              </a:path>
            </a:pathLst>
          </a:custGeom>
          <a:solidFill>
            <a:srgbClr val="6E6E6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2126190" y="5802709"/>
            <a:ext cx="73881" cy="118572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2226409" y="5811435"/>
            <a:ext cx="49970" cy="45719"/>
          </a:xfrm>
          <a:custGeom>
            <a:avLst/>
            <a:gdLst/>
            <a:ahLst/>
            <a:cxnLst/>
            <a:rect l="l" t="t" r="r" b="b"/>
            <a:pathLst>
              <a:path w="67944" h="16510">
                <a:moveTo>
                  <a:pt x="0" y="16031"/>
                </a:moveTo>
                <a:lnTo>
                  <a:pt x="67852" y="16031"/>
                </a:lnTo>
                <a:lnTo>
                  <a:pt x="67852" y="0"/>
                </a:lnTo>
                <a:lnTo>
                  <a:pt x="0" y="0"/>
                </a:lnTo>
                <a:lnTo>
                  <a:pt x="0" y="16031"/>
                </a:lnTo>
                <a:close/>
              </a:path>
            </a:pathLst>
          </a:custGeom>
          <a:solidFill>
            <a:srgbClr val="6E6E6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2299356" y="5752985"/>
            <a:ext cx="562744" cy="168422"/>
          </a:xfrm>
          <a:custGeom>
            <a:avLst/>
            <a:gdLst/>
            <a:ahLst/>
            <a:cxnLst/>
            <a:rect l="l" t="t" r="r" b="b"/>
            <a:pathLst>
              <a:path w="765175" h="189229">
                <a:moveTo>
                  <a:pt x="0" y="154305"/>
                </a:moveTo>
                <a:lnTo>
                  <a:pt x="0" y="178816"/>
                </a:lnTo>
                <a:lnTo>
                  <a:pt x="2286" y="180467"/>
                </a:lnTo>
                <a:lnTo>
                  <a:pt x="34162" y="188341"/>
                </a:lnTo>
                <a:lnTo>
                  <a:pt x="38353" y="188849"/>
                </a:lnTo>
                <a:lnTo>
                  <a:pt x="41782" y="189103"/>
                </a:lnTo>
                <a:lnTo>
                  <a:pt x="53086" y="189103"/>
                </a:lnTo>
                <a:lnTo>
                  <a:pt x="94741" y="174371"/>
                </a:lnTo>
                <a:lnTo>
                  <a:pt x="98597" y="170307"/>
                </a:lnTo>
                <a:lnTo>
                  <a:pt x="44195" y="170307"/>
                </a:lnTo>
                <a:lnTo>
                  <a:pt x="40131" y="169926"/>
                </a:lnTo>
                <a:lnTo>
                  <a:pt x="10159" y="160909"/>
                </a:lnTo>
                <a:lnTo>
                  <a:pt x="6222" y="159004"/>
                </a:lnTo>
                <a:lnTo>
                  <a:pt x="2793" y="156718"/>
                </a:lnTo>
                <a:lnTo>
                  <a:pt x="0" y="154305"/>
                </a:lnTo>
                <a:close/>
              </a:path>
              <a:path w="765175" h="189229">
                <a:moveTo>
                  <a:pt x="62102" y="4826"/>
                </a:moveTo>
                <a:lnTo>
                  <a:pt x="54482" y="4826"/>
                </a:lnTo>
                <a:lnTo>
                  <a:pt x="46862" y="5842"/>
                </a:lnTo>
                <a:lnTo>
                  <a:pt x="9143" y="25273"/>
                </a:lnTo>
                <a:lnTo>
                  <a:pt x="253" y="44323"/>
                </a:lnTo>
                <a:lnTo>
                  <a:pt x="253" y="59055"/>
                </a:lnTo>
                <a:lnTo>
                  <a:pt x="21716" y="90551"/>
                </a:lnTo>
                <a:lnTo>
                  <a:pt x="27177" y="93726"/>
                </a:lnTo>
                <a:lnTo>
                  <a:pt x="32512" y="96901"/>
                </a:lnTo>
                <a:lnTo>
                  <a:pt x="38353" y="100203"/>
                </a:lnTo>
                <a:lnTo>
                  <a:pt x="44576" y="103251"/>
                </a:lnTo>
                <a:lnTo>
                  <a:pt x="50418" y="106299"/>
                </a:lnTo>
                <a:lnTo>
                  <a:pt x="74168" y="120269"/>
                </a:lnTo>
                <a:lnTo>
                  <a:pt x="77977" y="123190"/>
                </a:lnTo>
                <a:lnTo>
                  <a:pt x="80899" y="126492"/>
                </a:lnTo>
                <a:lnTo>
                  <a:pt x="82931" y="130048"/>
                </a:lnTo>
                <a:lnTo>
                  <a:pt x="85089" y="133604"/>
                </a:lnTo>
                <a:lnTo>
                  <a:pt x="86106" y="137795"/>
                </a:lnTo>
                <a:lnTo>
                  <a:pt x="86106" y="151511"/>
                </a:lnTo>
                <a:lnTo>
                  <a:pt x="47878" y="170307"/>
                </a:lnTo>
                <a:lnTo>
                  <a:pt x="98597" y="170307"/>
                </a:lnTo>
                <a:lnTo>
                  <a:pt x="99440" y="169418"/>
                </a:lnTo>
                <a:lnTo>
                  <a:pt x="102869" y="163449"/>
                </a:lnTo>
                <a:lnTo>
                  <a:pt x="106299" y="157353"/>
                </a:lnTo>
                <a:lnTo>
                  <a:pt x="108076" y="149860"/>
                </a:lnTo>
                <a:lnTo>
                  <a:pt x="108076" y="134493"/>
                </a:lnTo>
                <a:lnTo>
                  <a:pt x="106806" y="128524"/>
                </a:lnTo>
                <a:lnTo>
                  <a:pt x="104143" y="123190"/>
                </a:lnTo>
                <a:lnTo>
                  <a:pt x="101726" y="118237"/>
                </a:lnTo>
                <a:lnTo>
                  <a:pt x="67182" y="91059"/>
                </a:lnTo>
                <a:lnTo>
                  <a:pt x="54609" y="84836"/>
                </a:lnTo>
                <a:lnTo>
                  <a:pt x="49149" y="82042"/>
                </a:lnTo>
                <a:lnTo>
                  <a:pt x="22097" y="55118"/>
                </a:lnTo>
                <a:lnTo>
                  <a:pt x="22097" y="45720"/>
                </a:lnTo>
                <a:lnTo>
                  <a:pt x="23240" y="41529"/>
                </a:lnTo>
                <a:lnTo>
                  <a:pt x="25526" y="38227"/>
                </a:lnTo>
                <a:lnTo>
                  <a:pt x="27686" y="34798"/>
                </a:lnTo>
                <a:lnTo>
                  <a:pt x="55499" y="23749"/>
                </a:lnTo>
                <a:lnTo>
                  <a:pt x="100583" y="23749"/>
                </a:lnTo>
                <a:lnTo>
                  <a:pt x="100583" y="11176"/>
                </a:lnTo>
                <a:lnTo>
                  <a:pt x="93678" y="8415"/>
                </a:lnTo>
                <a:lnTo>
                  <a:pt x="84962" y="6429"/>
                </a:lnTo>
                <a:lnTo>
                  <a:pt x="74437" y="5228"/>
                </a:lnTo>
                <a:lnTo>
                  <a:pt x="62102" y="4826"/>
                </a:lnTo>
                <a:close/>
              </a:path>
              <a:path w="765175" h="189229">
                <a:moveTo>
                  <a:pt x="100583" y="23749"/>
                </a:moveTo>
                <a:lnTo>
                  <a:pt x="60070" y="23749"/>
                </a:lnTo>
                <a:lnTo>
                  <a:pt x="71883" y="24437"/>
                </a:lnTo>
                <a:lnTo>
                  <a:pt x="82565" y="26495"/>
                </a:lnTo>
                <a:lnTo>
                  <a:pt x="92128" y="29910"/>
                </a:lnTo>
                <a:lnTo>
                  <a:pt x="100583" y="34671"/>
                </a:lnTo>
                <a:lnTo>
                  <a:pt x="100583" y="23749"/>
                </a:lnTo>
                <a:close/>
              </a:path>
              <a:path w="765175" h="189229">
                <a:moveTo>
                  <a:pt x="191262" y="55880"/>
                </a:moveTo>
                <a:lnTo>
                  <a:pt x="149351" y="74549"/>
                </a:lnTo>
                <a:lnTo>
                  <a:pt x="132587" y="122936"/>
                </a:lnTo>
                <a:lnTo>
                  <a:pt x="133542" y="137771"/>
                </a:lnTo>
                <a:lnTo>
                  <a:pt x="156386" y="179298"/>
                </a:lnTo>
                <a:lnTo>
                  <a:pt x="190373" y="189103"/>
                </a:lnTo>
                <a:lnTo>
                  <a:pt x="203495" y="188341"/>
                </a:lnTo>
                <a:lnTo>
                  <a:pt x="215249" y="186055"/>
                </a:lnTo>
                <a:lnTo>
                  <a:pt x="225645" y="182245"/>
                </a:lnTo>
                <a:lnTo>
                  <a:pt x="234696" y="176911"/>
                </a:lnTo>
                <a:lnTo>
                  <a:pt x="234696" y="171958"/>
                </a:lnTo>
                <a:lnTo>
                  <a:pt x="195199" y="171958"/>
                </a:lnTo>
                <a:lnTo>
                  <a:pt x="186120" y="171223"/>
                </a:lnTo>
                <a:lnTo>
                  <a:pt x="156813" y="146383"/>
                </a:lnTo>
                <a:lnTo>
                  <a:pt x="153669" y="127508"/>
                </a:lnTo>
                <a:lnTo>
                  <a:pt x="243586" y="127508"/>
                </a:lnTo>
                <a:lnTo>
                  <a:pt x="243586" y="116840"/>
                </a:lnTo>
                <a:lnTo>
                  <a:pt x="243169" y="110236"/>
                </a:lnTo>
                <a:lnTo>
                  <a:pt x="153924" y="110236"/>
                </a:lnTo>
                <a:lnTo>
                  <a:pt x="155565" y="102332"/>
                </a:lnTo>
                <a:lnTo>
                  <a:pt x="183925" y="73667"/>
                </a:lnTo>
                <a:lnTo>
                  <a:pt x="190880" y="73025"/>
                </a:lnTo>
                <a:lnTo>
                  <a:pt x="230557" y="73025"/>
                </a:lnTo>
                <a:lnTo>
                  <a:pt x="229869" y="72009"/>
                </a:lnTo>
                <a:lnTo>
                  <a:pt x="222319" y="64934"/>
                </a:lnTo>
                <a:lnTo>
                  <a:pt x="213375" y="59896"/>
                </a:lnTo>
                <a:lnTo>
                  <a:pt x="203027" y="56882"/>
                </a:lnTo>
                <a:lnTo>
                  <a:pt x="191262" y="55880"/>
                </a:lnTo>
                <a:close/>
              </a:path>
              <a:path w="765175" h="189229">
                <a:moveTo>
                  <a:pt x="234696" y="157734"/>
                </a:moveTo>
                <a:lnTo>
                  <a:pt x="225452" y="163921"/>
                </a:lnTo>
                <a:lnTo>
                  <a:pt x="215804" y="168370"/>
                </a:lnTo>
                <a:lnTo>
                  <a:pt x="205728" y="171057"/>
                </a:lnTo>
                <a:lnTo>
                  <a:pt x="195199" y="171958"/>
                </a:lnTo>
                <a:lnTo>
                  <a:pt x="234696" y="171958"/>
                </a:lnTo>
                <a:lnTo>
                  <a:pt x="234696" y="157734"/>
                </a:lnTo>
                <a:close/>
              </a:path>
              <a:path w="765175" h="189229">
                <a:moveTo>
                  <a:pt x="230557" y="73025"/>
                </a:moveTo>
                <a:lnTo>
                  <a:pt x="200787" y="73025"/>
                </a:lnTo>
                <a:lnTo>
                  <a:pt x="208534" y="76200"/>
                </a:lnTo>
                <a:lnTo>
                  <a:pt x="214122" y="82804"/>
                </a:lnTo>
                <a:lnTo>
                  <a:pt x="217808" y="88179"/>
                </a:lnTo>
                <a:lnTo>
                  <a:pt x="220472" y="94567"/>
                </a:lnTo>
                <a:lnTo>
                  <a:pt x="222087" y="101931"/>
                </a:lnTo>
                <a:lnTo>
                  <a:pt x="222630" y="110236"/>
                </a:lnTo>
                <a:lnTo>
                  <a:pt x="243169" y="110236"/>
                </a:lnTo>
                <a:lnTo>
                  <a:pt x="242728" y="103262"/>
                </a:lnTo>
                <a:lnTo>
                  <a:pt x="240157" y="91281"/>
                </a:lnTo>
                <a:lnTo>
                  <a:pt x="235870" y="80871"/>
                </a:lnTo>
                <a:lnTo>
                  <a:pt x="230557" y="73025"/>
                </a:lnTo>
                <a:close/>
              </a:path>
              <a:path w="765175" h="189229">
                <a:moveTo>
                  <a:pt x="294259" y="58801"/>
                </a:moveTo>
                <a:lnTo>
                  <a:pt x="273812" y="58801"/>
                </a:lnTo>
                <a:lnTo>
                  <a:pt x="273812" y="186055"/>
                </a:lnTo>
                <a:lnTo>
                  <a:pt x="294259" y="186055"/>
                </a:lnTo>
                <a:lnTo>
                  <a:pt x="294259" y="121158"/>
                </a:lnTo>
                <a:lnTo>
                  <a:pt x="294806" y="111132"/>
                </a:lnTo>
                <a:lnTo>
                  <a:pt x="296449" y="102203"/>
                </a:lnTo>
                <a:lnTo>
                  <a:pt x="299188" y="94368"/>
                </a:lnTo>
                <a:lnTo>
                  <a:pt x="303022" y="87630"/>
                </a:lnTo>
                <a:lnTo>
                  <a:pt x="304847" y="85090"/>
                </a:lnTo>
                <a:lnTo>
                  <a:pt x="294259" y="85090"/>
                </a:lnTo>
                <a:lnTo>
                  <a:pt x="294259" y="58801"/>
                </a:lnTo>
                <a:close/>
              </a:path>
              <a:path w="765175" h="189229">
                <a:moveTo>
                  <a:pt x="333375" y="56515"/>
                </a:moveTo>
                <a:lnTo>
                  <a:pt x="320675" y="56515"/>
                </a:lnTo>
                <a:lnTo>
                  <a:pt x="313943" y="59055"/>
                </a:lnTo>
                <a:lnTo>
                  <a:pt x="307975" y="64135"/>
                </a:lnTo>
                <a:lnTo>
                  <a:pt x="302005" y="69088"/>
                </a:lnTo>
                <a:lnTo>
                  <a:pt x="297561" y="76073"/>
                </a:lnTo>
                <a:lnTo>
                  <a:pt x="294766" y="85090"/>
                </a:lnTo>
                <a:lnTo>
                  <a:pt x="304847" y="85090"/>
                </a:lnTo>
                <a:lnTo>
                  <a:pt x="308863" y="79502"/>
                </a:lnTo>
                <a:lnTo>
                  <a:pt x="316102" y="75311"/>
                </a:lnTo>
                <a:lnTo>
                  <a:pt x="340233" y="75311"/>
                </a:lnTo>
                <a:lnTo>
                  <a:pt x="340233" y="58293"/>
                </a:lnTo>
                <a:lnTo>
                  <a:pt x="337438" y="57150"/>
                </a:lnTo>
                <a:lnTo>
                  <a:pt x="333375" y="56515"/>
                </a:lnTo>
                <a:close/>
              </a:path>
              <a:path w="765175" h="189229">
                <a:moveTo>
                  <a:pt x="340233" y="75311"/>
                </a:moveTo>
                <a:lnTo>
                  <a:pt x="331469" y="75311"/>
                </a:lnTo>
                <a:lnTo>
                  <a:pt x="336676" y="76708"/>
                </a:lnTo>
                <a:lnTo>
                  <a:pt x="340233" y="79502"/>
                </a:lnTo>
                <a:lnTo>
                  <a:pt x="340233" y="75311"/>
                </a:lnTo>
                <a:close/>
              </a:path>
              <a:path w="765175" h="189229">
                <a:moveTo>
                  <a:pt x="365760" y="58801"/>
                </a:moveTo>
                <a:lnTo>
                  <a:pt x="343408" y="58801"/>
                </a:lnTo>
                <a:lnTo>
                  <a:pt x="391540" y="186055"/>
                </a:lnTo>
                <a:lnTo>
                  <a:pt x="411606" y="186055"/>
                </a:lnTo>
                <a:lnTo>
                  <a:pt x="418383" y="169037"/>
                </a:lnTo>
                <a:lnTo>
                  <a:pt x="402463" y="169037"/>
                </a:lnTo>
                <a:lnTo>
                  <a:pt x="401954" y="163957"/>
                </a:lnTo>
                <a:lnTo>
                  <a:pt x="400430" y="158115"/>
                </a:lnTo>
                <a:lnTo>
                  <a:pt x="398017" y="151257"/>
                </a:lnTo>
                <a:lnTo>
                  <a:pt x="365760" y="58801"/>
                </a:lnTo>
                <a:close/>
              </a:path>
              <a:path w="765175" h="189229">
                <a:moveTo>
                  <a:pt x="462279" y="58801"/>
                </a:moveTo>
                <a:lnTo>
                  <a:pt x="440816" y="58801"/>
                </a:lnTo>
                <a:lnTo>
                  <a:pt x="407035" y="151765"/>
                </a:lnTo>
                <a:lnTo>
                  <a:pt x="405129" y="156845"/>
                </a:lnTo>
                <a:lnTo>
                  <a:pt x="403860" y="162687"/>
                </a:lnTo>
                <a:lnTo>
                  <a:pt x="402971" y="169037"/>
                </a:lnTo>
                <a:lnTo>
                  <a:pt x="418383" y="169037"/>
                </a:lnTo>
                <a:lnTo>
                  <a:pt x="462279" y="58801"/>
                </a:lnTo>
                <a:close/>
              </a:path>
              <a:path w="765175" h="189229">
                <a:moveTo>
                  <a:pt x="498348" y="0"/>
                </a:moveTo>
                <a:lnTo>
                  <a:pt x="490981" y="0"/>
                </a:lnTo>
                <a:lnTo>
                  <a:pt x="487806" y="1270"/>
                </a:lnTo>
                <a:lnTo>
                  <a:pt x="482726" y="6350"/>
                </a:lnTo>
                <a:lnTo>
                  <a:pt x="481456" y="9525"/>
                </a:lnTo>
                <a:lnTo>
                  <a:pt x="481456" y="17145"/>
                </a:lnTo>
                <a:lnTo>
                  <a:pt x="482726" y="20320"/>
                </a:lnTo>
                <a:lnTo>
                  <a:pt x="485266" y="22733"/>
                </a:lnTo>
                <a:lnTo>
                  <a:pt x="487806" y="25273"/>
                </a:lnTo>
                <a:lnTo>
                  <a:pt x="490981" y="26543"/>
                </a:lnTo>
                <a:lnTo>
                  <a:pt x="498348" y="26543"/>
                </a:lnTo>
                <a:lnTo>
                  <a:pt x="501523" y="25273"/>
                </a:lnTo>
                <a:lnTo>
                  <a:pt x="504063" y="22606"/>
                </a:lnTo>
                <a:lnTo>
                  <a:pt x="506729" y="20066"/>
                </a:lnTo>
                <a:lnTo>
                  <a:pt x="507947" y="17145"/>
                </a:lnTo>
                <a:lnTo>
                  <a:pt x="508000" y="9525"/>
                </a:lnTo>
                <a:lnTo>
                  <a:pt x="506729" y="6350"/>
                </a:lnTo>
                <a:lnTo>
                  <a:pt x="504063" y="3810"/>
                </a:lnTo>
                <a:lnTo>
                  <a:pt x="501523" y="1270"/>
                </a:lnTo>
                <a:lnTo>
                  <a:pt x="498348" y="0"/>
                </a:lnTo>
                <a:close/>
              </a:path>
              <a:path w="765175" h="189229">
                <a:moveTo>
                  <a:pt x="504571" y="58801"/>
                </a:moveTo>
                <a:lnTo>
                  <a:pt x="484124" y="58801"/>
                </a:lnTo>
                <a:lnTo>
                  <a:pt x="484124" y="186055"/>
                </a:lnTo>
                <a:lnTo>
                  <a:pt x="504571" y="186055"/>
                </a:lnTo>
                <a:lnTo>
                  <a:pt x="504571" y="58801"/>
                </a:lnTo>
                <a:close/>
              </a:path>
              <a:path w="765175" h="189229">
                <a:moveTo>
                  <a:pt x="602488" y="55880"/>
                </a:moveTo>
                <a:lnTo>
                  <a:pt x="564197" y="66595"/>
                </a:lnTo>
                <a:lnTo>
                  <a:pt x="540940" y="97107"/>
                </a:lnTo>
                <a:lnTo>
                  <a:pt x="536448" y="125476"/>
                </a:lnTo>
                <a:lnTo>
                  <a:pt x="537493" y="138908"/>
                </a:lnTo>
                <a:lnTo>
                  <a:pt x="562111" y="179083"/>
                </a:lnTo>
                <a:lnTo>
                  <a:pt x="597026" y="189103"/>
                </a:lnTo>
                <a:lnTo>
                  <a:pt x="606768" y="188535"/>
                </a:lnTo>
                <a:lnTo>
                  <a:pt x="615807" y="186848"/>
                </a:lnTo>
                <a:lnTo>
                  <a:pt x="624155" y="184066"/>
                </a:lnTo>
                <a:lnTo>
                  <a:pt x="631825" y="180213"/>
                </a:lnTo>
                <a:lnTo>
                  <a:pt x="631825" y="171958"/>
                </a:lnTo>
                <a:lnTo>
                  <a:pt x="600583" y="171958"/>
                </a:lnTo>
                <a:lnTo>
                  <a:pt x="591179" y="171148"/>
                </a:lnTo>
                <a:lnTo>
                  <a:pt x="560228" y="143684"/>
                </a:lnTo>
                <a:lnTo>
                  <a:pt x="557276" y="123698"/>
                </a:lnTo>
                <a:lnTo>
                  <a:pt x="558059" y="112837"/>
                </a:lnTo>
                <a:lnTo>
                  <a:pt x="584009" y="76485"/>
                </a:lnTo>
                <a:lnTo>
                  <a:pt x="601726" y="73025"/>
                </a:lnTo>
                <a:lnTo>
                  <a:pt x="632078" y="73025"/>
                </a:lnTo>
                <a:lnTo>
                  <a:pt x="632078" y="62103"/>
                </a:lnTo>
                <a:lnTo>
                  <a:pt x="625437" y="59362"/>
                </a:lnTo>
                <a:lnTo>
                  <a:pt x="618283" y="57419"/>
                </a:lnTo>
                <a:lnTo>
                  <a:pt x="610629" y="56262"/>
                </a:lnTo>
                <a:lnTo>
                  <a:pt x="602488" y="55880"/>
                </a:lnTo>
                <a:close/>
              </a:path>
              <a:path w="765175" h="189229">
                <a:moveTo>
                  <a:pt x="631825" y="160782"/>
                </a:moveTo>
                <a:lnTo>
                  <a:pt x="624371" y="165689"/>
                </a:lnTo>
                <a:lnTo>
                  <a:pt x="616680" y="169179"/>
                </a:lnTo>
                <a:lnTo>
                  <a:pt x="608750" y="171265"/>
                </a:lnTo>
                <a:lnTo>
                  <a:pt x="600583" y="171958"/>
                </a:lnTo>
                <a:lnTo>
                  <a:pt x="631825" y="171958"/>
                </a:lnTo>
                <a:lnTo>
                  <a:pt x="631825" y="160782"/>
                </a:lnTo>
                <a:close/>
              </a:path>
              <a:path w="765175" h="189229">
                <a:moveTo>
                  <a:pt x="632078" y="73025"/>
                </a:moveTo>
                <a:lnTo>
                  <a:pt x="601726" y="73025"/>
                </a:lnTo>
                <a:lnTo>
                  <a:pt x="609701" y="73644"/>
                </a:lnTo>
                <a:lnTo>
                  <a:pt x="617426" y="75501"/>
                </a:lnTo>
                <a:lnTo>
                  <a:pt x="624889" y="78597"/>
                </a:lnTo>
                <a:lnTo>
                  <a:pt x="632078" y="82931"/>
                </a:lnTo>
                <a:lnTo>
                  <a:pt x="632078" y="73025"/>
                </a:lnTo>
                <a:close/>
              </a:path>
              <a:path w="765175" h="189229">
                <a:moveTo>
                  <a:pt x="712469" y="55880"/>
                </a:moveTo>
                <a:lnTo>
                  <a:pt x="670560" y="74549"/>
                </a:lnTo>
                <a:lnTo>
                  <a:pt x="653796" y="122936"/>
                </a:lnTo>
                <a:lnTo>
                  <a:pt x="654750" y="137771"/>
                </a:lnTo>
                <a:lnTo>
                  <a:pt x="677594" y="179298"/>
                </a:lnTo>
                <a:lnTo>
                  <a:pt x="711580" y="189103"/>
                </a:lnTo>
                <a:lnTo>
                  <a:pt x="724703" y="188341"/>
                </a:lnTo>
                <a:lnTo>
                  <a:pt x="736457" y="186055"/>
                </a:lnTo>
                <a:lnTo>
                  <a:pt x="746853" y="182245"/>
                </a:lnTo>
                <a:lnTo>
                  <a:pt x="755903" y="176911"/>
                </a:lnTo>
                <a:lnTo>
                  <a:pt x="755903" y="171958"/>
                </a:lnTo>
                <a:lnTo>
                  <a:pt x="716406" y="171958"/>
                </a:lnTo>
                <a:lnTo>
                  <a:pt x="707328" y="171223"/>
                </a:lnTo>
                <a:lnTo>
                  <a:pt x="678021" y="146383"/>
                </a:lnTo>
                <a:lnTo>
                  <a:pt x="674877" y="127508"/>
                </a:lnTo>
                <a:lnTo>
                  <a:pt x="764793" y="127508"/>
                </a:lnTo>
                <a:lnTo>
                  <a:pt x="764793" y="116840"/>
                </a:lnTo>
                <a:lnTo>
                  <a:pt x="764377" y="110236"/>
                </a:lnTo>
                <a:lnTo>
                  <a:pt x="675131" y="110236"/>
                </a:lnTo>
                <a:lnTo>
                  <a:pt x="676773" y="102332"/>
                </a:lnTo>
                <a:lnTo>
                  <a:pt x="705133" y="73667"/>
                </a:lnTo>
                <a:lnTo>
                  <a:pt x="712088" y="73025"/>
                </a:lnTo>
                <a:lnTo>
                  <a:pt x="751765" y="73025"/>
                </a:lnTo>
                <a:lnTo>
                  <a:pt x="751077" y="72009"/>
                </a:lnTo>
                <a:lnTo>
                  <a:pt x="743527" y="64934"/>
                </a:lnTo>
                <a:lnTo>
                  <a:pt x="734583" y="59896"/>
                </a:lnTo>
                <a:lnTo>
                  <a:pt x="724235" y="56882"/>
                </a:lnTo>
                <a:lnTo>
                  <a:pt x="712469" y="55880"/>
                </a:lnTo>
                <a:close/>
              </a:path>
              <a:path w="765175" h="189229">
                <a:moveTo>
                  <a:pt x="755903" y="157734"/>
                </a:moveTo>
                <a:lnTo>
                  <a:pt x="746660" y="163921"/>
                </a:lnTo>
                <a:lnTo>
                  <a:pt x="737012" y="168370"/>
                </a:lnTo>
                <a:lnTo>
                  <a:pt x="726936" y="171057"/>
                </a:lnTo>
                <a:lnTo>
                  <a:pt x="716406" y="171958"/>
                </a:lnTo>
                <a:lnTo>
                  <a:pt x="755903" y="171958"/>
                </a:lnTo>
                <a:lnTo>
                  <a:pt x="755903" y="157734"/>
                </a:lnTo>
                <a:close/>
              </a:path>
              <a:path w="765175" h="189229">
                <a:moveTo>
                  <a:pt x="751765" y="73025"/>
                </a:moveTo>
                <a:lnTo>
                  <a:pt x="721994" y="73025"/>
                </a:lnTo>
                <a:lnTo>
                  <a:pt x="729741" y="76200"/>
                </a:lnTo>
                <a:lnTo>
                  <a:pt x="735329" y="82804"/>
                </a:lnTo>
                <a:lnTo>
                  <a:pt x="739016" y="88179"/>
                </a:lnTo>
                <a:lnTo>
                  <a:pt x="741679" y="94567"/>
                </a:lnTo>
                <a:lnTo>
                  <a:pt x="743295" y="101931"/>
                </a:lnTo>
                <a:lnTo>
                  <a:pt x="743838" y="110236"/>
                </a:lnTo>
                <a:lnTo>
                  <a:pt x="764377" y="110236"/>
                </a:lnTo>
                <a:lnTo>
                  <a:pt x="763936" y="103262"/>
                </a:lnTo>
                <a:lnTo>
                  <a:pt x="761364" y="91281"/>
                </a:lnTo>
                <a:lnTo>
                  <a:pt x="757078" y="80871"/>
                </a:lnTo>
                <a:lnTo>
                  <a:pt x="751765" y="73025"/>
                </a:lnTo>
                <a:close/>
              </a:path>
            </a:pathLst>
          </a:custGeom>
          <a:solidFill>
            <a:srgbClr val="6E6E6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95401" y="6258868"/>
            <a:ext cx="2564803" cy="493962"/>
          </a:xfrm>
          <a:custGeom>
            <a:avLst/>
            <a:gdLst/>
            <a:ahLst/>
            <a:cxnLst/>
            <a:rect l="l" t="t" r="r" b="b"/>
            <a:pathLst>
              <a:path w="3487420" h="554989">
                <a:moveTo>
                  <a:pt x="0" y="554736"/>
                </a:moveTo>
                <a:lnTo>
                  <a:pt x="3486912" y="554736"/>
                </a:lnTo>
                <a:lnTo>
                  <a:pt x="3486912" y="0"/>
                </a:lnTo>
                <a:lnTo>
                  <a:pt x="0" y="0"/>
                </a:lnTo>
                <a:lnTo>
                  <a:pt x="0" y="55473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1482188" y="6412652"/>
            <a:ext cx="608510" cy="306324"/>
          </a:xfrm>
          <a:custGeom>
            <a:avLst/>
            <a:gdLst/>
            <a:ahLst/>
            <a:cxnLst/>
            <a:rect l="l" t="t" r="r" b="b"/>
            <a:pathLst>
              <a:path w="827405" h="344170">
                <a:moveTo>
                  <a:pt x="36575" y="0"/>
                </a:moveTo>
                <a:lnTo>
                  <a:pt x="0" y="0"/>
                </a:lnTo>
                <a:lnTo>
                  <a:pt x="0" y="338455"/>
                </a:lnTo>
                <a:lnTo>
                  <a:pt x="36575" y="338455"/>
                </a:lnTo>
                <a:lnTo>
                  <a:pt x="36575" y="208915"/>
                </a:lnTo>
                <a:lnTo>
                  <a:pt x="37718" y="193460"/>
                </a:lnTo>
                <a:lnTo>
                  <a:pt x="41148" y="179482"/>
                </a:lnTo>
                <a:lnTo>
                  <a:pt x="46862" y="166981"/>
                </a:lnTo>
                <a:lnTo>
                  <a:pt x="54863" y="155956"/>
                </a:lnTo>
                <a:lnTo>
                  <a:pt x="63660" y="147701"/>
                </a:lnTo>
                <a:lnTo>
                  <a:pt x="36575" y="147701"/>
                </a:lnTo>
                <a:lnTo>
                  <a:pt x="36575" y="0"/>
                </a:lnTo>
                <a:close/>
              </a:path>
              <a:path w="827405" h="344170">
                <a:moveTo>
                  <a:pt x="174180" y="135255"/>
                </a:moveTo>
                <a:lnTo>
                  <a:pt x="99949" y="135255"/>
                </a:lnTo>
                <a:lnTo>
                  <a:pt x="123191" y="139729"/>
                </a:lnTo>
                <a:lnTo>
                  <a:pt x="139779" y="153146"/>
                </a:lnTo>
                <a:lnTo>
                  <a:pt x="149723" y="175492"/>
                </a:lnTo>
                <a:lnTo>
                  <a:pt x="153035" y="206756"/>
                </a:lnTo>
                <a:lnTo>
                  <a:pt x="153035" y="338455"/>
                </a:lnTo>
                <a:lnTo>
                  <a:pt x="189737" y="338455"/>
                </a:lnTo>
                <a:lnTo>
                  <a:pt x="189737" y="197485"/>
                </a:lnTo>
                <a:lnTo>
                  <a:pt x="184906" y="156793"/>
                </a:lnTo>
                <a:lnTo>
                  <a:pt x="174180" y="135255"/>
                </a:lnTo>
                <a:close/>
              </a:path>
              <a:path w="827405" h="344170">
                <a:moveTo>
                  <a:pt x="112522" y="104394"/>
                </a:moveTo>
                <a:lnTo>
                  <a:pt x="89542" y="107106"/>
                </a:lnTo>
                <a:lnTo>
                  <a:pt x="69373" y="115236"/>
                </a:lnTo>
                <a:lnTo>
                  <a:pt x="52014" y="128772"/>
                </a:lnTo>
                <a:lnTo>
                  <a:pt x="37464" y="147701"/>
                </a:lnTo>
                <a:lnTo>
                  <a:pt x="63660" y="147701"/>
                </a:lnTo>
                <a:lnTo>
                  <a:pt x="64533" y="146881"/>
                </a:lnTo>
                <a:lnTo>
                  <a:pt x="75263" y="140414"/>
                </a:lnTo>
                <a:lnTo>
                  <a:pt x="87064" y="136542"/>
                </a:lnTo>
                <a:lnTo>
                  <a:pt x="99949" y="135255"/>
                </a:lnTo>
                <a:lnTo>
                  <a:pt x="174180" y="135255"/>
                </a:lnTo>
                <a:lnTo>
                  <a:pt x="170418" y="127698"/>
                </a:lnTo>
                <a:lnTo>
                  <a:pt x="146286" y="110224"/>
                </a:lnTo>
                <a:lnTo>
                  <a:pt x="112522" y="104394"/>
                </a:lnTo>
                <a:close/>
              </a:path>
              <a:path w="827405" h="344170">
                <a:moveTo>
                  <a:pt x="359918" y="104394"/>
                </a:moveTo>
                <a:lnTo>
                  <a:pt x="311896" y="112490"/>
                </a:lnTo>
                <a:lnTo>
                  <a:pt x="274828" y="136779"/>
                </a:lnTo>
                <a:lnTo>
                  <a:pt x="251285" y="175466"/>
                </a:lnTo>
                <a:lnTo>
                  <a:pt x="243459" y="226822"/>
                </a:lnTo>
                <a:lnTo>
                  <a:pt x="245342" y="251920"/>
                </a:lnTo>
                <a:lnTo>
                  <a:pt x="260443" y="294401"/>
                </a:lnTo>
                <a:lnTo>
                  <a:pt x="290093" y="325786"/>
                </a:lnTo>
                <a:lnTo>
                  <a:pt x="330531" y="341788"/>
                </a:lnTo>
                <a:lnTo>
                  <a:pt x="354584" y="343789"/>
                </a:lnTo>
                <a:lnTo>
                  <a:pt x="379275" y="341721"/>
                </a:lnTo>
                <a:lnTo>
                  <a:pt x="401335" y="335534"/>
                </a:lnTo>
                <a:lnTo>
                  <a:pt x="420752" y="325250"/>
                </a:lnTo>
                <a:lnTo>
                  <a:pt x="435142" y="312928"/>
                </a:lnTo>
                <a:lnTo>
                  <a:pt x="357250" y="312928"/>
                </a:lnTo>
                <a:lnTo>
                  <a:pt x="340701" y="311473"/>
                </a:lnTo>
                <a:lnTo>
                  <a:pt x="301625" y="289560"/>
                </a:lnTo>
                <a:lnTo>
                  <a:pt x="282211" y="244661"/>
                </a:lnTo>
                <a:lnTo>
                  <a:pt x="281017" y="226822"/>
                </a:lnTo>
                <a:lnTo>
                  <a:pt x="281063" y="223266"/>
                </a:lnTo>
                <a:lnTo>
                  <a:pt x="292496" y="172400"/>
                </a:lnTo>
                <a:lnTo>
                  <a:pt x="325659" y="141255"/>
                </a:lnTo>
                <a:lnTo>
                  <a:pt x="357250" y="135255"/>
                </a:lnTo>
                <a:lnTo>
                  <a:pt x="439072" y="135255"/>
                </a:lnTo>
                <a:lnTo>
                  <a:pt x="424015" y="122128"/>
                </a:lnTo>
                <a:lnTo>
                  <a:pt x="405431" y="112283"/>
                </a:lnTo>
                <a:lnTo>
                  <a:pt x="384061" y="106368"/>
                </a:lnTo>
                <a:lnTo>
                  <a:pt x="359918" y="104394"/>
                </a:lnTo>
                <a:close/>
              </a:path>
              <a:path w="827405" h="344170">
                <a:moveTo>
                  <a:pt x="439072" y="135255"/>
                </a:moveTo>
                <a:lnTo>
                  <a:pt x="357250" y="135255"/>
                </a:lnTo>
                <a:lnTo>
                  <a:pt x="373963" y="136707"/>
                </a:lnTo>
                <a:lnTo>
                  <a:pt x="388651" y="141065"/>
                </a:lnTo>
                <a:lnTo>
                  <a:pt x="420195" y="171332"/>
                </a:lnTo>
                <a:lnTo>
                  <a:pt x="430836" y="223266"/>
                </a:lnTo>
                <a:lnTo>
                  <a:pt x="430858" y="225425"/>
                </a:lnTo>
                <a:lnTo>
                  <a:pt x="429720" y="244542"/>
                </a:lnTo>
                <a:lnTo>
                  <a:pt x="411861" y="289941"/>
                </a:lnTo>
                <a:lnTo>
                  <a:pt x="373963" y="311497"/>
                </a:lnTo>
                <a:lnTo>
                  <a:pt x="357250" y="312928"/>
                </a:lnTo>
                <a:lnTo>
                  <a:pt x="435142" y="312928"/>
                </a:lnTo>
                <a:lnTo>
                  <a:pt x="460660" y="272510"/>
                </a:lnTo>
                <a:lnTo>
                  <a:pt x="468375" y="223266"/>
                </a:lnTo>
                <a:lnTo>
                  <a:pt x="466590" y="196879"/>
                </a:lnTo>
                <a:lnTo>
                  <a:pt x="461232" y="173529"/>
                </a:lnTo>
                <a:lnTo>
                  <a:pt x="452302" y="153203"/>
                </a:lnTo>
                <a:lnTo>
                  <a:pt x="439800" y="135890"/>
                </a:lnTo>
                <a:lnTo>
                  <a:pt x="439072" y="135255"/>
                </a:lnTo>
                <a:close/>
              </a:path>
              <a:path w="827405" h="344170">
                <a:moveTo>
                  <a:pt x="513461" y="290830"/>
                </a:moveTo>
                <a:lnTo>
                  <a:pt x="513461" y="330200"/>
                </a:lnTo>
                <a:lnTo>
                  <a:pt x="526988" y="336127"/>
                </a:lnTo>
                <a:lnTo>
                  <a:pt x="541670" y="340375"/>
                </a:lnTo>
                <a:lnTo>
                  <a:pt x="557520" y="342933"/>
                </a:lnTo>
                <a:lnTo>
                  <a:pt x="574548" y="343789"/>
                </a:lnTo>
                <a:lnTo>
                  <a:pt x="583404" y="343529"/>
                </a:lnTo>
                <a:lnTo>
                  <a:pt x="624077" y="334676"/>
                </a:lnTo>
                <a:lnTo>
                  <a:pt x="653266" y="312928"/>
                </a:lnTo>
                <a:lnTo>
                  <a:pt x="579247" y="312928"/>
                </a:lnTo>
                <a:lnTo>
                  <a:pt x="561699" y="311546"/>
                </a:lnTo>
                <a:lnTo>
                  <a:pt x="544877" y="307403"/>
                </a:lnTo>
                <a:lnTo>
                  <a:pt x="528794" y="300497"/>
                </a:lnTo>
                <a:lnTo>
                  <a:pt x="513461" y="290830"/>
                </a:lnTo>
                <a:close/>
              </a:path>
              <a:path w="827405" h="344170">
                <a:moveTo>
                  <a:pt x="601344" y="104394"/>
                </a:moveTo>
                <a:lnTo>
                  <a:pt x="561216" y="111069"/>
                </a:lnTo>
                <a:lnTo>
                  <a:pt x="525212" y="136161"/>
                </a:lnTo>
                <a:lnTo>
                  <a:pt x="513842" y="170561"/>
                </a:lnTo>
                <a:lnTo>
                  <a:pt x="513842" y="179324"/>
                </a:lnTo>
                <a:lnTo>
                  <a:pt x="515112" y="186944"/>
                </a:lnTo>
                <a:lnTo>
                  <a:pt x="517779" y="193548"/>
                </a:lnTo>
                <a:lnTo>
                  <a:pt x="520319" y="200025"/>
                </a:lnTo>
                <a:lnTo>
                  <a:pt x="554539" y="227964"/>
                </a:lnTo>
                <a:lnTo>
                  <a:pt x="589407" y="242570"/>
                </a:lnTo>
                <a:lnTo>
                  <a:pt x="595630" y="245237"/>
                </a:lnTo>
                <a:lnTo>
                  <a:pt x="601980" y="247777"/>
                </a:lnTo>
                <a:lnTo>
                  <a:pt x="607568" y="250698"/>
                </a:lnTo>
                <a:lnTo>
                  <a:pt x="612139" y="254000"/>
                </a:lnTo>
                <a:lnTo>
                  <a:pt x="616838" y="257302"/>
                </a:lnTo>
                <a:lnTo>
                  <a:pt x="620649" y="261112"/>
                </a:lnTo>
                <a:lnTo>
                  <a:pt x="623316" y="265303"/>
                </a:lnTo>
                <a:lnTo>
                  <a:pt x="626110" y="269494"/>
                </a:lnTo>
                <a:lnTo>
                  <a:pt x="627507" y="274701"/>
                </a:lnTo>
                <a:lnTo>
                  <a:pt x="627507" y="280797"/>
                </a:lnTo>
                <a:lnTo>
                  <a:pt x="624484" y="294872"/>
                </a:lnTo>
                <a:lnTo>
                  <a:pt x="615426" y="304911"/>
                </a:lnTo>
                <a:lnTo>
                  <a:pt x="600342" y="310925"/>
                </a:lnTo>
                <a:lnTo>
                  <a:pt x="579247" y="312928"/>
                </a:lnTo>
                <a:lnTo>
                  <a:pt x="653266" y="312928"/>
                </a:lnTo>
                <a:lnTo>
                  <a:pt x="664972" y="277241"/>
                </a:lnTo>
                <a:lnTo>
                  <a:pt x="664972" y="267970"/>
                </a:lnTo>
                <a:lnTo>
                  <a:pt x="641731" y="230505"/>
                </a:lnTo>
                <a:lnTo>
                  <a:pt x="606976" y="212758"/>
                </a:lnTo>
                <a:lnTo>
                  <a:pt x="591947" y="206883"/>
                </a:lnTo>
                <a:lnTo>
                  <a:pt x="585216" y="204089"/>
                </a:lnTo>
                <a:lnTo>
                  <a:pt x="573278" y="199009"/>
                </a:lnTo>
                <a:lnTo>
                  <a:pt x="568198" y="196215"/>
                </a:lnTo>
                <a:lnTo>
                  <a:pt x="564134" y="193040"/>
                </a:lnTo>
                <a:lnTo>
                  <a:pt x="559943" y="189992"/>
                </a:lnTo>
                <a:lnTo>
                  <a:pt x="556768" y="186436"/>
                </a:lnTo>
                <a:lnTo>
                  <a:pt x="552450" y="178308"/>
                </a:lnTo>
                <a:lnTo>
                  <a:pt x="551307" y="173355"/>
                </a:lnTo>
                <a:lnTo>
                  <a:pt x="551307" y="162687"/>
                </a:lnTo>
                <a:lnTo>
                  <a:pt x="583438" y="136017"/>
                </a:lnTo>
                <a:lnTo>
                  <a:pt x="589661" y="135255"/>
                </a:lnTo>
                <a:lnTo>
                  <a:pt x="654557" y="135255"/>
                </a:lnTo>
                <a:lnTo>
                  <a:pt x="654557" y="114681"/>
                </a:lnTo>
                <a:lnTo>
                  <a:pt x="642439" y="110180"/>
                </a:lnTo>
                <a:lnTo>
                  <a:pt x="629523" y="106965"/>
                </a:lnTo>
                <a:lnTo>
                  <a:pt x="615821" y="105036"/>
                </a:lnTo>
                <a:lnTo>
                  <a:pt x="601344" y="104394"/>
                </a:lnTo>
                <a:close/>
              </a:path>
              <a:path w="827405" h="344170">
                <a:moveTo>
                  <a:pt x="654557" y="135255"/>
                </a:moveTo>
                <a:lnTo>
                  <a:pt x="596519" y="135255"/>
                </a:lnTo>
                <a:lnTo>
                  <a:pt x="612427" y="136280"/>
                </a:lnTo>
                <a:lnTo>
                  <a:pt x="627395" y="139366"/>
                </a:lnTo>
                <a:lnTo>
                  <a:pt x="641435" y="144524"/>
                </a:lnTo>
                <a:lnTo>
                  <a:pt x="654557" y="151765"/>
                </a:lnTo>
                <a:lnTo>
                  <a:pt x="654557" y="135255"/>
                </a:lnTo>
                <a:close/>
              </a:path>
              <a:path w="827405" h="344170">
                <a:moveTo>
                  <a:pt x="769238" y="141097"/>
                </a:moveTo>
                <a:lnTo>
                  <a:pt x="732663" y="141097"/>
                </a:lnTo>
                <a:lnTo>
                  <a:pt x="732663" y="276352"/>
                </a:lnTo>
                <a:lnTo>
                  <a:pt x="736405" y="305669"/>
                </a:lnTo>
                <a:lnTo>
                  <a:pt x="747649" y="326580"/>
                </a:lnTo>
                <a:lnTo>
                  <a:pt x="766417" y="339109"/>
                </a:lnTo>
                <a:lnTo>
                  <a:pt x="792734" y="343281"/>
                </a:lnTo>
                <a:lnTo>
                  <a:pt x="802804" y="342848"/>
                </a:lnTo>
                <a:lnTo>
                  <a:pt x="811863" y="341534"/>
                </a:lnTo>
                <a:lnTo>
                  <a:pt x="819898" y="339316"/>
                </a:lnTo>
                <a:lnTo>
                  <a:pt x="826897" y="336169"/>
                </a:lnTo>
                <a:lnTo>
                  <a:pt x="826897" y="312547"/>
                </a:lnTo>
                <a:lnTo>
                  <a:pt x="802894" y="312547"/>
                </a:lnTo>
                <a:lnTo>
                  <a:pt x="794561" y="311927"/>
                </a:lnTo>
                <a:lnTo>
                  <a:pt x="769737" y="280566"/>
                </a:lnTo>
                <a:lnTo>
                  <a:pt x="769238" y="269875"/>
                </a:lnTo>
                <a:lnTo>
                  <a:pt x="769238" y="141097"/>
                </a:lnTo>
                <a:close/>
              </a:path>
              <a:path w="827405" h="344170">
                <a:moveTo>
                  <a:pt x="826897" y="304927"/>
                </a:moveTo>
                <a:lnTo>
                  <a:pt x="820166" y="310007"/>
                </a:lnTo>
                <a:lnTo>
                  <a:pt x="812164" y="312547"/>
                </a:lnTo>
                <a:lnTo>
                  <a:pt x="826897" y="312547"/>
                </a:lnTo>
                <a:lnTo>
                  <a:pt x="826897" y="304927"/>
                </a:lnTo>
                <a:close/>
              </a:path>
              <a:path w="827405" h="344170">
                <a:moveTo>
                  <a:pt x="826897" y="109855"/>
                </a:moveTo>
                <a:lnTo>
                  <a:pt x="693293" y="109855"/>
                </a:lnTo>
                <a:lnTo>
                  <a:pt x="693293" y="141097"/>
                </a:lnTo>
                <a:lnTo>
                  <a:pt x="826897" y="141097"/>
                </a:lnTo>
                <a:lnTo>
                  <a:pt x="826897" y="109855"/>
                </a:lnTo>
                <a:close/>
              </a:path>
              <a:path w="827405" h="344170">
                <a:moveTo>
                  <a:pt x="769238" y="42164"/>
                </a:moveTo>
                <a:lnTo>
                  <a:pt x="732663" y="53975"/>
                </a:lnTo>
                <a:lnTo>
                  <a:pt x="732663" y="109855"/>
                </a:lnTo>
                <a:lnTo>
                  <a:pt x="769238" y="109855"/>
                </a:lnTo>
                <a:lnTo>
                  <a:pt x="769238" y="42164"/>
                </a:lnTo>
                <a:close/>
              </a:path>
            </a:pathLst>
          </a:custGeom>
          <a:solidFill>
            <a:srgbClr val="FFFFFF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1239624" y="4941213"/>
            <a:ext cx="1089528" cy="834197"/>
          </a:xfrm>
          <a:custGeom>
            <a:avLst/>
            <a:gdLst/>
            <a:ahLst/>
            <a:cxnLst/>
            <a:rect l="l" t="t" r="r" b="b"/>
            <a:pathLst>
              <a:path w="1481455" h="937260">
                <a:moveTo>
                  <a:pt x="0" y="937260"/>
                </a:moveTo>
                <a:lnTo>
                  <a:pt x="1481328" y="937260"/>
                </a:lnTo>
                <a:lnTo>
                  <a:pt x="1481328" y="0"/>
                </a:lnTo>
                <a:lnTo>
                  <a:pt x="0" y="0"/>
                </a:lnTo>
                <a:lnTo>
                  <a:pt x="0" y="937260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1374869" y="5132006"/>
            <a:ext cx="830806" cy="434053"/>
          </a:xfrm>
          <a:custGeom>
            <a:avLst/>
            <a:gdLst/>
            <a:ahLst/>
            <a:cxnLst/>
            <a:rect l="l" t="t" r="r" b="b"/>
            <a:pathLst>
              <a:path w="1129664" h="487679">
                <a:moveTo>
                  <a:pt x="55245" y="7873"/>
                </a:moveTo>
                <a:lnTo>
                  <a:pt x="0" y="7873"/>
                </a:lnTo>
                <a:lnTo>
                  <a:pt x="0" y="479551"/>
                </a:lnTo>
                <a:lnTo>
                  <a:pt x="55245" y="479551"/>
                </a:lnTo>
                <a:lnTo>
                  <a:pt x="55245" y="7873"/>
                </a:lnTo>
                <a:close/>
              </a:path>
              <a:path w="1129664" h="487679">
                <a:moveTo>
                  <a:pt x="391874" y="180212"/>
                </a:moveTo>
                <a:lnTo>
                  <a:pt x="290322" y="180212"/>
                </a:lnTo>
                <a:lnTo>
                  <a:pt x="320659" y="185590"/>
                </a:lnTo>
                <a:lnTo>
                  <a:pt x="342328" y="201707"/>
                </a:lnTo>
                <a:lnTo>
                  <a:pt x="355330" y="228540"/>
                </a:lnTo>
                <a:lnTo>
                  <a:pt x="359664" y="266064"/>
                </a:lnTo>
                <a:lnTo>
                  <a:pt x="258699" y="280288"/>
                </a:lnTo>
                <a:lnTo>
                  <a:pt x="210099" y="292935"/>
                </a:lnTo>
                <a:lnTo>
                  <a:pt x="175371" y="315452"/>
                </a:lnTo>
                <a:lnTo>
                  <a:pt x="154525" y="347851"/>
                </a:lnTo>
                <a:lnTo>
                  <a:pt x="147574" y="390143"/>
                </a:lnTo>
                <a:lnTo>
                  <a:pt x="149357" y="411073"/>
                </a:lnTo>
                <a:lnTo>
                  <a:pt x="163593" y="446454"/>
                </a:lnTo>
                <a:lnTo>
                  <a:pt x="191593" y="472477"/>
                </a:lnTo>
                <a:lnTo>
                  <a:pt x="230975" y="485761"/>
                </a:lnTo>
                <a:lnTo>
                  <a:pt x="254762" y="487425"/>
                </a:lnTo>
                <a:lnTo>
                  <a:pt x="286885" y="483659"/>
                </a:lnTo>
                <a:lnTo>
                  <a:pt x="314864" y="472344"/>
                </a:lnTo>
                <a:lnTo>
                  <a:pt x="338701" y="453457"/>
                </a:lnTo>
                <a:lnTo>
                  <a:pt x="347156" y="442086"/>
                </a:lnTo>
                <a:lnTo>
                  <a:pt x="267335" y="442086"/>
                </a:lnTo>
                <a:lnTo>
                  <a:pt x="253404" y="441110"/>
                </a:lnTo>
                <a:lnTo>
                  <a:pt x="212730" y="418085"/>
                </a:lnTo>
                <a:lnTo>
                  <a:pt x="202819" y="386206"/>
                </a:lnTo>
                <a:lnTo>
                  <a:pt x="204009" y="370538"/>
                </a:lnTo>
                <a:lnTo>
                  <a:pt x="232558" y="332797"/>
                </a:lnTo>
                <a:lnTo>
                  <a:pt x="278511" y="320420"/>
                </a:lnTo>
                <a:lnTo>
                  <a:pt x="359664" y="309244"/>
                </a:lnTo>
                <a:lnTo>
                  <a:pt x="413639" y="309244"/>
                </a:lnTo>
                <a:lnTo>
                  <a:pt x="413639" y="260476"/>
                </a:lnTo>
                <a:lnTo>
                  <a:pt x="406229" y="205543"/>
                </a:lnTo>
                <a:lnTo>
                  <a:pt x="391874" y="180212"/>
                </a:lnTo>
                <a:close/>
              </a:path>
              <a:path w="1129664" h="487679">
                <a:moveTo>
                  <a:pt x="413639" y="426973"/>
                </a:moveTo>
                <a:lnTo>
                  <a:pt x="359664" y="426973"/>
                </a:lnTo>
                <a:lnTo>
                  <a:pt x="359664" y="479551"/>
                </a:lnTo>
                <a:lnTo>
                  <a:pt x="413639" y="479551"/>
                </a:lnTo>
                <a:lnTo>
                  <a:pt x="413639" y="426973"/>
                </a:lnTo>
                <a:close/>
              </a:path>
              <a:path w="1129664" h="487679">
                <a:moveTo>
                  <a:pt x="413639" y="309244"/>
                </a:moveTo>
                <a:lnTo>
                  <a:pt x="359664" y="309244"/>
                </a:lnTo>
                <a:lnTo>
                  <a:pt x="359664" y="342772"/>
                </a:lnTo>
                <a:lnTo>
                  <a:pt x="358042" y="363370"/>
                </a:lnTo>
                <a:lnTo>
                  <a:pt x="333629" y="414019"/>
                </a:lnTo>
                <a:lnTo>
                  <a:pt x="286480" y="440326"/>
                </a:lnTo>
                <a:lnTo>
                  <a:pt x="267335" y="442086"/>
                </a:lnTo>
                <a:lnTo>
                  <a:pt x="347156" y="442086"/>
                </a:lnTo>
                <a:lnTo>
                  <a:pt x="358394" y="426973"/>
                </a:lnTo>
                <a:lnTo>
                  <a:pt x="413639" y="426973"/>
                </a:lnTo>
                <a:lnTo>
                  <a:pt x="413639" y="309244"/>
                </a:lnTo>
                <a:close/>
              </a:path>
              <a:path w="1129664" h="487679">
                <a:moveTo>
                  <a:pt x="294894" y="134873"/>
                </a:moveTo>
                <a:lnTo>
                  <a:pt x="263459" y="136850"/>
                </a:lnTo>
                <a:lnTo>
                  <a:pt x="233918" y="142779"/>
                </a:lnTo>
                <a:lnTo>
                  <a:pt x="206257" y="152661"/>
                </a:lnTo>
                <a:lnTo>
                  <a:pt x="180467" y="166496"/>
                </a:lnTo>
                <a:lnTo>
                  <a:pt x="180467" y="221741"/>
                </a:lnTo>
                <a:lnTo>
                  <a:pt x="205704" y="203573"/>
                </a:lnTo>
                <a:lnTo>
                  <a:pt x="232441" y="190595"/>
                </a:lnTo>
                <a:lnTo>
                  <a:pt x="260655" y="182808"/>
                </a:lnTo>
                <a:lnTo>
                  <a:pt x="290322" y="180212"/>
                </a:lnTo>
                <a:lnTo>
                  <a:pt x="391874" y="180212"/>
                </a:lnTo>
                <a:lnTo>
                  <a:pt x="383984" y="166290"/>
                </a:lnTo>
                <a:lnTo>
                  <a:pt x="346880" y="142730"/>
                </a:lnTo>
                <a:lnTo>
                  <a:pt x="294894" y="134873"/>
                </a:lnTo>
                <a:close/>
              </a:path>
              <a:path w="1129664" h="487679">
                <a:moveTo>
                  <a:pt x="734774" y="180212"/>
                </a:moveTo>
                <a:lnTo>
                  <a:pt x="633222" y="180212"/>
                </a:lnTo>
                <a:lnTo>
                  <a:pt x="663559" y="185590"/>
                </a:lnTo>
                <a:lnTo>
                  <a:pt x="685228" y="201707"/>
                </a:lnTo>
                <a:lnTo>
                  <a:pt x="698230" y="228540"/>
                </a:lnTo>
                <a:lnTo>
                  <a:pt x="702564" y="266064"/>
                </a:lnTo>
                <a:lnTo>
                  <a:pt x="601599" y="280288"/>
                </a:lnTo>
                <a:lnTo>
                  <a:pt x="552999" y="292935"/>
                </a:lnTo>
                <a:lnTo>
                  <a:pt x="518271" y="315452"/>
                </a:lnTo>
                <a:lnTo>
                  <a:pt x="497425" y="347851"/>
                </a:lnTo>
                <a:lnTo>
                  <a:pt x="490474" y="390143"/>
                </a:lnTo>
                <a:lnTo>
                  <a:pt x="492257" y="411073"/>
                </a:lnTo>
                <a:lnTo>
                  <a:pt x="506493" y="446454"/>
                </a:lnTo>
                <a:lnTo>
                  <a:pt x="534493" y="472477"/>
                </a:lnTo>
                <a:lnTo>
                  <a:pt x="573875" y="485761"/>
                </a:lnTo>
                <a:lnTo>
                  <a:pt x="597662" y="487425"/>
                </a:lnTo>
                <a:lnTo>
                  <a:pt x="629785" y="483659"/>
                </a:lnTo>
                <a:lnTo>
                  <a:pt x="657764" y="472344"/>
                </a:lnTo>
                <a:lnTo>
                  <a:pt x="681601" y="453457"/>
                </a:lnTo>
                <a:lnTo>
                  <a:pt x="690056" y="442086"/>
                </a:lnTo>
                <a:lnTo>
                  <a:pt x="610235" y="442086"/>
                </a:lnTo>
                <a:lnTo>
                  <a:pt x="596304" y="441110"/>
                </a:lnTo>
                <a:lnTo>
                  <a:pt x="555630" y="418085"/>
                </a:lnTo>
                <a:lnTo>
                  <a:pt x="545719" y="386206"/>
                </a:lnTo>
                <a:lnTo>
                  <a:pt x="546909" y="370538"/>
                </a:lnTo>
                <a:lnTo>
                  <a:pt x="575458" y="332797"/>
                </a:lnTo>
                <a:lnTo>
                  <a:pt x="621411" y="320420"/>
                </a:lnTo>
                <a:lnTo>
                  <a:pt x="702564" y="309244"/>
                </a:lnTo>
                <a:lnTo>
                  <a:pt x="756539" y="309244"/>
                </a:lnTo>
                <a:lnTo>
                  <a:pt x="756539" y="260476"/>
                </a:lnTo>
                <a:lnTo>
                  <a:pt x="749129" y="205543"/>
                </a:lnTo>
                <a:lnTo>
                  <a:pt x="734774" y="180212"/>
                </a:lnTo>
                <a:close/>
              </a:path>
              <a:path w="1129664" h="487679">
                <a:moveTo>
                  <a:pt x="756539" y="426973"/>
                </a:moveTo>
                <a:lnTo>
                  <a:pt x="702564" y="426973"/>
                </a:lnTo>
                <a:lnTo>
                  <a:pt x="702564" y="479551"/>
                </a:lnTo>
                <a:lnTo>
                  <a:pt x="756539" y="479551"/>
                </a:lnTo>
                <a:lnTo>
                  <a:pt x="756539" y="426973"/>
                </a:lnTo>
                <a:close/>
              </a:path>
              <a:path w="1129664" h="487679">
                <a:moveTo>
                  <a:pt x="756539" y="309244"/>
                </a:moveTo>
                <a:lnTo>
                  <a:pt x="702564" y="309244"/>
                </a:lnTo>
                <a:lnTo>
                  <a:pt x="702564" y="342772"/>
                </a:lnTo>
                <a:lnTo>
                  <a:pt x="700942" y="363370"/>
                </a:lnTo>
                <a:lnTo>
                  <a:pt x="676529" y="414019"/>
                </a:lnTo>
                <a:lnTo>
                  <a:pt x="629380" y="440326"/>
                </a:lnTo>
                <a:lnTo>
                  <a:pt x="610235" y="442086"/>
                </a:lnTo>
                <a:lnTo>
                  <a:pt x="690056" y="442086"/>
                </a:lnTo>
                <a:lnTo>
                  <a:pt x="701294" y="426973"/>
                </a:lnTo>
                <a:lnTo>
                  <a:pt x="756539" y="426973"/>
                </a:lnTo>
                <a:lnTo>
                  <a:pt x="756539" y="309244"/>
                </a:lnTo>
                <a:close/>
              </a:path>
              <a:path w="1129664" h="487679">
                <a:moveTo>
                  <a:pt x="637794" y="134873"/>
                </a:moveTo>
                <a:lnTo>
                  <a:pt x="606359" y="136850"/>
                </a:lnTo>
                <a:lnTo>
                  <a:pt x="576818" y="142779"/>
                </a:lnTo>
                <a:lnTo>
                  <a:pt x="549157" y="152661"/>
                </a:lnTo>
                <a:lnTo>
                  <a:pt x="523367" y="166496"/>
                </a:lnTo>
                <a:lnTo>
                  <a:pt x="523367" y="221741"/>
                </a:lnTo>
                <a:lnTo>
                  <a:pt x="548604" y="203573"/>
                </a:lnTo>
                <a:lnTo>
                  <a:pt x="575341" y="190595"/>
                </a:lnTo>
                <a:lnTo>
                  <a:pt x="603555" y="182808"/>
                </a:lnTo>
                <a:lnTo>
                  <a:pt x="633222" y="180212"/>
                </a:lnTo>
                <a:lnTo>
                  <a:pt x="734774" y="180212"/>
                </a:lnTo>
                <a:lnTo>
                  <a:pt x="726884" y="166290"/>
                </a:lnTo>
                <a:lnTo>
                  <a:pt x="689780" y="142730"/>
                </a:lnTo>
                <a:lnTo>
                  <a:pt x="637794" y="134873"/>
                </a:lnTo>
                <a:close/>
              </a:path>
              <a:path w="1129664" h="487679">
                <a:moveTo>
                  <a:pt x="843534" y="395350"/>
                </a:moveTo>
                <a:lnTo>
                  <a:pt x="843534" y="460501"/>
                </a:lnTo>
                <a:lnTo>
                  <a:pt x="848560" y="463571"/>
                </a:lnTo>
                <a:lnTo>
                  <a:pt x="892048" y="478609"/>
                </a:lnTo>
                <a:lnTo>
                  <a:pt x="934085" y="485647"/>
                </a:lnTo>
                <a:lnTo>
                  <a:pt x="961644" y="487425"/>
                </a:lnTo>
                <a:lnTo>
                  <a:pt x="978267" y="487013"/>
                </a:lnTo>
                <a:lnTo>
                  <a:pt x="1025525" y="480694"/>
                </a:lnTo>
                <a:lnTo>
                  <a:pt x="1066869" y="465871"/>
                </a:lnTo>
                <a:lnTo>
                  <a:pt x="1099708" y="441467"/>
                </a:lnTo>
                <a:lnTo>
                  <a:pt x="1102773" y="437768"/>
                </a:lnTo>
                <a:lnTo>
                  <a:pt x="970153" y="437768"/>
                </a:lnTo>
                <a:lnTo>
                  <a:pt x="962632" y="437598"/>
                </a:lnTo>
                <a:lnTo>
                  <a:pt x="920575" y="431228"/>
                </a:lnTo>
                <a:lnTo>
                  <a:pt x="878256" y="416893"/>
                </a:lnTo>
                <a:lnTo>
                  <a:pt x="849417" y="400182"/>
                </a:lnTo>
                <a:lnTo>
                  <a:pt x="843534" y="395350"/>
                </a:lnTo>
                <a:close/>
              </a:path>
              <a:path w="1129664" h="487679">
                <a:moveTo>
                  <a:pt x="1007999" y="0"/>
                </a:moveTo>
                <a:lnTo>
                  <a:pt x="962814" y="4286"/>
                </a:lnTo>
                <a:lnTo>
                  <a:pt x="920162" y="17113"/>
                </a:lnTo>
                <a:lnTo>
                  <a:pt x="884628" y="38848"/>
                </a:lnTo>
                <a:lnTo>
                  <a:pt x="858393" y="69976"/>
                </a:lnTo>
                <a:lnTo>
                  <a:pt x="845177" y="110410"/>
                </a:lnTo>
                <a:lnTo>
                  <a:pt x="844296" y="125983"/>
                </a:lnTo>
                <a:lnTo>
                  <a:pt x="844847" y="138719"/>
                </a:lnTo>
                <a:lnTo>
                  <a:pt x="858218" y="181379"/>
                </a:lnTo>
                <a:lnTo>
                  <a:pt x="886338" y="214451"/>
                </a:lnTo>
                <a:lnTo>
                  <a:pt x="926169" y="241581"/>
                </a:lnTo>
                <a:lnTo>
                  <a:pt x="1004951" y="283082"/>
                </a:lnTo>
                <a:lnTo>
                  <a:pt x="1014712" y="288486"/>
                </a:lnTo>
                <a:lnTo>
                  <a:pt x="1046900" y="311409"/>
                </a:lnTo>
                <a:lnTo>
                  <a:pt x="1069403" y="346614"/>
                </a:lnTo>
                <a:lnTo>
                  <a:pt x="1071499" y="364489"/>
                </a:lnTo>
                <a:lnTo>
                  <a:pt x="1069927" y="381180"/>
                </a:lnTo>
                <a:lnTo>
                  <a:pt x="1046353" y="418845"/>
                </a:lnTo>
                <a:lnTo>
                  <a:pt x="994060" y="436598"/>
                </a:lnTo>
                <a:lnTo>
                  <a:pt x="970153" y="437768"/>
                </a:lnTo>
                <a:lnTo>
                  <a:pt x="1102773" y="437768"/>
                </a:lnTo>
                <a:lnTo>
                  <a:pt x="1125982" y="392747"/>
                </a:lnTo>
                <a:lnTo>
                  <a:pt x="1129411" y="360552"/>
                </a:lnTo>
                <a:lnTo>
                  <a:pt x="1128789" y="347767"/>
                </a:lnTo>
                <a:lnTo>
                  <a:pt x="1113899" y="303841"/>
                </a:lnTo>
                <a:lnTo>
                  <a:pt x="1083292" y="268412"/>
                </a:lnTo>
                <a:lnTo>
                  <a:pt x="1052449" y="245998"/>
                </a:lnTo>
                <a:lnTo>
                  <a:pt x="1016944" y="226067"/>
                </a:lnTo>
                <a:lnTo>
                  <a:pt x="981186" y="208057"/>
                </a:lnTo>
                <a:lnTo>
                  <a:pt x="970670" y="202600"/>
                </a:lnTo>
                <a:lnTo>
                  <a:pt x="935682" y="181677"/>
                </a:lnTo>
                <a:lnTo>
                  <a:pt x="908812" y="152272"/>
                </a:lnTo>
                <a:lnTo>
                  <a:pt x="902081" y="121030"/>
                </a:lnTo>
                <a:lnTo>
                  <a:pt x="902648" y="111694"/>
                </a:lnTo>
                <a:lnTo>
                  <a:pt x="921194" y="75914"/>
                </a:lnTo>
                <a:lnTo>
                  <a:pt x="957427" y="56040"/>
                </a:lnTo>
                <a:lnTo>
                  <a:pt x="1002411" y="50037"/>
                </a:lnTo>
                <a:lnTo>
                  <a:pt x="1109726" y="50037"/>
                </a:lnTo>
                <a:lnTo>
                  <a:pt x="1109726" y="16763"/>
                </a:lnTo>
                <a:lnTo>
                  <a:pt x="1091366" y="9429"/>
                </a:lnTo>
                <a:lnTo>
                  <a:pt x="1068292" y="4190"/>
                </a:lnTo>
                <a:lnTo>
                  <a:pt x="1040503" y="1047"/>
                </a:lnTo>
                <a:lnTo>
                  <a:pt x="1007999" y="0"/>
                </a:lnTo>
                <a:close/>
              </a:path>
              <a:path w="1129664" h="487679">
                <a:moveTo>
                  <a:pt x="1109726" y="50037"/>
                </a:moveTo>
                <a:lnTo>
                  <a:pt x="1002411" y="50037"/>
                </a:lnTo>
                <a:lnTo>
                  <a:pt x="1033680" y="51847"/>
                </a:lnTo>
                <a:lnTo>
                  <a:pt x="1061974" y="57276"/>
                </a:lnTo>
                <a:lnTo>
                  <a:pt x="1087314" y="66325"/>
                </a:lnTo>
                <a:lnTo>
                  <a:pt x="1109726" y="78993"/>
                </a:lnTo>
                <a:lnTo>
                  <a:pt x="1109726" y="50037"/>
                </a:lnTo>
                <a:close/>
              </a:path>
            </a:pathLst>
          </a:custGeom>
          <a:solidFill>
            <a:srgbClr val="00ADEE">
              <a:alpha val="98823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4"/>
          <p:cNvSpPr/>
          <p:nvPr/>
        </p:nvSpPr>
        <p:spPr>
          <a:xfrm>
            <a:off x="0" y="0"/>
            <a:ext cx="9144000" cy="764704"/>
          </a:xfrm>
          <a:custGeom>
            <a:avLst/>
            <a:gdLst/>
            <a:ahLst/>
            <a:cxnLst/>
            <a:rect l="l" t="t" r="r" b="b"/>
            <a:pathLst>
              <a:path w="6402705" h="2109470">
                <a:moveTo>
                  <a:pt x="0" y="2109216"/>
                </a:moveTo>
                <a:lnTo>
                  <a:pt x="6402324" y="2109216"/>
                </a:lnTo>
                <a:lnTo>
                  <a:pt x="6402324" y="0"/>
                </a:lnTo>
                <a:lnTo>
                  <a:pt x="0" y="0"/>
                </a:lnTo>
                <a:lnTo>
                  <a:pt x="0" y="2109216"/>
                </a:lnTo>
                <a:close/>
              </a:path>
            </a:pathLst>
          </a:custGeom>
          <a:solidFill>
            <a:srgbClr val="001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TextBox 52"/>
          <p:cNvSpPr txBox="1"/>
          <p:nvPr/>
        </p:nvSpPr>
        <p:spPr>
          <a:xfrm>
            <a:off x="0" y="107921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latin typeface="Segoe UI Light" pitchFamily="34" charset="0"/>
              </a:rPr>
              <a:t>Azure Cloud Computing Terminology</a:t>
            </a:r>
            <a:endParaRPr lang="en-IN" sz="3200" dirty="0">
              <a:solidFill>
                <a:schemeClr val="bg1"/>
              </a:solidFill>
              <a:latin typeface="Segoe UI Light" pitchFamily="34" charset="0"/>
              <a:cs typeface="Arial" pitchFamily="34" charset="0"/>
            </a:endParaRPr>
          </a:p>
        </p:txBody>
      </p:sp>
      <p:sp>
        <p:nvSpPr>
          <p:cNvPr id="54" name="Title 3"/>
          <p:cNvSpPr txBox="1">
            <a:spLocks/>
          </p:cNvSpPr>
          <p:nvPr/>
        </p:nvSpPr>
        <p:spPr>
          <a:xfrm>
            <a:off x="0" y="764704"/>
            <a:ext cx="9144000" cy="28083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/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Blade -  when you view setting  of service instance or take an action , the details are displayed in vertical box  known as Blade.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Journey – Collection of  sequential blade, 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Dashboard- is the first screen you see when you log on to portal or collection of pinned tiles.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Resource group – represents a new way of logically grouping your service instances. Service instances are known as resources and a collection of resources can exists in Resource Group. Has common life cycle.</a:t>
            </a:r>
          </a:p>
          <a:p>
            <a:pPr lvl="0">
              <a:spcBef>
                <a:spcPct val="0"/>
              </a:spcBef>
            </a:pPr>
            <a:r>
              <a:rPr lang="en-US" sz="2000" b="1" dirty="0" smtClean="0">
                <a:latin typeface="Segoe UI Light" pitchFamily="34" charset="0"/>
              </a:rPr>
              <a:t>Service Plan -- </a:t>
            </a:r>
          </a:p>
        </p:txBody>
      </p:sp>
      <p:sp>
        <p:nvSpPr>
          <p:cNvPr id="51" name="Footer Placeholder 5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smtClean="0"/>
              <a:t>@akmet</a:t>
            </a:r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QBLwN7JUqZ50IxKG9w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ASeTqgY0ONIjCRmhAd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ZcFO9I.0qHKpQYchVsv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deValue">
  <a:themeElements>
    <a:clrScheme name="Code Value">
      <a:dk1>
        <a:srgbClr val="66747C"/>
      </a:dk1>
      <a:lt1>
        <a:srgbClr val="FFFFFF"/>
      </a:lt1>
      <a:dk2>
        <a:srgbClr val="353839"/>
      </a:dk2>
      <a:lt2>
        <a:srgbClr val="FFFFFF"/>
      </a:lt2>
      <a:accent1>
        <a:srgbClr val="509EC3"/>
      </a:accent1>
      <a:accent2>
        <a:srgbClr val="66747C"/>
      </a:accent2>
      <a:accent3>
        <a:srgbClr val="92D050"/>
      </a:accent3>
      <a:accent4>
        <a:srgbClr val="954F72"/>
      </a:accent4>
      <a:accent5>
        <a:srgbClr val="235066"/>
      </a:accent5>
      <a:accent6>
        <a:srgbClr val="D8D8D8"/>
      </a:accent6>
      <a:hlink>
        <a:srgbClr val="509EC3"/>
      </a:hlink>
      <a:folHlink>
        <a:srgbClr val="954F7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CodeValue" id="{AFF8A413-6798-49ED-BCAE-FAFA81BC9853}" vid="{3BC11452-7CE9-4B0F-814D-843A66C9F08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19</TotalTime>
  <Words>2245</Words>
  <Application>Microsoft Office PowerPoint</Application>
  <PresentationFormat>On-screen Show (4:3)</PresentationFormat>
  <Paragraphs>518</Paragraphs>
  <Slides>49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2" baseType="lpstr">
      <vt:lpstr>Office Theme</vt:lpstr>
      <vt:lpstr>CodeValue</vt:lpstr>
      <vt:lpstr>think-cell Slid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Availability Sets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Slide 35</vt:lpstr>
      <vt:lpstr>Slide 36</vt:lpstr>
      <vt:lpstr>Slide 37</vt:lpstr>
      <vt:lpstr>Slide 38</vt:lpstr>
      <vt:lpstr>Slide 39</vt:lpstr>
      <vt:lpstr>Slide 40</vt:lpstr>
      <vt:lpstr>Slide 41</vt:lpstr>
      <vt:lpstr>Slide 42</vt:lpstr>
      <vt:lpstr>Slide 43</vt:lpstr>
      <vt:lpstr>Slide 44</vt:lpstr>
      <vt:lpstr>Slide 45</vt:lpstr>
      <vt:lpstr>Slide 46</vt:lpstr>
      <vt:lpstr>Slide 47</vt:lpstr>
      <vt:lpstr>Slide 48</vt:lpstr>
      <vt:lpstr>Slide 4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Inspiron</dc:creator>
  <cp:lastModifiedBy>User</cp:lastModifiedBy>
  <cp:revision>322</cp:revision>
  <dcterms:created xsi:type="dcterms:W3CDTF">2018-03-14T00:35:39Z</dcterms:created>
  <dcterms:modified xsi:type="dcterms:W3CDTF">2020-12-09T23:06:41Z</dcterms:modified>
</cp:coreProperties>
</file>